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81" r:id="rId2"/>
  </p:sldMasterIdLst>
  <p:notesMasterIdLst>
    <p:notesMasterId r:id="rId21"/>
  </p:notesMasterIdLst>
  <p:sldIdLst>
    <p:sldId id="2141411585" r:id="rId3"/>
    <p:sldId id="2141411743" r:id="rId4"/>
    <p:sldId id="288" r:id="rId5"/>
    <p:sldId id="2141411729" r:id="rId6"/>
    <p:sldId id="2141411796" r:id="rId7"/>
    <p:sldId id="2141411801" r:id="rId8"/>
    <p:sldId id="2141411746" r:id="rId9"/>
    <p:sldId id="2141411441" r:id="rId10"/>
    <p:sldId id="2141411684" r:id="rId11"/>
    <p:sldId id="2141411797" r:id="rId12"/>
    <p:sldId id="2141411732" r:id="rId13"/>
    <p:sldId id="4280" r:id="rId14"/>
    <p:sldId id="2141411744" r:id="rId15"/>
    <p:sldId id="2141411643" r:id="rId16"/>
    <p:sldId id="2141411644" r:id="rId17"/>
    <p:sldId id="2141411645" r:id="rId18"/>
    <p:sldId id="2141411723" r:id="rId19"/>
    <p:sldId id="2141411724" r:id="rId20"/>
  </p:sldIdLst>
  <p:sldSz cx="12192000" cy="6858000"/>
  <p:notesSz cx="7315200" cy="96012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2246"/>
    <a:srgbClr val="003055"/>
    <a:srgbClr val="EAF6DE"/>
    <a:srgbClr val="F2F2F2"/>
    <a:srgbClr val="5374A1"/>
    <a:srgbClr val="39506F"/>
    <a:srgbClr val="61A6CC"/>
    <a:srgbClr val="F79646"/>
    <a:srgbClr val="469A9D"/>
    <a:srgbClr val="58C1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85"/>
    <p:restoredTop sz="96283" autoAdjust="0"/>
  </p:normalViewPr>
  <p:slideViewPr>
    <p:cSldViewPr snapToGrid="0">
      <p:cViewPr varScale="1">
        <p:scale>
          <a:sx n="57" d="100"/>
          <a:sy n="57" d="100"/>
        </p:scale>
        <p:origin x="1252" y="36"/>
      </p:cViewPr>
      <p:guideLst/>
    </p:cSldViewPr>
  </p:slideViewPr>
  <p:notesTextViewPr>
    <p:cViewPr>
      <p:scale>
        <a:sx n="1" d="1"/>
        <a:sy n="1" d="1"/>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ydia Kopylova" userId="ea79fd48-dbbb-4f2c-a42e-c2fc5951a3de" providerId="ADAL" clId="{D81889ED-0E31-4D82-93EA-266FF0F24AE5}"/>
    <pc:docChg chg="modSld">
      <pc:chgData name="Lydia Kopylova" userId="ea79fd48-dbbb-4f2c-a42e-c2fc5951a3de" providerId="ADAL" clId="{D81889ED-0E31-4D82-93EA-266FF0F24AE5}" dt="2024-07-08T19:21:52.392" v="6" actId="20577"/>
      <pc:docMkLst>
        <pc:docMk/>
      </pc:docMkLst>
      <pc:sldChg chg="modSp mod">
        <pc:chgData name="Lydia Kopylova" userId="ea79fd48-dbbb-4f2c-a42e-c2fc5951a3de" providerId="ADAL" clId="{D81889ED-0E31-4D82-93EA-266FF0F24AE5}" dt="2024-07-08T19:21:52.392" v="6" actId="20577"/>
        <pc:sldMkLst>
          <pc:docMk/>
          <pc:sldMk cId="2908550486" sldId="2141411585"/>
        </pc:sldMkLst>
        <pc:spChg chg="mod">
          <ac:chgData name="Lydia Kopylova" userId="ea79fd48-dbbb-4f2c-a42e-c2fc5951a3de" providerId="ADAL" clId="{D81889ED-0E31-4D82-93EA-266FF0F24AE5}" dt="2024-07-08T19:21:52.392" v="6" actId="20577"/>
          <ac:spMkLst>
            <pc:docMk/>
            <pc:sldMk cId="2908550486" sldId="2141411585"/>
            <ac:spMk id="10" creationId="{25CE8E0A-B182-A689-8363-FA891428B96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 by Region</c:v>
                </c:pt>
              </c:strCache>
            </c:strRef>
          </c:tx>
          <c:spPr>
            <a:ln>
              <a:noFill/>
            </a:ln>
          </c:spPr>
          <c:dPt>
            <c:idx val="0"/>
            <c:bubble3D val="0"/>
            <c:spPr>
              <a:solidFill>
                <a:srgbClr val="5374A1"/>
              </a:solidFill>
              <a:ln w="19050">
                <a:noFill/>
              </a:ln>
              <a:effectLst/>
            </c:spPr>
            <c:extLst>
              <c:ext xmlns:c16="http://schemas.microsoft.com/office/drawing/2014/chart" uri="{C3380CC4-5D6E-409C-BE32-E72D297353CC}">
                <c16:uniqueId val="{00000001-5E71-454A-9C75-0C9EF09FC177}"/>
              </c:ext>
            </c:extLst>
          </c:dPt>
          <c:dPt>
            <c:idx val="1"/>
            <c:bubble3D val="0"/>
            <c:spPr>
              <a:solidFill>
                <a:srgbClr val="132246"/>
              </a:solidFill>
              <a:ln w="19050">
                <a:noFill/>
              </a:ln>
              <a:effectLst/>
            </c:spPr>
            <c:extLst>
              <c:ext xmlns:c16="http://schemas.microsoft.com/office/drawing/2014/chart" uri="{C3380CC4-5D6E-409C-BE32-E72D297353CC}">
                <c16:uniqueId val="{00000003-5E71-454A-9C75-0C9EF09FC177}"/>
              </c:ext>
            </c:extLst>
          </c:dPt>
          <c:dPt>
            <c:idx val="2"/>
            <c:bubble3D val="0"/>
            <c:spPr>
              <a:solidFill>
                <a:srgbClr val="124475"/>
              </a:solidFill>
              <a:ln w="19050">
                <a:noFill/>
              </a:ln>
              <a:effectLst/>
            </c:spPr>
            <c:extLst>
              <c:ext xmlns:c16="http://schemas.microsoft.com/office/drawing/2014/chart" uri="{C3380CC4-5D6E-409C-BE32-E72D297353CC}">
                <c16:uniqueId val="{00000005-5E71-454A-9C75-0C9EF09FC177}"/>
              </c:ext>
            </c:extLst>
          </c:dPt>
          <c:dPt>
            <c:idx val="3"/>
            <c:bubble3D val="0"/>
            <c:spPr>
              <a:solidFill>
                <a:srgbClr val="536883"/>
              </a:solidFill>
              <a:ln w="19050">
                <a:noFill/>
              </a:ln>
              <a:effectLst/>
            </c:spPr>
            <c:extLst>
              <c:ext xmlns:c16="http://schemas.microsoft.com/office/drawing/2014/chart" uri="{C3380CC4-5D6E-409C-BE32-E72D297353CC}">
                <c16:uniqueId val="{00000007-5E71-454A-9C75-0C9EF09FC177}"/>
              </c:ext>
            </c:extLst>
          </c:dPt>
          <c:dLbls>
            <c:dLbl>
              <c:idx val="3"/>
              <c:layout>
                <c:manualLayout>
                  <c:x val="1.6144714833811479E-2"/>
                  <c:y val="-1.09567137910804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E71-454A-9C75-0C9EF09FC17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rth America</c:v>
                </c:pt>
                <c:pt idx="1">
                  <c:v>Asia</c:v>
                </c:pt>
                <c:pt idx="2">
                  <c:v>Europe</c:v>
                </c:pt>
                <c:pt idx="3">
                  <c:v>Latin America</c:v>
                </c:pt>
              </c:strCache>
            </c:strRef>
          </c:cat>
          <c:val>
            <c:numRef>
              <c:f>Sheet1!$B$2:$B$5</c:f>
              <c:numCache>
                <c:formatCode>0%</c:formatCode>
                <c:ptCount val="4"/>
                <c:pt idx="0">
                  <c:v>0.56999999999999995</c:v>
                </c:pt>
                <c:pt idx="1">
                  <c:v>0.16</c:v>
                </c:pt>
                <c:pt idx="2">
                  <c:v>0.24</c:v>
                </c:pt>
                <c:pt idx="3">
                  <c:v>0.03</c:v>
                </c:pt>
              </c:numCache>
            </c:numRef>
          </c:val>
          <c:extLst>
            <c:ext xmlns:c16="http://schemas.microsoft.com/office/drawing/2014/chart" uri="{C3380CC4-5D6E-409C-BE32-E72D297353CC}">
              <c16:uniqueId val="{00000008-5E71-454A-9C75-0C9EF09FC177}"/>
            </c:ext>
          </c:extLst>
        </c:ser>
        <c:dLbls>
          <c:showLegendKey val="0"/>
          <c:showVal val="0"/>
          <c:showCatName val="0"/>
          <c:showSerName val="0"/>
          <c:showPercent val="0"/>
          <c:showBubbleSize val="0"/>
          <c:showLeaderLines val="1"/>
        </c:dLbls>
        <c:firstSliceAng val="44"/>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Sales</c:v>
                </c:pt>
              </c:strCache>
            </c:strRef>
          </c:tx>
          <c:explosion val="2"/>
          <c:dPt>
            <c:idx val="0"/>
            <c:bubble3D val="0"/>
            <c:spPr>
              <a:solidFill>
                <a:schemeClr val="accent2">
                  <a:shade val="50000"/>
                </a:schemeClr>
              </a:solidFill>
              <a:ln w="19050">
                <a:solidFill>
                  <a:schemeClr val="lt1"/>
                </a:solidFill>
              </a:ln>
              <a:effectLst/>
            </c:spPr>
            <c:extLst>
              <c:ext xmlns:c16="http://schemas.microsoft.com/office/drawing/2014/chart" uri="{C3380CC4-5D6E-409C-BE32-E72D297353CC}">
                <c16:uniqueId val="{00000001-4F79-4A36-AEBE-5D2D78DC19DF}"/>
              </c:ext>
            </c:extLst>
          </c:dPt>
          <c:dPt>
            <c:idx val="1"/>
            <c:bubble3D val="0"/>
            <c:spPr>
              <a:solidFill>
                <a:schemeClr val="accent2">
                  <a:shade val="70000"/>
                </a:schemeClr>
              </a:solidFill>
              <a:ln w="19050">
                <a:solidFill>
                  <a:schemeClr val="lt1"/>
                </a:solidFill>
              </a:ln>
              <a:effectLst/>
            </c:spPr>
            <c:extLst>
              <c:ext xmlns:c16="http://schemas.microsoft.com/office/drawing/2014/chart" uri="{C3380CC4-5D6E-409C-BE32-E72D297353CC}">
                <c16:uniqueId val="{00000003-4F79-4A36-AEBE-5D2D78DC19DF}"/>
              </c:ext>
            </c:extLst>
          </c:dPt>
          <c:dPt>
            <c:idx val="2"/>
            <c:bubble3D val="0"/>
            <c:spPr>
              <a:solidFill>
                <a:schemeClr val="accent2">
                  <a:shade val="90000"/>
                </a:schemeClr>
              </a:solidFill>
              <a:ln w="19050">
                <a:solidFill>
                  <a:schemeClr val="lt1"/>
                </a:solidFill>
              </a:ln>
              <a:effectLst/>
            </c:spPr>
            <c:extLst>
              <c:ext xmlns:c16="http://schemas.microsoft.com/office/drawing/2014/chart" uri="{C3380CC4-5D6E-409C-BE32-E72D297353CC}">
                <c16:uniqueId val="{00000005-4F79-4A36-AEBE-5D2D78DC19DF}"/>
              </c:ext>
            </c:extLst>
          </c:dPt>
          <c:dPt>
            <c:idx val="3"/>
            <c:bubble3D val="0"/>
            <c:spPr>
              <a:solidFill>
                <a:schemeClr val="accent2">
                  <a:tint val="90000"/>
                </a:schemeClr>
              </a:solidFill>
              <a:ln w="19050">
                <a:solidFill>
                  <a:schemeClr val="lt1"/>
                </a:solidFill>
              </a:ln>
              <a:effectLst/>
            </c:spPr>
            <c:extLst>
              <c:ext xmlns:c16="http://schemas.microsoft.com/office/drawing/2014/chart" uri="{C3380CC4-5D6E-409C-BE32-E72D297353CC}">
                <c16:uniqueId val="{00000007-4F79-4A36-AEBE-5D2D78DC19DF}"/>
              </c:ext>
            </c:extLst>
          </c:dPt>
          <c:dPt>
            <c:idx val="4"/>
            <c:bubble3D val="0"/>
            <c:spPr>
              <a:solidFill>
                <a:schemeClr val="accent2">
                  <a:tint val="70000"/>
                </a:schemeClr>
              </a:solidFill>
              <a:ln w="19050">
                <a:solidFill>
                  <a:schemeClr val="lt1"/>
                </a:solidFill>
              </a:ln>
              <a:effectLst/>
            </c:spPr>
            <c:extLst>
              <c:ext xmlns:c16="http://schemas.microsoft.com/office/drawing/2014/chart" uri="{C3380CC4-5D6E-409C-BE32-E72D297353CC}">
                <c16:uniqueId val="{00000009-4F79-4A36-AEBE-5D2D78DC19DF}"/>
              </c:ext>
            </c:extLst>
          </c:dPt>
          <c:dPt>
            <c:idx val="5"/>
            <c:bubble3D val="0"/>
            <c:spPr>
              <a:solidFill>
                <a:schemeClr val="accent2">
                  <a:tint val="50000"/>
                </a:schemeClr>
              </a:solidFill>
              <a:ln w="19050">
                <a:solidFill>
                  <a:schemeClr val="lt1"/>
                </a:solidFill>
              </a:ln>
              <a:effectLst/>
            </c:spPr>
            <c:extLst>
              <c:ext xmlns:c16="http://schemas.microsoft.com/office/drawing/2014/chart" uri="{C3380CC4-5D6E-409C-BE32-E72D297353CC}">
                <c16:uniqueId val="{0000000B-4F79-4A36-AEBE-5D2D78DC19DF}"/>
              </c:ext>
            </c:extLst>
          </c:dPt>
          <c:cat>
            <c:strRef>
              <c:f>Sheet1!$A$2:$A$7</c:f>
              <c:strCache>
                <c:ptCount val="4"/>
                <c:pt idx="0">
                  <c:v>1st Qtr</c:v>
                </c:pt>
                <c:pt idx="1">
                  <c:v>2nd Qtr</c:v>
                </c:pt>
                <c:pt idx="2">
                  <c:v>3rd Qtr</c:v>
                </c:pt>
                <c:pt idx="3">
                  <c:v>4th Qtr</c:v>
                </c:pt>
              </c:strCache>
            </c:strRef>
          </c:cat>
          <c:val>
            <c:numRef>
              <c:f>Sheet1!$B$2:$B$7</c:f>
              <c:numCache>
                <c:formatCode>General</c:formatCode>
                <c:ptCount val="6"/>
                <c:pt idx="0">
                  <c:v>1</c:v>
                </c:pt>
                <c:pt idx="1">
                  <c:v>1</c:v>
                </c:pt>
                <c:pt idx="2">
                  <c:v>1</c:v>
                </c:pt>
                <c:pt idx="3">
                  <c:v>1</c:v>
                </c:pt>
                <c:pt idx="4">
                  <c:v>1</c:v>
                </c:pt>
                <c:pt idx="5">
                  <c:v>1</c:v>
                </c:pt>
              </c:numCache>
            </c:numRef>
          </c:val>
          <c:extLst>
            <c:ext xmlns:c16="http://schemas.microsoft.com/office/drawing/2014/chart" uri="{C3380CC4-5D6E-409C-BE32-E72D297353CC}">
              <c16:uniqueId val="{00000000-5E9D-4A4E-B1DB-63B949C425B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8205904617714E-2"/>
          <c:y val="0.30780346820809251"/>
          <c:w val="0.96063588190764571"/>
          <c:h val="0.47687861271676302"/>
        </c:manualLayout>
      </c:layout>
      <c:barChart>
        <c:barDir val="col"/>
        <c:grouping val="stacked"/>
        <c:varyColors val="0"/>
        <c:ser>
          <c:idx val="0"/>
          <c:order val="0"/>
          <c:spPr>
            <a:solidFill>
              <a:schemeClr val="tx2"/>
            </a:solidFill>
            <a:ln>
              <a:noFill/>
            </a:ln>
          </c:spPr>
          <c:invertIfNegative val="0"/>
          <c:dPt>
            <c:idx val="7"/>
            <c:invertIfNegative val="0"/>
            <c:bubble3D val="0"/>
            <c:spPr>
              <a:solidFill>
                <a:schemeClr val="accent2"/>
              </a:solidFill>
              <a:ln>
                <a:noFill/>
              </a:ln>
            </c:spPr>
            <c:extLst>
              <c:ext xmlns:c16="http://schemas.microsoft.com/office/drawing/2014/chart" uri="{C3380CC4-5D6E-409C-BE32-E72D297353CC}">
                <c16:uniqueId val="{00000000-3B06-4AE4-9822-809061BBF426}"/>
              </c:ext>
            </c:extLst>
          </c:dPt>
          <c:dLbls>
            <c:dLbl>
              <c:idx val="0"/>
              <c:layout>
                <c:manualLayout>
                  <c:x val="0"/>
                  <c:y val="-0.33236994219653176"/>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06-4AE4-9822-809061BBF426}"/>
                </c:ext>
              </c:extLst>
            </c:dLbl>
            <c:dLbl>
              <c:idx val="1"/>
              <c:layout>
                <c:manualLayout>
                  <c:x val="0"/>
                  <c:y val="-0.29624277456647397"/>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06-4AE4-9822-809061BBF426}"/>
                </c:ext>
              </c:extLst>
            </c:dLbl>
            <c:dLbl>
              <c:idx val="2"/>
              <c:layout>
                <c:manualLayout>
                  <c:x val="0"/>
                  <c:y val="-0.24132947976878613"/>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06-4AE4-9822-809061BBF426}"/>
                </c:ext>
              </c:extLst>
            </c:dLbl>
            <c:dLbl>
              <c:idx val="3"/>
              <c:layout>
                <c:manualLayout>
                  <c:x val="0"/>
                  <c:y val="-0.20953757225433525"/>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06-4AE4-9822-809061BBF426}"/>
                </c:ext>
              </c:extLst>
            </c:dLbl>
            <c:dLbl>
              <c:idx val="4"/>
              <c:layout>
                <c:manualLayout>
                  <c:x val="0"/>
                  <c:y val="-0.18930635838150289"/>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06-4AE4-9822-809061BBF426}"/>
                </c:ext>
              </c:extLst>
            </c:dLbl>
            <c:dLbl>
              <c:idx val="5"/>
              <c:layout>
                <c:manualLayout>
                  <c:x val="0"/>
                  <c:y val="-0.22109826589595374"/>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06-4AE4-9822-809061BBF426}"/>
                </c:ext>
              </c:extLst>
            </c:dLbl>
            <c:dLbl>
              <c:idx val="6"/>
              <c:layout>
                <c:manualLayout>
                  <c:x val="0"/>
                  <c:y val="-0.19364161849710981"/>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06-4AE4-9822-809061BBF426}"/>
                </c:ext>
              </c:extLst>
            </c:dLbl>
            <c:dLbl>
              <c:idx val="7"/>
              <c:layout>
                <c:manualLayout>
                  <c:x val="0"/>
                  <c:y val="-0.18930635838150289"/>
                </c:manualLayout>
              </c:layout>
              <c:numFmt formatCode="#,##0.0;&quot;-&quot;#,##0.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06-4AE4-9822-809061BBF42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4.5</c:v>
                </c:pt>
                <c:pt idx="1">
                  <c:v>3.8</c:v>
                </c:pt>
                <c:pt idx="2">
                  <c:v>2.8</c:v>
                </c:pt>
                <c:pt idx="3">
                  <c:v>2.2000000000000002</c:v>
                </c:pt>
                <c:pt idx="4">
                  <c:v>1.8</c:v>
                </c:pt>
                <c:pt idx="5">
                  <c:v>2.4</c:v>
                </c:pt>
                <c:pt idx="6">
                  <c:v>1.9</c:v>
                </c:pt>
                <c:pt idx="7">
                  <c:v>1.8</c:v>
                </c:pt>
              </c:numCache>
            </c:numRef>
          </c:val>
          <c:extLst>
            <c:ext xmlns:c16="http://schemas.microsoft.com/office/drawing/2014/chart" uri="{C3380CC4-5D6E-409C-BE32-E72D297353CC}">
              <c16:uniqueId val="{00000008-3B06-4AE4-9822-809061BBF426}"/>
            </c:ext>
          </c:extLst>
        </c:ser>
        <c:dLbls>
          <c:showLegendKey val="0"/>
          <c:showVal val="0"/>
          <c:showCatName val="0"/>
          <c:showSerName val="0"/>
          <c:showPercent val="0"/>
          <c:showBubbleSize val="0"/>
        </c:dLbls>
        <c:gapWidth val="80"/>
        <c:overlap val="100"/>
        <c:axId val="67904095"/>
        <c:axId val="1"/>
      </c:barChart>
      <c:catAx>
        <c:axId val="67904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
          <c:min val="0"/>
        </c:scaling>
        <c:delete val="1"/>
        <c:axPos val="l"/>
        <c:numFmt formatCode="General" sourceLinked="1"/>
        <c:majorTickMark val="out"/>
        <c:minorTickMark val="none"/>
        <c:tickLblPos val="nextTo"/>
        <c:crossAx val="67904095"/>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7C64AC-656D-46A6-B3FD-698F19C92C4C}" type="doc">
      <dgm:prSet loTypeId="urn:microsoft.com/office/officeart/2009/layout/CircleArrowProcess" loCatId="process" qsTypeId="urn:microsoft.com/office/officeart/2005/8/quickstyle/simple5" qsCatId="simple" csTypeId="urn:microsoft.com/office/officeart/2005/8/colors/accent2_5" csCatId="accent2" phldr="1"/>
      <dgm:spPr/>
      <dgm:t>
        <a:bodyPr/>
        <a:lstStyle/>
        <a:p>
          <a:endParaRPr lang="en-US"/>
        </a:p>
      </dgm:t>
    </dgm:pt>
    <dgm:pt modelId="{D9AFA3A4-1CC2-4FE7-BBC5-70EEAF8DC94F}">
      <dgm:prSet phldrT="[Text]" custT="1"/>
      <dgm:spPr/>
      <dgm:t>
        <a:bodyPr/>
        <a:lstStyle/>
        <a:p>
          <a:r>
            <a:rPr lang="en-US" sz="1600" b="1" kern="1200">
              <a:latin typeface="Arial"/>
              <a:cs typeface="Arial"/>
            </a:rPr>
            <a:t>Balanced and stable growth </a:t>
          </a:r>
          <a:r>
            <a:rPr lang="en-US" sz="1600" b="1" kern="1200">
              <a:latin typeface="Arial"/>
              <a:ea typeface="+mn-ea"/>
              <a:cs typeface="Arial"/>
            </a:rPr>
            <a:t>portfolio </a:t>
          </a:r>
          <a:endParaRPr lang="en-US" sz="1600" b="1" kern="1200" dirty="0">
            <a:latin typeface="Arial"/>
            <a:ea typeface="+mn-ea"/>
            <a:cs typeface="Arial"/>
          </a:endParaRPr>
        </a:p>
      </dgm:t>
    </dgm:pt>
    <dgm:pt modelId="{4522C464-4090-46E8-A4E2-33797AC366D9}" type="parTrans" cxnId="{D98ACF04-A668-4474-901A-07BF8A79619B}">
      <dgm:prSet/>
      <dgm:spPr/>
      <dgm:t>
        <a:bodyPr/>
        <a:lstStyle/>
        <a:p>
          <a:endParaRPr lang="en-US">
            <a:solidFill>
              <a:srgbClr val="39506F"/>
            </a:solidFill>
          </a:endParaRPr>
        </a:p>
      </dgm:t>
    </dgm:pt>
    <dgm:pt modelId="{1EBA49EF-60EF-4D6D-BDAD-9C808F78DC13}" type="sibTrans" cxnId="{D98ACF04-A668-4474-901A-07BF8A79619B}">
      <dgm:prSet/>
      <dgm:spPr/>
      <dgm:t>
        <a:bodyPr/>
        <a:lstStyle/>
        <a:p>
          <a:endParaRPr lang="en-US">
            <a:solidFill>
              <a:srgbClr val="39506F"/>
            </a:solidFill>
          </a:endParaRPr>
        </a:p>
      </dgm:t>
    </dgm:pt>
    <dgm:pt modelId="{560F1154-E1B8-4C13-8ADC-B0C4AA3B9EAF}">
      <dgm:prSet phldrT="[Text]" custT="1"/>
      <dgm:spPr/>
      <dgm:t>
        <a:bodyPr/>
        <a:lstStyle/>
        <a:p>
          <a:r>
            <a:rPr lang="en-US" sz="1600" b="1">
              <a:latin typeface="Arial"/>
              <a:cs typeface="Arial"/>
            </a:rPr>
            <a:t>Broad-based margin expansion</a:t>
          </a:r>
          <a:endParaRPr lang="en-US" sz="1600" dirty="0"/>
        </a:p>
      </dgm:t>
    </dgm:pt>
    <dgm:pt modelId="{CA8AB65D-2E74-481A-AD7A-2FB9C7027ED2}" type="parTrans" cxnId="{19D5E55B-C769-4A1A-BB22-7287AF8139B9}">
      <dgm:prSet/>
      <dgm:spPr/>
      <dgm:t>
        <a:bodyPr/>
        <a:lstStyle/>
        <a:p>
          <a:endParaRPr lang="en-US">
            <a:solidFill>
              <a:srgbClr val="39506F"/>
            </a:solidFill>
          </a:endParaRPr>
        </a:p>
      </dgm:t>
    </dgm:pt>
    <dgm:pt modelId="{A1AC55B5-B2B0-4B22-A44C-A31CA00BCC98}" type="sibTrans" cxnId="{19D5E55B-C769-4A1A-BB22-7287AF8139B9}">
      <dgm:prSet/>
      <dgm:spPr/>
      <dgm:t>
        <a:bodyPr/>
        <a:lstStyle/>
        <a:p>
          <a:endParaRPr lang="en-US">
            <a:solidFill>
              <a:srgbClr val="39506F"/>
            </a:solidFill>
          </a:endParaRPr>
        </a:p>
      </dgm:t>
    </dgm:pt>
    <dgm:pt modelId="{969CD9CE-99F3-412F-82E8-C6522211E0EC}">
      <dgm:prSet phldrT="[Text]" custT="1"/>
      <dgm:spPr/>
      <dgm:t>
        <a:bodyPr/>
        <a:lstStyle/>
        <a:p>
          <a:r>
            <a:rPr lang="en-US" sz="1600" b="1">
              <a:latin typeface="Arial"/>
              <a:cs typeface="Arial"/>
            </a:rPr>
            <a:t>Strong cash flow profile</a:t>
          </a:r>
          <a:endParaRPr lang="en-US" sz="1600" dirty="0"/>
        </a:p>
      </dgm:t>
    </dgm:pt>
    <dgm:pt modelId="{1CEB654F-BE1D-47BE-B862-AC6FB554FF04}" type="parTrans" cxnId="{D17B9B86-FE3B-44C1-89D8-150FE6EBCDE6}">
      <dgm:prSet/>
      <dgm:spPr/>
      <dgm:t>
        <a:bodyPr/>
        <a:lstStyle/>
        <a:p>
          <a:endParaRPr lang="en-US">
            <a:solidFill>
              <a:srgbClr val="39506F"/>
            </a:solidFill>
          </a:endParaRPr>
        </a:p>
      </dgm:t>
    </dgm:pt>
    <dgm:pt modelId="{6C8A8B94-722B-46E4-A3E8-899B0C547FC7}" type="sibTrans" cxnId="{D17B9B86-FE3B-44C1-89D8-150FE6EBCDE6}">
      <dgm:prSet/>
      <dgm:spPr/>
      <dgm:t>
        <a:bodyPr/>
        <a:lstStyle/>
        <a:p>
          <a:endParaRPr lang="en-US">
            <a:solidFill>
              <a:srgbClr val="39506F"/>
            </a:solidFill>
          </a:endParaRPr>
        </a:p>
      </dgm:t>
    </dgm:pt>
    <dgm:pt modelId="{CB086AFD-5B76-4BD8-99DF-64868A42ED21}" type="pres">
      <dgm:prSet presAssocID="{6D7C64AC-656D-46A6-B3FD-698F19C92C4C}" presName="Name0" presStyleCnt="0">
        <dgm:presLayoutVars>
          <dgm:chMax val="7"/>
          <dgm:chPref val="7"/>
          <dgm:dir/>
          <dgm:animLvl val="lvl"/>
        </dgm:presLayoutVars>
      </dgm:prSet>
      <dgm:spPr/>
    </dgm:pt>
    <dgm:pt modelId="{6BDE7246-E8E1-46CB-80FE-C82B6E1623BD}" type="pres">
      <dgm:prSet presAssocID="{D9AFA3A4-1CC2-4FE7-BBC5-70EEAF8DC94F}" presName="Accent1" presStyleCnt="0"/>
      <dgm:spPr/>
    </dgm:pt>
    <dgm:pt modelId="{D809FFE6-4A73-40FC-8345-243A3C26949B}" type="pres">
      <dgm:prSet presAssocID="{D9AFA3A4-1CC2-4FE7-BBC5-70EEAF8DC94F}" presName="Accent" presStyleLbl="node1" presStyleIdx="0" presStyleCnt="3"/>
      <dgm:spPr>
        <a:gradFill rotWithShape="0">
          <a:gsLst>
            <a:gs pos="11000">
              <a:srgbClr val="61A6CC"/>
            </a:gs>
            <a:gs pos="71000">
              <a:schemeClr val="accent2">
                <a:hueOff val="0"/>
                <a:satOff val="0"/>
                <a:lumOff val="0"/>
                <a:satMod val="110000"/>
                <a:lumMod val="100000"/>
                <a:shade val="100000"/>
                <a:alpha val="23000"/>
              </a:schemeClr>
            </a:gs>
          </a:gsLst>
        </a:gradFill>
      </dgm:spPr>
    </dgm:pt>
    <dgm:pt modelId="{40016ABC-EA87-4A27-A1C3-121B9C956CD1}" type="pres">
      <dgm:prSet presAssocID="{D9AFA3A4-1CC2-4FE7-BBC5-70EEAF8DC94F}" presName="Parent1" presStyleLbl="revTx" presStyleIdx="0" presStyleCnt="3" custScaleY="146263" custLinFactNeighborY="-20369">
        <dgm:presLayoutVars>
          <dgm:chMax val="1"/>
          <dgm:chPref val="1"/>
          <dgm:bulletEnabled val="1"/>
        </dgm:presLayoutVars>
      </dgm:prSet>
      <dgm:spPr/>
    </dgm:pt>
    <dgm:pt modelId="{5A7438CC-F0BE-439A-962B-7EE704AC2890}" type="pres">
      <dgm:prSet presAssocID="{560F1154-E1B8-4C13-8ADC-B0C4AA3B9EAF}" presName="Accent2" presStyleCnt="0"/>
      <dgm:spPr/>
    </dgm:pt>
    <dgm:pt modelId="{BE5D0F7E-95A7-4F26-9E64-04720EBF2F7C}" type="pres">
      <dgm:prSet presAssocID="{560F1154-E1B8-4C13-8ADC-B0C4AA3B9EAF}" presName="Accent" presStyleLbl="node1" presStyleIdx="1" presStyleCnt="3"/>
      <dgm:spPr>
        <a:gradFill rotWithShape="0">
          <a:gsLst>
            <a:gs pos="15000">
              <a:srgbClr val="61A6CC">
                <a:alpha val="31000"/>
              </a:srgbClr>
            </a:gs>
            <a:gs pos="33000">
              <a:schemeClr val="accent2">
                <a:alpha val="90000"/>
                <a:hueOff val="0"/>
                <a:satOff val="0"/>
                <a:lumOff val="0"/>
                <a:alphaOff val="-20000"/>
                <a:satMod val="110000"/>
                <a:lumMod val="100000"/>
                <a:shade val="100000"/>
              </a:schemeClr>
            </a:gs>
            <a:gs pos="76000">
              <a:schemeClr val="accent2">
                <a:hueOff val="0"/>
                <a:satOff val="0"/>
                <a:lumOff val="0"/>
                <a:lumMod val="99000"/>
                <a:satMod val="120000"/>
                <a:shade val="78000"/>
                <a:alpha val="97000"/>
              </a:schemeClr>
            </a:gs>
          </a:gsLst>
        </a:gradFill>
      </dgm:spPr>
    </dgm:pt>
    <dgm:pt modelId="{311AFD61-D5FD-4DFD-98F1-90C56FFEE8B4}" type="pres">
      <dgm:prSet presAssocID="{560F1154-E1B8-4C13-8ADC-B0C4AA3B9EAF}" presName="Parent2" presStyleLbl="revTx" presStyleIdx="1" presStyleCnt="3" custScaleX="115274">
        <dgm:presLayoutVars>
          <dgm:chMax val="1"/>
          <dgm:chPref val="1"/>
          <dgm:bulletEnabled val="1"/>
        </dgm:presLayoutVars>
      </dgm:prSet>
      <dgm:spPr/>
    </dgm:pt>
    <dgm:pt modelId="{6ABE842D-6336-4BB3-ADC3-2E27CB117639}" type="pres">
      <dgm:prSet presAssocID="{969CD9CE-99F3-412F-82E8-C6522211E0EC}" presName="Accent3" presStyleCnt="0"/>
      <dgm:spPr/>
    </dgm:pt>
    <dgm:pt modelId="{0980A19E-D514-482C-BC87-0CBD4BB26C06}" type="pres">
      <dgm:prSet presAssocID="{969CD9CE-99F3-412F-82E8-C6522211E0EC}" presName="Accent" presStyleLbl="node1" presStyleIdx="2" presStyleCnt="3" custLinFactNeighborY="3458"/>
      <dgm:spPr>
        <a:gradFill rotWithShape="0">
          <a:gsLst>
            <a:gs pos="0">
              <a:srgbClr val="61A6CC"/>
            </a:gs>
            <a:gs pos="87000">
              <a:schemeClr val="accent2">
                <a:alpha val="90000"/>
                <a:hueOff val="0"/>
                <a:satOff val="0"/>
                <a:lumOff val="0"/>
                <a:alphaOff val="-40000"/>
                <a:satMod val="110000"/>
                <a:lumMod val="100000"/>
                <a:shade val="100000"/>
              </a:schemeClr>
            </a:gs>
            <a:gs pos="100000">
              <a:schemeClr val="accent2">
                <a:alpha val="90000"/>
                <a:hueOff val="0"/>
                <a:satOff val="0"/>
                <a:lumOff val="0"/>
                <a:alphaOff val="-40000"/>
                <a:lumMod val="99000"/>
                <a:satMod val="120000"/>
                <a:shade val="78000"/>
              </a:schemeClr>
            </a:gs>
          </a:gsLst>
        </a:gradFill>
      </dgm:spPr>
    </dgm:pt>
    <dgm:pt modelId="{05906902-2A14-482B-9CED-8E244C5FF800}" type="pres">
      <dgm:prSet presAssocID="{969CD9CE-99F3-412F-82E8-C6522211E0EC}" presName="Parent3" presStyleLbl="revTx" presStyleIdx="2" presStyleCnt="3" custLinFactNeighborY="13770">
        <dgm:presLayoutVars>
          <dgm:chMax val="1"/>
          <dgm:chPref val="1"/>
          <dgm:bulletEnabled val="1"/>
        </dgm:presLayoutVars>
      </dgm:prSet>
      <dgm:spPr/>
    </dgm:pt>
  </dgm:ptLst>
  <dgm:cxnLst>
    <dgm:cxn modelId="{D98ACF04-A668-4474-901A-07BF8A79619B}" srcId="{6D7C64AC-656D-46A6-B3FD-698F19C92C4C}" destId="{D9AFA3A4-1CC2-4FE7-BBC5-70EEAF8DC94F}" srcOrd="0" destOrd="0" parTransId="{4522C464-4090-46E8-A4E2-33797AC366D9}" sibTransId="{1EBA49EF-60EF-4D6D-BDAD-9C808F78DC13}"/>
    <dgm:cxn modelId="{47C40B21-9BE9-49C6-983A-216DEA21D385}" type="presOf" srcId="{D9AFA3A4-1CC2-4FE7-BBC5-70EEAF8DC94F}" destId="{40016ABC-EA87-4A27-A1C3-121B9C956CD1}" srcOrd="0" destOrd="0" presId="urn:microsoft.com/office/officeart/2009/layout/CircleArrowProcess"/>
    <dgm:cxn modelId="{7650F53A-5B54-44C3-BB51-E7F0C2F2C107}" type="presOf" srcId="{6D7C64AC-656D-46A6-B3FD-698F19C92C4C}" destId="{CB086AFD-5B76-4BD8-99DF-64868A42ED21}" srcOrd="0" destOrd="0" presId="urn:microsoft.com/office/officeart/2009/layout/CircleArrowProcess"/>
    <dgm:cxn modelId="{19D5E55B-C769-4A1A-BB22-7287AF8139B9}" srcId="{6D7C64AC-656D-46A6-B3FD-698F19C92C4C}" destId="{560F1154-E1B8-4C13-8ADC-B0C4AA3B9EAF}" srcOrd="1" destOrd="0" parTransId="{CA8AB65D-2E74-481A-AD7A-2FB9C7027ED2}" sibTransId="{A1AC55B5-B2B0-4B22-A44C-A31CA00BCC98}"/>
    <dgm:cxn modelId="{C4DBF656-2E7D-4A27-B5A6-08E3ECBC455E}" type="presOf" srcId="{560F1154-E1B8-4C13-8ADC-B0C4AA3B9EAF}" destId="{311AFD61-D5FD-4DFD-98F1-90C56FFEE8B4}" srcOrd="0" destOrd="0" presId="urn:microsoft.com/office/officeart/2009/layout/CircleArrowProcess"/>
    <dgm:cxn modelId="{D17B9B86-FE3B-44C1-89D8-150FE6EBCDE6}" srcId="{6D7C64AC-656D-46A6-B3FD-698F19C92C4C}" destId="{969CD9CE-99F3-412F-82E8-C6522211E0EC}" srcOrd="2" destOrd="0" parTransId="{1CEB654F-BE1D-47BE-B862-AC6FB554FF04}" sibTransId="{6C8A8B94-722B-46E4-A3E8-899B0C547FC7}"/>
    <dgm:cxn modelId="{CD99F588-C03C-4913-94A8-874F630B6FE5}" type="presOf" srcId="{969CD9CE-99F3-412F-82E8-C6522211E0EC}" destId="{05906902-2A14-482B-9CED-8E244C5FF800}" srcOrd="0" destOrd="0" presId="urn:microsoft.com/office/officeart/2009/layout/CircleArrowProcess"/>
    <dgm:cxn modelId="{72400B13-9C6D-4051-9DE2-1BAC8E0FBF0C}" type="presParOf" srcId="{CB086AFD-5B76-4BD8-99DF-64868A42ED21}" destId="{6BDE7246-E8E1-46CB-80FE-C82B6E1623BD}" srcOrd="0" destOrd="0" presId="urn:microsoft.com/office/officeart/2009/layout/CircleArrowProcess"/>
    <dgm:cxn modelId="{807C85E0-2380-4EE6-8BDA-FAD5C62414C4}" type="presParOf" srcId="{6BDE7246-E8E1-46CB-80FE-C82B6E1623BD}" destId="{D809FFE6-4A73-40FC-8345-243A3C26949B}" srcOrd="0" destOrd="0" presId="urn:microsoft.com/office/officeart/2009/layout/CircleArrowProcess"/>
    <dgm:cxn modelId="{9494EA17-5D9A-4858-A888-76F96C8FADD4}" type="presParOf" srcId="{CB086AFD-5B76-4BD8-99DF-64868A42ED21}" destId="{40016ABC-EA87-4A27-A1C3-121B9C956CD1}" srcOrd="1" destOrd="0" presId="urn:microsoft.com/office/officeart/2009/layout/CircleArrowProcess"/>
    <dgm:cxn modelId="{160812A5-80B9-4AA7-9680-3A76B09E2D8F}" type="presParOf" srcId="{CB086AFD-5B76-4BD8-99DF-64868A42ED21}" destId="{5A7438CC-F0BE-439A-962B-7EE704AC2890}" srcOrd="2" destOrd="0" presId="urn:microsoft.com/office/officeart/2009/layout/CircleArrowProcess"/>
    <dgm:cxn modelId="{BE0913CD-3B45-4F00-BC5A-6B114B89DB86}" type="presParOf" srcId="{5A7438CC-F0BE-439A-962B-7EE704AC2890}" destId="{BE5D0F7E-95A7-4F26-9E64-04720EBF2F7C}" srcOrd="0" destOrd="0" presId="urn:microsoft.com/office/officeart/2009/layout/CircleArrowProcess"/>
    <dgm:cxn modelId="{99EEF8EC-606D-49EE-884A-4D949763EA36}" type="presParOf" srcId="{CB086AFD-5B76-4BD8-99DF-64868A42ED21}" destId="{311AFD61-D5FD-4DFD-98F1-90C56FFEE8B4}" srcOrd="3" destOrd="0" presId="urn:microsoft.com/office/officeart/2009/layout/CircleArrowProcess"/>
    <dgm:cxn modelId="{84D135F5-AED9-49A1-AD47-076F5D4C1FCA}" type="presParOf" srcId="{CB086AFD-5B76-4BD8-99DF-64868A42ED21}" destId="{6ABE842D-6336-4BB3-ADC3-2E27CB117639}" srcOrd="4" destOrd="0" presId="urn:microsoft.com/office/officeart/2009/layout/CircleArrowProcess"/>
    <dgm:cxn modelId="{3CAA5999-B3CC-404A-9C1D-77A06E1596E0}" type="presParOf" srcId="{6ABE842D-6336-4BB3-ADC3-2E27CB117639}" destId="{0980A19E-D514-482C-BC87-0CBD4BB26C06}" srcOrd="0" destOrd="0" presId="urn:microsoft.com/office/officeart/2009/layout/CircleArrowProcess"/>
    <dgm:cxn modelId="{EFD6558C-E220-4E8E-8B28-B6816F22D762}" type="presParOf" srcId="{CB086AFD-5B76-4BD8-99DF-64868A42ED21}" destId="{05906902-2A14-482B-9CED-8E244C5FF800}" srcOrd="5" destOrd="0" presId="urn:microsoft.com/office/officeart/2009/layout/CircleArrow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09FFE6-4A73-40FC-8345-243A3C26949B}">
      <dsp:nvSpPr>
        <dsp:cNvPr id="0" name=""/>
        <dsp:cNvSpPr/>
      </dsp:nvSpPr>
      <dsp:spPr>
        <a:xfrm>
          <a:off x="1332068" y="977164"/>
          <a:ext cx="2305252" cy="2305603"/>
        </a:xfrm>
        <a:prstGeom prst="circularArrow">
          <a:avLst>
            <a:gd name="adj1" fmla="val 10980"/>
            <a:gd name="adj2" fmla="val 1142322"/>
            <a:gd name="adj3" fmla="val 4500000"/>
            <a:gd name="adj4" fmla="val 10800000"/>
            <a:gd name="adj5" fmla="val 12500"/>
          </a:avLst>
        </a:prstGeom>
        <a:gradFill rotWithShape="0">
          <a:gsLst>
            <a:gs pos="11000">
              <a:srgbClr val="61A6CC"/>
            </a:gs>
            <a:gs pos="71000">
              <a:schemeClr val="accent2">
                <a:hueOff val="0"/>
                <a:satOff val="0"/>
                <a:lumOff val="0"/>
                <a:satMod val="110000"/>
                <a:lumMod val="100000"/>
                <a:shade val="100000"/>
                <a:alpha val="23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40016ABC-EA87-4A27-A1C3-121B9C956CD1}">
      <dsp:nvSpPr>
        <dsp:cNvPr id="0" name=""/>
        <dsp:cNvSpPr/>
      </dsp:nvSpPr>
      <dsp:spPr>
        <a:xfrm>
          <a:off x="1841604" y="1531006"/>
          <a:ext cx="1280984" cy="936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latin typeface="Arial"/>
              <a:cs typeface="Arial"/>
            </a:rPr>
            <a:t>Balanced and stable growth </a:t>
          </a:r>
          <a:r>
            <a:rPr lang="en-US" sz="1600" b="1" kern="1200">
              <a:latin typeface="Arial"/>
              <a:ea typeface="+mn-ea"/>
              <a:cs typeface="Arial"/>
            </a:rPr>
            <a:t>portfolio </a:t>
          </a:r>
          <a:endParaRPr lang="en-US" sz="1600" b="1" kern="1200" dirty="0">
            <a:latin typeface="Arial"/>
            <a:ea typeface="+mn-ea"/>
            <a:cs typeface="Arial"/>
          </a:endParaRPr>
        </a:p>
      </dsp:txBody>
      <dsp:txXfrm>
        <a:off x="1841604" y="1531006"/>
        <a:ext cx="1280984" cy="936579"/>
      </dsp:txXfrm>
    </dsp:sp>
    <dsp:sp modelId="{BE5D0F7E-95A7-4F26-9E64-04720EBF2F7C}">
      <dsp:nvSpPr>
        <dsp:cNvPr id="0" name=""/>
        <dsp:cNvSpPr/>
      </dsp:nvSpPr>
      <dsp:spPr>
        <a:xfrm>
          <a:off x="691792" y="2301904"/>
          <a:ext cx="2305252" cy="2305603"/>
        </a:xfrm>
        <a:prstGeom prst="leftCircularArrow">
          <a:avLst>
            <a:gd name="adj1" fmla="val 10980"/>
            <a:gd name="adj2" fmla="val 1142322"/>
            <a:gd name="adj3" fmla="val 6300000"/>
            <a:gd name="adj4" fmla="val 18900000"/>
            <a:gd name="adj5" fmla="val 12500"/>
          </a:avLst>
        </a:prstGeom>
        <a:gradFill rotWithShape="0">
          <a:gsLst>
            <a:gs pos="15000">
              <a:srgbClr val="61A6CC">
                <a:alpha val="31000"/>
              </a:srgbClr>
            </a:gs>
            <a:gs pos="33000">
              <a:schemeClr val="accent2">
                <a:alpha val="90000"/>
                <a:hueOff val="0"/>
                <a:satOff val="0"/>
                <a:lumOff val="0"/>
                <a:alphaOff val="-20000"/>
                <a:satMod val="110000"/>
                <a:lumMod val="100000"/>
                <a:shade val="100000"/>
              </a:schemeClr>
            </a:gs>
            <a:gs pos="76000">
              <a:schemeClr val="accent2">
                <a:hueOff val="0"/>
                <a:satOff val="0"/>
                <a:lumOff val="0"/>
                <a:lumMod val="99000"/>
                <a:satMod val="120000"/>
                <a:shade val="78000"/>
                <a:alpha val="97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311AFD61-D5FD-4DFD-98F1-90C56FFEE8B4}">
      <dsp:nvSpPr>
        <dsp:cNvPr id="0" name=""/>
        <dsp:cNvSpPr/>
      </dsp:nvSpPr>
      <dsp:spPr>
        <a:xfrm>
          <a:off x="1106097" y="3141960"/>
          <a:ext cx="1476642" cy="6403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latin typeface="Arial"/>
              <a:cs typeface="Arial"/>
            </a:rPr>
            <a:t>Broad-based margin expansion</a:t>
          </a:r>
          <a:endParaRPr lang="en-US" sz="1600" kern="1200" dirty="0"/>
        </a:p>
      </dsp:txBody>
      <dsp:txXfrm>
        <a:off x="1106097" y="3141960"/>
        <a:ext cx="1476642" cy="640338"/>
      </dsp:txXfrm>
    </dsp:sp>
    <dsp:sp modelId="{0980A19E-D514-482C-BC87-0CBD4BB26C06}">
      <dsp:nvSpPr>
        <dsp:cNvPr id="0" name=""/>
        <dsp:cNvSpPr/>
      </dsp:nvSpPr>
      <dsp:spPr>
        <a:xfrm>
          <a:off x="1496141" y="3853688"/>
          <a:ext cx="1980569" cy="1981363"/>
        </a:xfrm>
        <a:prstGeom prst="blockArc">
          <a:avLst>
            <a:gd name="adj1" fmla="val 13500000"/>
            <a:gd name="adj2" fmla="val 10800000"/>
            <a:gd name="adj3" fmla="val 12740"/>
          </a:avLst>
        </a:prstGeom>
        <a:gradFill rotWithShape="0">
          <a:gsLst>
            <a:gs pos="0">
              <a:srgbClr val="61A6CC"/>
            </a:gs>
            <a:gs pos="87000">
              <a:schemeClr val="accent2">
                <a:alpha val="90000"/>
                <a:hueOff val="0"/>
                <a:satOff val="0"/>
                <a:lumOff val="0"/>
                <a:alphaOff val="-40000"/>
                <a:satMod val="110000"/>
                <a:lumMod val="100000"/>
                <a:shade val="100000"/>
              </a:schemeClr>
            </a:gs>
            <a:gs pos="100000">
              <a:schemeClr val="accent2">
                <a:alpha val="90000"/>
                <a:hueOff val="0"/>
                <a:satOff val="0"/>
                <a:lumOff val="0"/>
                <a:alphaOff val="-4000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05906902-2A14-482B-9CED-8E244C5FF800}">
      <dsp:nvSpPr>
        <dsp:cNvPr id="0" name=""/>
        <dsp:cNvSpPr/>
      </dsp:nvSpPr>
      <dsp:spPr>
        <a:xfrm>
          <a:off x="1844635" y="4564453"/>
          <a:ext cx="1280984" cy="6403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latin typeface="Arial"/>
              <a:cs typeface="Arial"/>
            </a:rPr>
            <a:t>Strong cash flow profile</a:t>
          </a:r>
          <a:endParaRPr lang="en-US" sz="1600" kern="1200" dirty="0"/>
        </a:p>
      </dsp:txBody>
      <dsp:txXfrm>
        <a:off x="1844635" y="4564453"/>
        <a:ext cx="1280984" cy="640338"/>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1727"/>
          </a:xfrm>
          <a:prstGeom prst="rect">
            <a:avLst/>
          </a:prstGeom>
        </p:spPr>
        <p:txBody>
          <a:bodyPr vert="horz" lIns="96610" tIns="48306" rIns="96610" bIns="48306" rtlCol="0"/>
          <a:lstStyle>
            <a:lvl1pPr algn="l">
              <a:defRPr sz="1200"/>
            </a:lvl1pPr>
          </a:lstStyle>
          <a:p>
            <a:endParaRPr lang="en-US"/>
          </a:p>
        </p:txBody>
      </p:sp>
      <p:sp>
        <p:nvSpPr>
          <p:cNvPr id="3" name="Date Placeholder 2"/>
          <p:cNvSpPr>
            <a:spLocks noGrp="1"/>
          </p:cNvSpPr>
          <p:nvPr>
            <p:ph type="dt" idx="1"/>
          </p:nvPr>
        </p:nvSpPr>
        <p:spPr>
          <a:xfrm>
            <a:off x="4143587" y="1"/>
            <a:ext cx="3169920" cy="481727"/>
          </a:xfrm>
          <a:prstGeom prst="rect">
            <a:avLst/>
          </a:prstGeom>
        </p:spPr>
        <p:txBody>
          <a:bodyPr vert="horz" lIns="96610" tIns="48306" rIns="96610" bIns="48306" rtlCol="0"/>
          <a:lstStyle>
            <a:lvl1pPr algn="r">
              <a:defRPr sz="1200"/>
            </a:lvl1pPr>
          </a:lstStyle>
          <a:p>
            <a:fld id="{CC7DC529-78D6-A243-BA96-866589604B67}" type="datetimeFigureOut">
              <a:rPr lang="en-US" smtClean="0"/>
              <a:t>7/8/2024</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10" tIns="48306" rIns="96610" bIns="48306"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10" tIns="48306" rIns="96610" bIns="4830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8"/>
            <a:ext cx="3169920" cy="481726"/>
          </a:xfrm>
          <a:prstGeom prst="rect">
            <a:avLst/>
          </a:prstGeom>
        </p:spPr>
        <p:txBody>
          <a:bodyPr vert="horz" lIns="96610" tIns="48306" rIns="96610" bIns="48306"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8"/>
            <a:ext cx="3169920" cy="481726"/>
          </a:xfrm>
          <a:prstGeom prst="rect">
            <a:avLst/>
          </a:prstGeom>
        </p:spPr>
        <p:txBody>
          <a:bodyPr vert="horz" lIns="96610" tIns="48306" rIns="96610" bIns="48306" rtlCol="0" anchor="b"/>
          <a:lstStyle>
            <a:lvl1pPr algn="r">
              <a:defRPr sz="1200"/>
            </a:lvl1pPr>
          </a:lstStyle>
          <a:p>
            <a:fld id="{8B0BE95D-98EB-5249-A0A0-F42407E1BDBA}" type="slidenum">
              <a:rPr lang="en-US" smtClean="0"/>
              <a:t>‹#›</a:t>
            </a:fld>
            <a:endParaRPr lang="en-US"/>
          </a:p>
        </p:txBody>
      </p:sp>
    </p:spTree>
    <p:extLst>
      <p:ext uri="{BB962C8B-B14F-4D97-AF65-F5344CB8AC3E}">
        <p14:creationId xmlns:p14="http://schemas.microsoft.com/office/powerpoint/2010/main" val="15987939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B0BE95D-98EB-5249-A0A0-F42407E1BDBA}" type="slidenum">
              <a:rPr lang="en-US" smtClean="0"/>
              <a:t>6</a:t>
            </a:fld>
            <a:endParaRPr lang="en-US"/>
          </a:p>
        </p:txBody>
      </p:sp>
    </p:spTree>
    <p:extLst>
      <p:ext uri="{BB962C8B-B14F-4D97-AF65-F5344CB8AC3E}">
        <p14:creationId xmlns:p14="http://schemas.microsoft.com/office/powerpoint/2010/main" val="466799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4188" y="0"/>
            <a:ext cx="1271587" cy="715963"/>
          </a:xfrm>
        </p:spPr>
      </p:sp>
      <p:sp>
        <p:nvSpPr>
          <p:cNvPr id="3" name="Notes Placeholder 2"/>
          <p:cNvSpPr>
            <a:spLocks noGrp="1"/>
          </p:cNvSpPr>
          <p:nvPr>
            <p:ph type="body" idx="1"/>
          </p:nvPr>
        </p:nvSpPr>
        <p:spPr>
          <a:xfrm>
            <a:off x="1" y="817705"/>
            <a:ext cx="7477760" cy="8811225"/>
          </a:xfrm>
        </p:spPr>
        <p:txBody>
          <a:bodyPr/>
          <a:lstStyle/>
          <a:p>
            <a:pPr eaLnBrk="0" fontAlgn="base" hangingPunct="0"/>
            <a:endParaRPr lang="en-US" sz="1500" dirty="0">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defTabSz="973211">
              <a:defRPr/>
            </a:pPr>
            <a:fld id="{000D3182-1F05-48C9-B1BB-3B62EC1EDBCF}" type="slidenum">
              <a:rPr lang="en-US">
                <a:solidFill>
                  <a:prstClr val="black"/>
                </a:solidFill>
                <a:latin typeface="Calibri" panose="020F0502020204030204"/>
              </a:rPr>
              <a:pPr defTabSz="973211">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25692961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jpeg"/><Relationship Id="rId3" Type="http://schemas.openxmlformats.org/officeDocument/2006/relationships/oleObject" Target="../embeddings/oleObject4.bin"/><Relationship Id="rId7" Type="http://schemas.openxmlformats.org/officeDocument/2006/relationships/image" Target="../media/image14.jpeg"/><Relationship Id="rId12" Type="http://schemas.openxmlformats.org/officeDocument/2006/relationships/image" Target="../media/image19.jpeg"/><Relationship Id="rId2" Type="http://schemas.openxmlformats.org/officeDocument/2006/relationships/slideMaster" Target="../slideMasters/slideMaster2.xml"/><Relationship Id="rId16" Type="http://schemas.openxmlformats.org/officeDocument/2006/relationships/image" Target="../media/image23.png"/><Relationship Id="rId1" Type="http://schemas.openxmlformats.org/officeDocument/2006/relationships/tags" Target="../tags/tag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jpeg"/><Relationship Id="rId15" Type="http://schemas.openxmlformats.org/officeDocument/2006/relationships/image" Target="../media/image22.jpeg"/><Relationship Id="rId10" Type="http://schemas.openxmlformats.org/officeDocument/2006/relationships/image" Target="../media/image17.png"/><Relationship Id="rId4" Type="http://schemas.openxmlformats.org/officeDocument/2006/relationships/image" Target="../media/image11.emf"/><Relationship Id="rId9" Type="http://schemas.openxmlformats.org/officeDocument/2006/relationships/image" Target="../media/image16.jpeg"/><Relationship Id="rId14" Type="http://schemas.openxmlformats.org/officeDocument/2006/relationships/image" Target="../media/image21.jpe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jpeg"/><Relationship Id="rId3" Type="http://schemas.openxmlformats.org/officeDocument/2006/relationships/oleObject" Target="../embeddings/oleObject5.bin"/><Relationship Id="rId7" Type="http://schemas.openxmlformats.org/officeDocument/2006/relationships/image" Target="../media/image14.jpeg"/><Relationship Id="rId12" Type="http://schemas.openxmlformats.org/officeDocument/2006/relationships/image" Target="../media/image19.jpeg"/><Relationship Id="rId2" Type="http://schemas.openxmlformats.org/officeDocument/2006/relationships/slideMaster" Target="../slideMasters/slideMaster2.xml"/><Relationship Id="rId16" Type="http://schemas.openxmlformats.org/officeDocument/2006/relationships/image" Target="../media/image23.png"/><Relationship Id="rId1" Type="http://schemas.openxmlformats.org/officeDocument/2006/relationships/tags" Target="../tags/tag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jpeg"/><Relationship Id="rId15" Type="http://schemas.openxmlformats.org/officeDocument/2006/relationships/image" Target="../media/image22.jpeg"/><Relationship Id="rId10" Type="http://schemas.openxmlformats.org/officeDocument/2006/relationships/image" Target="../media/image17.png"/><Relationship Id="rId4" Type="http://schemas.openxmlformats.org/officeDocument/2006/relationships/image" Target="../media/image11.emf"/><Relationship Id="rId9" Type="http://schemas.openxmlformats.org/officeDocument/2006/relationships/image" Target="../media/image16.jpeg"/><Relationship Id="rId14" Type="http://schemas.openxmlformats.org/officeDocument/2006/relationships/image" Target="../media/image21.jpe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4.png"/><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24.pn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24.png"/><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5.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5.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 Dark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8770FB7-E593-3B5D-28D6-292C37EFCF2A}"/>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31730E7-FA1E-7835-35E4-D48C90D2AEA2}"/>
              </a:ext>
            </a:extLst>
          </p:cNvPr>
          <p:cNvSpPr>
            <a:spLocks noGrp="1"/>
          </p:cNvSpPr>
          <p:nvPr>
            <p:ph type="ctrTitle" hasCustomPrompt="1"/>
          </p:nvPr>
        </p:nvSpPr>
        <p:spPr>
          <a:xfrm>
            <a:off x="1219201" y="3338996"/>
            <a:ext cx="9144000" cy="2387600"/>
          </a:xfrm>
        </p:spPr>
        <p:txBody>
          <a:bodyPr anchor="b">
            <a:normAutofit/>
          </a:bodyPr>
          <a:lstStyle>
            <a:lvl1pPr algn="l">
              <a:lnSpc>
                <a:spcPts val="5000"/>
              </a:lnSpc>
              <a:defRPr sz="5000">
                <a:solidFill>
                  <a:schemeClr val="bg1"/>
                </a:solidFill>
              </a:defRPr>
            </a:lvl1pPr>
          </a:lstStyle>
          <a:p>
            <a:r>
              <a:rPr lang="en-US" dirty="0"/>
              <a:t>CLICK TO EDIT THE TITLE OF THIS PRESENTATION</a:t>
            </a:r>
          </a:p>
        </p:txBody>
      </p:sp>
      <p:sp>
        <p:nvSpPr>
          <p:cNvPr id="3" name="Subtitle 2">
            <a:extLst>
              <a:ext uri="{FF2B5EF4-FFF2-40B4-BE49-F238E27FC236}">
                <a16:creationId xmlns:a16="http://schemas.microsoft.com/office/drawing/2014/main" id="{BB2454C3-B366-AE07-8E3B-3EEBF583631D}"/>
              </a:ext>
            </a:extLst>
          </p:cNvPr>
          <p:cNvSpPr>
            <a:spLocks noGrp="1"/>
          </p:cNvSpPr>
          <p:nvPr>
            <p:ph type="subTitle" idx="1" hasCustomPrompt="1"/>
          </p:nvPr>
        </p:nvSpPr>
        <p:spPr>
          <a:xfrm>
            <a:off x="1219201" y="5818671"/>
            <a:ext cx="9144000" cy="355150"/>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nter a date or subtitle</a:t>
            </a:r>
          </a:p>
        </p:txBody>
      </p:sp>
      <p:cxnSp>
        <p:nvCxnSpPr>
          <p:cNvPr id="9" name="Straight Connector 8">
            <a:extLst>
              <a:ext uri="{FF2B5EF4-FFF2-40B4-BE49-F238E27FC236}">
                <a16:creationId xmlns:a16="http://schemas.microsoft.com/office/drawing/2014/main" id="{C2AD1B30-DCA4-C637-7891-1DC82260F008}"/>
              </a:ext>
            </a:extLst>
          </p:cNvPr>
          <p:cNvCxnSpPr>
            <a:cxnSpLocks/>
          </p:cNvCxnSpPr>
          <p:nvPr userDrawn="1"/>
        </p:nvCxnSpPr>
        <p:spPr>
          <a:xfrm>
            <a:off x="609600" y="0"/>
            <a:ext cx="0" cy="685800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43C1A86-99FB-F7C4-893B-D7540735B709}"/>
              </a:ext>
            </a:extLst>
          </p:cNvPr>
          <p:cNvCxnSpPr>
            <a:cxnSpLocks/>
          </p:cNvCxnSpPr>
          <p:nvPr userDrawn="1"/>
        </p:nvCxnSpPr>
        <p:spPr>
          <a:xfrm flipH="1">
            <a:off x="0" y="605790"/>
            <a:ext cx="12192000" cy="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AF760CAE-1168-8F32-8C4D-09A4FE58CD0F}"/>
              </a:ext>
            </a:extLst>
          </p:cNvPr>
          <p:cNvSpPr/>
          <p:nvPr userDrawn="1"/>
        </p:nvSpPr>
        <p:spPr>
          <a:xfrm rot="5400000">
            <a:off x="609600" y="606920"/>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Triangle 17">
            <a:extLst>
              <a:ext uri="{FF2B5EF4-FFF2-40B4-BE49-F238E27FC236}">
                <a16:creationId xmlns:a16="http://schemas.microsoft.com/office/drawing/2014/main" id="{3BCBECA1-42A6-B022-05DA-3CAAAD30AEF8}"/>
              </a:ext>
            </a:extLst>
          </p:cNvPr>
          <p:cNvSpPr/>
          <p:nvPr userDrawn="1"/>
        </p:nvSpPr>
        <p:spPr>
          <a:xfrm rot="5400000">
            <a:off x="609600" y="1"/>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E23F582A-C2A9-6BE7-AEC6-42C1E1C35C02}"/>
              </a:ext>
            </a:extLst>
          </p:cNvPr>
          <p:cNvPicPr>
            <a:picLocks noChangeAspect="1"/>
          </p:cNvPicPr>
          <p:nvPr userDrawn="1"/>
        </p:nvPicPr>
        <p:blipFill>
          <a:blip r:embed="rId2"/>
          <a:stretch>
            <a:fillRect/>
          </a:stretch>
        </p:blipFill>
        <p:spPr>
          <a:xfrm>
            <a:off x="1219200" y="1211581"/>
            <a:ext cx="2994985" cy="556857"/>
          </a:xfrm>
          <a:prstGeom prst="rect">
            <a:avLst/>
          </a:prstGeom>
        </p:spPr>
      </p:pic>
      <p:sp>
        <p:nvSpPr>
          <p:cNvPr id="5" name="TextBox 4">
            <a:extLst>
              <a:ext uri="{FF2B5EF4-FFF2-40B4-BE49-F238E27FC236}">
                <a16:creationId xmlns:a16="http://schemas.microsoft.com/office/drawing/2014/main" id="{CD993A5E-A9DD-C900-610D-16F9D2BA2DB1}"/>
              </a:ext>
            </a:extLst>
          </p:cNvPr>
          <p:cNvSpPr txBox="1"/>
          <p:nvPr userDrawn="1"/>
        </p:nvSpPr>
        <p:spPr>
          <a:xfrm>
            <a:off x="10094951" y="6622880"/>
            <a:ext cx="2097049" cy="184666"/>
          </a:xfrm>
          <a:prstGeom prst="rect">
            <a:avLst/>
          </a:prstGeom>
          <a:noFill/>
        </p:spPr>
        <p:txBody>
          <a:bodyPr wrap="none" rtlCol="0">
            <a:spAutoFit/>
          </a:bodyPr>
          <a:lstStyle/>
          <a:p>
            <a:pPr algn="r"/>
            <a:r>
              <a:rPr lang="en-US" sz="600" b="0" i="0" dirty="0">
                <a:solidFill>
                  <a:schemeClr val="bg1"/>
                </a:solidFill>
                <a:effectLst/>
                <a:latin typeface="Arial" panose="020B0604020202020204" pitchFamily="34" charset="0"/>
                <a:cs typeface="Arial" panose="020B0604020202020204" pitchFamily="34" charset="0"/>
              </a:rPr>
              <a:t>© 2024 Minerals Technologies Inc. All Rights Reserved.</a:t>
            </a:r>
            <a:endParaRPr lang="en-US" sz="600" b="0"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72948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sic Content - 2 Columns with Titl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E93E63-74EF-596B-94F0-120693CBA955}"/>
              </a:ext>
            </a:extLst>
          </p:cNvPr>
          <p:cNvSpPr>
            <a:spLocks noGrp="1"/>
          </p:cNvSpPr>
          <p:nvPr>
            <p:ph idx="1" hasCustomPrompt="1"/>
          </p:nvPr>
        </p:nvSpPr>
        <p:spPr>
          <a:xfrm>
            <a:off x="608815" y="1644691"/>
            <a:ext cx="5088463" cy="4396460"/>
          </a:xfrm>
        </p:spPr>
        <p:txBody>
          <a:bodyPr/>
          <a:lstStyle>
            <a:lvl1pPr marL="0" indent="0">
              <a:buNone/>
              <a:defRPr sz="2000">
                <a:solidFill>
                  <a:srgbClr val="333333"/>
                </a:solidFill>
              </a:defRPr>
            </a:lvl1pPr>
            <a:lvl2pPr>
              <a:defRPr>
                <a:solidFill>
                  <a:srgbClr val="333333"/>
                </a:solidFill>
              </a:defRPr>
            </a:lvl2pPr>
            <a:lvl3pPr marL="914400" indent="0">
              <a:buNone/>
              <a:defRPr>
                <a:solidFill>
                  <a:srgbClr val="333333"/>
                </a:solidFill>
              </a:defRPr>
            </a:lvl3pPr>
            <a:lvl4pPr>
              <a:defRPr>
                <a:solidFill>
                  <a:srgbClr val="333333"/>
                </a:solidFill>
              </a:defRPr>
            </a:lvl4pPr>
            <a:lvl5pPr>
              <a:defRPr>
                <a:solidFill>
                  <a:srgbClr val="333333"/>
                </a:solidFill>
              </a:defRPr>
            </a:lvl5pPr>
          </a:lstStyle>
          <a:p>
            <a:pPr lvl="0"/>
            <a:r>
              <a:rPr lang="en-US" dirty="0"/>
              <a:t>Third level</a:t>
            </a:r>
          </a:p>
        </p:txBody>
      </p:sp>
      <p:sp>
        <p:nvSpPr>
          <p:cNvPr id="4" name="Content Placeholder 2">
            <a:extLst>
              <a:ext uri="{FF2B5EF4-FFF2-40B4-BE49-F238E27FC236}">
                <a16:creationId xmlns:a16="http://schemas.microsoft.com/office/drawing/2014/main" id="{99AD1AD8-6BFC-DFB9-4325-C11F0FEAEA41}"/>
              </a:ext>
            </a:extLst>
          </p:cNvPr>
          <p:cNvSpPr>
            <a:spLocks noGrp="1"/>
          </p:cNvSpPr>
          <p:nvPr>
            <p:ph idx="13" hasCustomPrompt="1"/>
          </p:nvPr>
        </p:nvSpPr>
        <p:spPr>
          <a:xfrm>
            <a:off x="6035956" y="1644691"/>
            <a:ext cx="5088463" cy="4396460"/>
          </a:xfrm>
        </p:spPr>
        <p:txBody>
          <a:bodyPr/>
          <a:lstStyle>
            <a:lvl1pPr marL="0" indent="0">
              <a:buNone/>
              <a:defRPr sz="2000">
                <a:solidFill>
                  <a:srgbClr val="333333"/>
                </a:solidFill>
              </a:defRPr>
            </a:lvl1pPr>
            <a:lvl2pPr>
              <a:defRPr>
                <a:solidFill>
                  <a:srgbClr val="333333"/>
                </a:solidFill>
              </a:defRPr>
            </a:lvl2pPr>
            <a:lvl3pPr marL="914400" indent="0">
              <a:buNone/>
              <a:defRPr>
                <a:solidFill>
                  <a:srgbClr val="333333"/>
                </a:solidFill>
              </a:defRPr>
            </a:lvl3pPr>
            <a:lvl4pPr>
              <a:defRPr>
                <a:solidFill>
                  <a:srgbClr val="333333"/>
                </a:solidFill>
              </a:defRPr>
            </a:lvl4pPr>
            <a:lvl5pPr>
              <a:defRPr>
                <a:solidFill>
                  <a:srgbClr val="333333"/>
                </a:solidFill>
              </a:defRPr>
            </a:lvl5pPr>
          </a:lstStyle>
          <a:p>
            <a:pPr lvl="0"/>
            <a:r>
              <a:rPr lang="en-US" dirty="0"/>
              <a:t>Third level</a:t>
            </a:r>
          </a:p>
        </p:txBody>
      </p:sp>
      <p:sp>
        <p:nvSpPr>
          <p:cNvPr id="13" name="Text Placeholder 12">
            <a:extLst>
              <a:ext uri="{FF2B5EF4-FFF2-40B4-BE49-F238E27FC236}">
                <a16:creationId xmlns:a16="http://schemas.microsoft.com/office/drawing/2014/main" id="{152B9643-E5FB-1841-AD35-87606A63EAEC}"/>
              </a:ext>
            </a:extLst>
          </p:cNvPr>
          <p:cNvSpPr>
            <a:spLocks noGrp="1"/>
          </p:cNvSpPr>
          <p:nvPr>
            <p:ph type="body" sz="quarter" idx="14" hasCustomPrompt="1"/>
          </p:nvPr>
        </p:nvSpPr>
        <p:spPr>
          <a:xfrm>
            <a:off x="608816" y="1167600"/>
            <a:ext cx="5087938" cy="430213"/>
          </a:xfrm>
        </p:spPr>
        <p:txBody>
          <a:bodyPr>
            <a:noAutofit/>
          </a:bodyPr>
          <a:lstStyle>
            <a:lvl1pPr marL="0" indent="0">
              <a:buNone/>
              <a:defRPr sz="2400" b="1">
                <a:solidFill>
                  <a:schemeClr val="tx2"/>
                </a:solidFill>
              </a:defRPr>
            </a:lvl1pPr>
            <a:lvl2pPr marL="457200" indent="0">
              <a:buNone/>
              <a:defRPr sz="2000" b="1"/>
            </a:lvl2pPr>
            <a:lvl3pPr marL="914400" indent="0">
              <a:buNone/>
              <a:defRPr sz="2000" b="1"/>
            </a:lvl3pPr>
            <a:lvl4pPr marL="1371600" indent="0">
              <a:buNone/>
              <a:defRPr sz="2000" b="1"/>
            </a:lvl4pPr>
            <a:lvl5pPr marL="1828800" indent="0">
              <a:buNone/>
              <a:defRPr sz="2000" b="1"/>
            </a:lvl5pPr>
          </a:lstStyle>
          <a:p>
            <a:pPr lvl="0"/>
            <a:r>
              <a:rPr lang="en-US" dirty="0"/>
              <a:t>Click to edit this sub title</a:t>
            </a:r>
          </a:p>
        </p:txBody>
      </p:sp>
      <p:sp>
        <p:nvSpPr>
          <p:cNvPr id="14" name="Text Placeholder 12">
            <a:extLst>
              <a:ext uri="{FF2B5EF4-FFF2-40B4-BE49-F238E27FC236}">
                <a16:creationId xmlns:a16="http://schemas.microsoft.com/office/drawing/2014/main" id="{F8918184-CCC5-462D-917E-5F0CA34F0F02}"/>
              </a:ext>
            </a:extLst>
          </p:cNvPr>
          <p:cNvSpPr>
            <a:spLocks noGrp="1"/>
          </p:cNvSpPr>
          <p:nvPr>
            <p:ph type="body" sz="quarter" idx="15" hasCustomPrompt="1"/>
          </p:nvPr>
        </p:nvSpPr>
        <p:spPr>
          <a:xfrm>
            <a:off x="6033127" y="1167600"/>
            <a:ext cx="5087938" cy="430213"/>
          </a:xfrm>
        </p:spPr>
        <p:txBody>
          <a:bodyPr>
            <a:noAutofit/>
          </a:bodyPr>
          <a:lstStyle>
            <a:lvl1pPr marL="0" indent="0">
              <a:buNone/>
              <a:defRPr sz="2400" b="1">
                <a:solidFill>
                  <a:schemeClr val="tx2"/>
                </a:solidFill>
              </a:defRPr>
            </a:lvl1pPr>
            <a:lvl2pPr marL="457200" indent="0">
              <a:buNone/>
              <a:defRPr sz="2000" b="1"/>
            </a:lvl2pPr>
            <a:lvl3pPr marL="914400" indent="0">
              <a:buNone/>
              <a:defRPr sz="2000" b="1"/>
            </a:lvl3pPr>
            <a:lvl4pPr marL="1371600" indent="0">
              <a:buNone/>
              <a:defRPr sz="2000" b="1"/>
            </a:lvl4pPr>
            <a:lvl5pPr marL="1828800" indent="0">
              <a:buNone/>
              <a:defRPr sz="2000" b="1"/>
            </a:lvl5pPr>
          </a:lstStyle>
          <a:p>
            <a:pPr lvl="0"/>
            <a:r>
              <a:rPr lang="en-US" dirty="0"/>
              <a:t>Click to edit this sub title</a:t>
            </a:r>
          </a:p>
        </p:txBody>
      </p:sp>
      <p:sp>
        <p:nvSpPr>
          <p:cNvPr id="5" name="Slide Number Placeholder 5">
            <a:extLst>
              <a:ext uri="{FF2B5EF4-FFF2-40B4-BE49-F238E27FC236}">
                <a16:creationId xmlns:a16="http://schemas.microsoft.com/office/drawing/2014/main" id="{DA2AA13F-71E7-CB84-048E-2BB1F484DF28}"/>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16" name="Straight Connector 15">
            <a:extLst>
              <a:ext uri="{FF2B5EF4-FFF2-40B4-BE49-F238E27FC236}">
                <a16:creationId xmlns:a16="http://schemas.microsoft.com/office/drawing/2014/main" id="{ECF0B3D2-AB12-EA83-5D6B-1AE0F1E10E72}"/>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5801610-56C9-3AB2-0D02-933F8F7A88E9}"/>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Right Triangle 18">
            <a:extLst>
              <a:ext uri="{FF2B5EF4-FFF2-40B4-BE49-F238E27FC236}">
                <a16:creationId xmlns:a16="http://schemas.microsoft.com/office/drawing/2014/main" id="{ADE8ADED-C186-79A2-5B21-B3778F951A3F}"/>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a:extLst>
              <a:ext uri="{FF2B5EF4-FFF2-40B4-BE49-F238E27FC236}">
                <a16:creationId xmlns:a16="http://schemas.microsoft.com/office/drawing/2014/main" id="{D174A61C-79D4-0054-6934-FE559DF2DAEC}"/>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Right Triangle 21">
            <a:extLst>
              <a:ext uri="{FF2B5EF4-FFF2-40B4-BE49-F238E27FC236}">
                <a16:creationId xmlns:a16="http://schemas.microsoft.com/office/drawing/2014/main" id="{E6102A15-1BAD-B7D8-C06E-3A33CDCCE01B}"/>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95504B98-F928-AB4A-6680-E0CE413A69E2}"/>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0" name="Title 1">
            <a:extLst>
              <a:ext uri="{FF2B5EF4-FFF2-40B4-BE49-F238E27FC236}">
                <a16:creationId xmlns:a16="http://schemas.microsoft.com/office/drawing/2014/main" id="{62FC11DE-5D44-8936-7C99-8584089DF82F}"/>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DFDFE317-1F9C-FED7-247A-33FA21FDA495}"/>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2FBB0240-094C-87EC-0EB8-D225884E6353}"/>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670828462"/>
      </p:ext>
    </p:extLst>
  </p:cSld>
  <p:clrMapOvr>
    <a:masterClrMapping/>
  </p:clrMapOvr>
  <p:extLst>
    <p:ext uri="{DCECCB84-F9BA-43D5-87BE-67443E8EF086}">
      <p15:sldGuideLst xmlns:p15="http://schemas.microsoft.com/office/powerpoint/2012/main">
        <p15:guide id="1" orient="horz" pos="120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sic Content with Pictu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E93E63-74EF-596B-94F0-120693CBA955}"/>
              </a:ext>
            </a:extLst>
          </p:cNvPr>
          <p:cNvSpPr>
            <a:spLocks noGrp="1"/>
          </p:cNvSpPr>
          <p:nvPr>
            <p:ph idx="1"/>
          </p:nvPr>
        </p:nvSpPr>
        <p:spPr>
          <a:xfrm>
            <a:off x="608815" y="1106165"/>
            <a:ext cx="3417712" cy="504170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12">
            <a:extLst>
              <a:ext uri="{FF2B5EF4-FFF2-40B4-BE49-F238E27FC236}">
                <a16:creationId xmlns:a16="http://schemas.microsoft.com/office/drawing/2014/main" id="{1842AD92-BA3B-D30B-95A0-2BFB22D25638}"/>
              </a:ext>
            </a:extLst>
          </p:cNvPr>
          <p:cNvSpPr>
            <a:spLocks noGrp="1"/>
          </p:cNvSpPr>
          <p:nvPr>
            <p:ph type="pic" sz="quarter" idx="13"/>
          </p:nvPr>
        </p:nvSpPr>
        <p:spPr>
          <a:xfrm>
            <a:off x="4247365" y="1106165"/>
            <a:ext cx="7713213" cy="5041724"/>
          </a:xfrm>
        </p:spPr>
        <p:txBody>
          <a:bodyPr/>
          <a:lstStyle/>
          <a:p>
            <a:endParaRPr lang="en-US"/>
          </a:p>
        </p:txBody>
      </p:sp>
      <p:sp>
        <p:nvSpPr>
          <p:cNvPr id="4" name="Slide Number Placeholder 5">
            <a:extLst>
              <a:ext uri="{FF2B5EF4-FFF2-40B4-BE49-F238E27FC236}">
                <a16:creationId xmlns:a16="http://schemas.microsoft.com/office/drawing/2014/main" id="{CE4A4893-74B6-B9FB-9F52-734D4C975F9C}"/>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5" name="Straight Connector 4">
            <a:extLst>
              <a:ext uri="{FF2B5EF4-FFF2-40B4-BE49-F238E27FC236}">
                <a16:creationId xmlns:a16="http://schemas.microsoft.com/office/drawing/2014/main" id="{F4084F41-DAC2-E3E5-20CA-9C031F9902AF}"/>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9AB0908-3392-4BAB-E539-D987C961D2F6}"/>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224551BD-1CFB-50E2-BA30-E25D6A649CA3}"/>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AD31507F-669E-0016-ABCC-5D20DCB0479A}"/>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Right Triangle 19">
            <a:extLst>
              <a:ext uri="{FF2B5EF4-FFF2-40B4-BE49-F238E27FC236}">
                <a16:creationId xmlns:a16="http://schemas.microsoft.com/office/drawing/2014/main" id="{DE7BF415-C8BA-ED9B-8A19-85B2961FC1EE}"/>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C749B5C-DFF7-F3B6-E8FA-8F5D5E8C2C14}"/>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4" name="Title 1">
            <a:extLst>
              <a:ext uri="{FF2B5EF4-FFF2-40B4-BE49-F238E27FC236}">
                <a16:creationId xmlns:a16="http://schemas.microsoft.com/office/drawing/2014/main" id="{FA80880F-C288-F7C7-2E87-5FA7BDA2E17A}"/>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8101BA38-51D0-8A1B-A2F3-EE4D542FDC9D}"/>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51935410-C136-DA90-C3B8-C39FB3F3CE30}"/>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3964767444"/>
      </p:ext>
    </p:extLst>
  </p:cSld>
  <p:clrMapOvr>
    <a:masterClrMapping/>
  </p:clrMapOvr>
  <p:extLst>
    <p:ext uri="{DCECCB84-F9BA-43D5-87BE-67443E8EF086}">
      <p15:sldGuideLst xmlns:p15="http://schemas.microsoft.com/office/powerpoint/2012/main">
        <p15:guide id="1" orient="horz" pos="120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Content with Char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E93E63-74EF-596B-94F0-120693CBA955}"/>
              </a:ext>
            </a:extLst>
          </p:cNvPr>
          <p:cNvSpPr>
            <a:spLocks noGrp="1"/>
          </p:cNvSpPr>
          <p:nvPr>
            <p:ph idx="1"/>
          </p:nvPr>
        </p:nvSpPr>
        <p:spPr>
          <a:xfrm>
            <a:off x="608815" y="1106166"/>
            <a:ext cx="3417712" cy="5041684"/>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hart Placeholder 4">
            <a:extLst>
              <a:ext uri="{FF2B5EF4-FFF2-40B4-BE49-F238E27FC236}">
                <a16:creationId xmlns:a16="http://schemas.microsoft.com/office/drawing/2014/main" id="{EE348095-6C84-3361-F2A2-4F5D997C3AFD}"/>
              </a:ext>
            </a:extLst>
          </p:cNvPr>
          <p:cNvSpPr>
            <a:spLocks noGrp="1"/>
          </p:cNvSpPr>
          <p:nvPr>
            <p:ph type="chart" sz="quarter" idx="14"/>
          </p:nvPr>
        </p:nvSpPr>
        <p:spPr>
          <a:xfrm>
            <a:off x="4255126" y="1106165"/>
            <a:ext cx="7682874" cy="5041685"/>
          </a:xfrm>
        </p:spPr>
        <p:txBody>
          <a:bodyPr/>
          <a:lstStyle/>
          <a:p>
            <a:endParaRPr lang="en-US"/>
          </a:p>
        </p:txBody>
      </p:sp>
      <p:sp>
        <p:nvSpPr>
          <p:cNvPr id="4" name="Slide Number Placeholder 5">
            <a:extLst>
              <a:ext uri="{FF2B5EF4-FFF2-40B4-BE49-F238E27FC236}">
                <a16:creationId xmlns:a16="http://schemas.microsoft.com/office/drawing/2014/main" id="{66F9CC7E-4EA4-1BB1-D79D-C95ADE7F21FB}"/>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13" name="Straight Connector 12">
            <a:extLst>
              <a:ext uri="{FF2B5EF4-FFF2-40B4-BE49-F238E27FC236}">
                <a16:creationId xmlns:a16="http://schemas.microsoft.com/office/drawing/2014/main" id="{696EF24E-A8C5-81CE-3E5A-73C94C437A2A}"/>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3056178-639C-E8DA-7825-FB17D9926618}"/>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69E0E393-B1D8-4B47-EDCA-86B49777CF02}"/>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D46CDD2D-DD15-7C41-5704-14714B6CF41B}"/>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Right Triangle 19">
            <a:extLst>
              <a:ext uri="{FF2B5EF4-FFF2-40B4-BE49-F238E27FC236}">
                <a16:creationId xmlns:a16="http://schemas.microsoft.com/office/drawing/2014/main" id="{C855C527-489B-865D-9C6A-5CBADBE35847}"/>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0416968-2CF3-9527-12CF-524B0D2CB9BA}"/>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4" name="Title 1">
            <a:extLst>
              <a:ext uri="{FF2B5EF4-FFF2-40B4-BE49-F238E27FC236}">
                <a16:creationId xmlns:a16="http://schemas.microsoft.com/office/drawing/2014/main" id="{0B345466-B032-9718-AC59-8511F4AC933B}"/>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415AF7E9-DBFE-C9CD-C448-4DF21B64EA4F}"/>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D279872F-4247-9C39-B235-2DEB2F75B971}"/>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2606877469"/>
      </p:ext>
    </p:extLst>
  </p:cSld>
  <p:clrMapOvr>
    <a:masterClrMapping/>
  </p:clrMapOvr>
  <p:extLst>
    <p:ext uri="{DCECCB84-F9BA-43D5-87BE-67443E8EF086}">
      <p15:sldGuideLst xmlns:p15="http://schemas.microsoft.com/office/powerpoint/2012/main">
        <p15:guide id="1" orient="horz" pos="120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asic Content with Tab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E93E63-74EF-596B-94F0-120693CBA955}"/>
              </a:ext>
            </a:extLst>
          </p:cNvPr>
          <p:cNvSpPr>
            <a:spLocks noGrp="1"/>
          </p:cNvSpPr>
          <p:nvPr>
            <p:ph idx="1"/>
          </p:nvPr>
        </p:nvSpPr>
        <p:spPr>
          <a:xfrm>
            <a:off x="608815" y="1106753"/>
            <a:ext cx="3417712" cy="5041113"/>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able Placeholder 12">
            <a:extLst>
              <a:ext uri="{FF2B5EF4-FFF2-40B4-BE49-F238E27FC236}">
                <a16:creationId xmlns:a16="http://schemas.microsoft.com/office/drawing/2014/main" id="{84259712-6C56-BEA4-8F0E-FB8D0F444458}"/>
              </a:ext>
            </a:extLst>
          </p:cNvPr>
          <p:cNvSpPr>
            <a:spLocks noGrp="1"/>
          </p:cNvSpPr>
          <p:nvPr>
            <p:ph type="tbl" sz="quarter" idx="14"/>
          </p:nvPr>
        </p:nvSpPr>
        <p:spPr>
          <a:xfrm>
            <a:off x="4287052" y="1106165"/>
            <a:ext cx="7650948" cy="5041707"/>
          </a:xfrm>
        </p:spPr>
        <p:txBody>
          <a:bodyPr/>
          <a:lstStyle/>
          <a:p>
            <a:endParaRPr lang="en-US"/>
          </a:p>
        </p:txBody>
      </p:sp>
      <p:sp>
        <p:nvSpPr>
          <p:cNvPr id="4" name="Slide Number Placeholder 5">
            <a:extLst>
              <a:ext uri="{FF2B5EF4-FFF2-40B4-BE49-F238E27FC236}">
                <a16:creationId xmlns:a16="http://schemas.microsoft.com/office/drawing/2014/main" id="{CC75A6C3-70F5-3DF0-FE9C-81E52FB697BF}"/>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5" name="Straight Connector 4">
            <a:extLst>
              <a:ext uri="{FF2B5EF4-FFF2-40B4-BE49-F238E27FC236}">
                <a16:creationId xmlns:a16="http://schemas.microsoft.com/office/drawing/2014/main" id="{3C8DEA54-71AA-F4F7-506C-B2D49240FFD0}"/>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0DA1AF8-3A6A-0DBA-A31D-3EE2ED85270A}"/>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7B4BF6A8-CCF1-FC25-B7FC-3D70CD6799B7}"/>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323CDC33-D837-1A2A-6AD4-476DF2E051AB}"/>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Right Triangle 19">
            <a:extLst>
              <a:ext uri="{FF2B5EF4-FFF2-40B4-BE49-F238E27FC236}">
                <a16:creationId xmlns:a16="http://schemas.microsoft.com/office/drawing/2014/main" id="{3485D2ED-FCDE-2D02-28A6-42E73B4F21DF}"/>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E8AB8E1-D888-7DDD-2EB3-7CE461EE1D1F}"/>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4" name="Title 1">
            <a:extLst>
              <a:ext uri="{FF2B5EF4-FFF2-40B4-BE49-F238E27FC236}">
                <a16:creationId xmlns:a16="http://schemas.microsoft.com/office/drawing/2014/main" id="{2579B14F-561B-61E1-D162-70A5F783530A}"/>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A7A61243-7E8C-F4A0-070D-15B97F04F2EB}"/>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FEFE9DB5-F6A6-C19B-80DC-7E5B445B1B13}"/>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2068444183"/>
      </p:ext>
    </p:extLst>
  </p:cSld>
  <p:clrMapOvr>
    <a:masterClrMapping/>
  </p:clrMapOvr>
  <p:extLst>
    <p:ext uri="{DCECCB84-F9BA-43D5-87BE-67443E8EF086}">
      <p15:sldGuideLst xmlns:p15="http://schemas.microsoft.com/office/powerpoint/2012/main">
        <p15:guide id="1" orient="horz" pos="120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4470ABD0-80E0-1E02-E48F-787215F975D3}"/>
              </a:ext>
            </a:extLst>
          </p:cNvPr>
          <p:cNvSpPr/>
          <p:nvPr userDrawn="1"/>
        </p:nvSpPr>
        <p:spPr>
          <a:xfrm rot="5400000">
            <a:off x="609600" y="606920"/>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F0728C94-E45B-1699-B1A1-F12B49B9CF2B}"/>
              </a:ext>
            </a:extLst>
          </p:cNvPr>
          <p:cNvSpPr/>
          <p:nvPr userDrawn="1"/>
        </p:nvSpPr>
        <p:spPr>
          <a:xfrm>
            <a:off x="0" y="613387"/>
            <a:ext cx="5666723" cy="5747630"/>
          </a:xfrm>
          <a:prstGeom prst="rect">
            <a:avLst/>
          </a:prstGeom>
          <a:solidFill>
            <a:schemeClr val="accent2"/>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 name="Triangle 3">
            <a:extLst>
              <a:ext uri="{FF2B5EF4-FFF2-40B4-BE49-F238E27FC236}">
                <a16:creationId xmlns:a16="http://schemas.microsoft.com/office/drawing/2014/main" id="{8D01FC94-50BA-B90B-45CF-3C4592D459B5}"/>
              </a:ext>
            </a:extLst>
          </p:cNvPr>
          <p:cNvSpPr/>
          <p:nvPr userDrawn="1"/>
        </p:nvSpPr>
        <p:spPr>
          <a:xfrm rot="5400000">
            <a:off x="3468768" y="2811343"/>
            <a:ext cx="5747631" cy="1351722"/>
          </a:xfrm>
          <a:prstGeom prst="triangle">
            <a:avLst>
              <a:gd name="adj" fmla="val 50579"/>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74A36EE5-84B1-0400-104B-38D0FDC07815}"/>
              </a:ext>
            </a:extLst>
          </p:cNvPr>
          <p:cNvSpPr>
            <a:spLocks noGrp="1"/>
          </p:cNvSpPr>
          <p:nvPr>
            <p:ph idx="14" hasCustomPrompt="1"/>
          </p:nvPr>
        </p:nvSpPr>
        <p:spPr>
          <a:xfrm>
            <a:off x="7366432" y="2076339"/>
            <a:ext cx="4216754" cy="3576325"/>
          </a:xfrm>
        </p:spPr>
        <p:txBody>
          <a:bodyPr/>
          <a:lstStyle>
            <a:lvl1pPr marL="0" indent="0">
              <a:buNone/>
              <a:defRPr sz="2000">
                <a:solidFill>
                  <a:srgbClr val="333333"/>
                </a:solidFill>
              </a:defRPr>
            </a:lvl1pPr>
            <a:lvl2pPr>
              <a:defRPr>
                <a:solidFill>
                  <a:srgbClr val="333333"/>
                </a:solidFill>
              </a:defRPr>
            </a:lvl2pPr>
            <a:lvl3pPr marL="914400" indent="0">
              <a:buNone/>
              <a:defRPr>
                <a:solidFill>
                  <a:srgbClr val="333333"/>
                </a:solidFill>
              </a:defRPr>
            </a:lvl3pPr>
            <a:lvl4pPr>
              <a:defRPr>
                <a:solidFill>
                  <a:srgbClr val="333333"/>
                </a:solidFill>
              </a:defRPr>
            </a:lvl4pPr>
            <a:lvl5pPr>
              <a:defRPr>
                <a:solidFill>
                  <a:srgbClr val="333333"/>
                </a:solidFill>
              </a:defRPr>
            </a:lvl5pPr>
          </a:lstStyle>
          <a:p>
            <a:pPr lvl="0"/>
            <a:r>
              <a:rPr lang="en-US" dirty="0"/>
              <a:t>Third level</a:t>
            </a:r>
          </a:p>
        </p:txBody>
      </p:sp>
      <p:sp>
        <p:nvSpPr>
          <p:cNvPr id="20" name="Text Placeholder 12">
            <a:extLst>
              <a:ext uri="{FF2B5EF4-FFF2-40B4-BE49-F238E27FC236}">
                <a16:creationId xmlns:a16="http://schemas.microsoft.com/office/drawing/2014/main" id="{CBC82056-6B52-1C42-9F30-93388A968EFE}"/>
              </a:ext>
            </a:extLst>
          </p:cNvPr>
          <p:cNvSpPr>
            <a:spLocks noGrp="1"/>
          </p:cNvSpPr>
          <p:nvPr>
            <p:ph type="body" sz="quarter" idx="15" hasCustomPrompt="1"/>
          </p:nvPr>
        </p:nvSpPr>
        <p:spPr>
          <a:xfrm>
            <a:off x="7366432" y="1599248"/>
            <a:ext cx="4216754" cy="430213"/>
          </a:xfrm>
        </p:spPr>
        <p:txBody>
          <a:bodyPr>
            <a:noAutofit/>
          </a:bodyPr>
          <a:lstStyle>
            <a:lvl1pPr marL="0" indent="0">
              <a:buNone/>
              <a:defRPr sz="2400" b="1">
                <a:solidFill>
                  <a:schemeClr val="tx2"/>
                </a:solidFill>
              </a:defRPr>
            </a:lvl1pPr>
            <a:lvl2pPr marL="457200" indent="0">
              <a:buNone/>
              <a:defRPr sz="2000" b="1"/>
            </a:lvl2pPr>
            <a:lvl3pPr marL="914400" indent="0">
              <a:buNone/>
              <a:defRPr sz="2000" b="1"/>
            </a:lvl3pPr>
            <a:lvl4pPr marL="1371600" indent="0">
              <a:buNone/>
              <a:defRPr sz="2000" b="1"/>
            </a:lvl4pPr>
            <a:lvl5pPr marL="1828800" indent="0">
              <a:buNone/>
              <a:defRPr sz="2000" b="1"/>
            </a:lvl5pPr>
          </a:lstStyle>
          <a:p>
            <a:pPr lvl="0"/>
            <a:r>
              <a:rPr lang="en-US" dirty="0"/>
              <a:t>Click to edit this sub title</a:t>
            </a:r>
          </a:p>
        </p:txBody>
      </p:sp>
      <p:sp>
        <p:nvSpPr>
          <p:cNvPr id="21" name="Content Placeholder 2">
            <a:extLst>
              <a:ext uri="{FF2B5EF4-FFF2-40B4-BE49-F238E27FC236}">
                <a16:creationId xmlns:a16="http://schemas.microsoft.com/office/drawing/2014/main" id="{3804FAD6-EB76-41C4-AB09-32BCCE51755A}"/>
              </a:ext>
            </a:extLst>
          </p:cNvPr>
          <p:cNvSpPr>
            <a:spLocks noGrp="1"/>
          </p:cNvSpPr>
          <p:nvPr>
            <p:ph idx="16" hasCustomPrompt="1"/>
          </p:nvPr>
        </p:nvSpPr>
        <p:spPr>
          <a:xfrm>
            <a:off x="608814" y="2076338"/>
            <a:ext cx="4668741" cy="3576325"/>
          </a:xfrm>
        </p:spPr>
        <p:txBody>
          <a:bodyPr/>
          <a:lstStyle>
            <a:lvl1pPr marL="0" indent="0">
              <a:buNone/>
              <a:defRPr sz="2000">
                <a:solidFill>
                  <a:schemeClr val="bg1"/>
                </a:solidFill>
              </a:defRPr>
            </a:lvl1pPr>
            <a:lvl2pPr>
              <a:defRPr>
                <a:solidFill>
                  <a:srgbClr val="333333"/>
                </a:solidFill>
              </a:defRPr>
            </a:lvl2pPr>
            <a:lvl3pPr marL="914400" indent="0">
              <a:buNone/>
              <a:defRPr>
                <a:solidFill>
                  <a:srgbClr val="333333"/>
                </a:solidFill>
              </a:defRPr>
            </a:lvl3pPr>
            <a:lvl4pPr>
              <a:defRPr>
                <a:solidFill>
                  <a:srgbClr val="333333"/>
                </a:solidFill>
              </a:defRPr>
            </a:lvl4pPr>
            <a:lvl5pPr>
              <a:defRPr>
                <a:solidFill>
                  <a:srgbClr val="333333"/>
                </a:solidFill>
              </a:defRPr>
            </a:lvl5pPr>
          </a:lstStyle>
          <a:p>
            <a:pPr lvl="0"/>
            <a:r>
              <a:rPr lang="en-US" dirty="0"/>
              <a:t>Third level</a:t>
            </a:r>
          </a:p>
        </p:txBody>
      </p:sp>
      <p:sp>
        <p:nvSpPr>
          <p:cNvPr id="22" name="Text Placeholder 12">
            <a:extLst>
              <a:ext uri="{FF2B5EF4-FFF2-40B4-BE49-F238E27FC236}">
                <a16:creationId xmlns:a16="http://schemas.microsoft.com/office/drawing/2014/main" id="{EFFF4FF2-C676-354E-A40D-C7B0EBFCEB79}"/>
              </a:ext>
            </a:extLst>
          </p:cNvPr>
          <p:cNvSpPr>
            <a:spLocks noGrp="1"/>
          </p:cNvSpPr>
          <p:nvPr>
            <p:ph type="body" sz="quarter" idx="17" hasCustomPrompt="1"/>
          </p:nvPr>
        </p:nvSpPr>
        <p:spPr>
          <a:xfrm>
            <a:off x="608814" y="1599247"/>
            <a:ext cx="4668741" cy="430213"/>
          </a:xfrm>
        </p:spPr>
        <p:txBody>
          <a:bodyPr>
            <a:noAutofit/>
          </a:bodyPr>
          <a:lstStyle>
            <a:lvl1pPr marL="0" indent="0">
              <a:buNone/>
              <a:defRPr sz="2400" b="1">
                <a:solidFill>
                  <a:schemeClr val="bg1"/>
                </a:solidFill>
              </a:defRPr>
            </a:lvl1pPr>
            <a:lvl2pPr marL="457200" indent="0">
              <a:buNone/>
              <a:defRPr sz="2000" b="1"/>
            </a:lvl2pPr>
            <a:lvl3pPr marL="914400" indent="0">
              <a:buNone/>
              <a:defRPr sz="2000" b="1"/>
            </a:lvl3pPr>
            <a:lvl4pPr marL="1371600" indent="0">
              <a:buNone/>
              <a:defRPr sz="2000" b="1"/>
            </a:lvl4pPr>
            <a:lvl5pPr marL="1828800" indent="0">
              <a:buNone/>
              <a:defRPr sz="2000" b="1"/>
            </a:lvl5pPr>
          </a:lstStyle>
          <a:p>
            <a:pPr lvl="0"/>
            <a:r>
              <a:rPr lang="en-US" dirty="0"/>
              <a:t>Click to edit this sub title</a:t>
            </a:r>
          </a:p>
        </p:txBody>
      </p:sp>
      <p:sp>
        <p:nvSpPr>
          <p:cNvPr id="5" name="Rectangle 4">
            <a:extLst>
              <a:ext uri="{FF2B5EF4-FFF2-40B4-BE49-F238E27FC236}">
                <a16:creationId xmlns:a16="http://schemas.microsoft.com/office/drawing/2014/main" id="{A4B8F304-E2DA-C62B-43FF-518D69D87E5B}"/>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6" name="Title 1">
            <a:extLst>
              <a:ext uri="{FF2B5EF4-FFF2-40B4-BE49-F238E27FC236}">
                <a16:creationId xmlns:a16="http://schemas.microsoft.com/office/drawing/2014/main" id="{22F667D9-C5B1-DC18-3C2C-3884291759AD}"/>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sp>
        <p:nvSpPr>
          <p:cNvPr id="17" name="Slide Number Placeholder 5">
            <a:extLst>
              <a:ext uri="{FF2B5EF4-FFF2-40B4-BE49-F238E27FC236}">
                <a16:creationId xmlns:a16="http://schemas.microsoft.com/office/drawing/2014/main" id="{B0C8C9EF-1B43-EB95-AA7A-4744D6E64645}"/>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23" name="Straight Connector 22">
            <a:extLst>
              <a:ext uri="{FF2B5EF4-FFF2-40B4-BE49-F238E27FC236}">
                <a16:creationId xmlns:a16="http://schemas.microsoft.com/office/drawing/2014/main" id="{78C1BD9D-99C8-2628-769E-3C58D0C50A4A}"/>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2060071-18D3-8B3A-FB28-F314A7FA7ED9}"/>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5" name="Right Triangle 24">
            <a:extLst>
              <a:ext uri="{FF2B5EF4-FFF2-40B4-BE49-F238E27FC236}">
                <a16:creationId xmlns:a16="http://schemas.microsoft.com/office/drawing/2014/main" id="{84C9445E-52FC-A204-F5FC-265ECF88EAC4}"/>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A4476CF1-7FB4-B853-14DC-2FE48A2E69DC}"/>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Right Triangle 27">
            <a:extLst>
              <a:ext uri="{FF2B5EF4-FFF2-40B4-BE49-F238E27FC236}">
                <a16:creationId xmlns:a16="http://schemas.microsoft.com/office/drawing/2014/main" id="{5DA61593-B9DD-3C78-7E08-DFAB0EF542FE}"/>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07F134F7-53F0-7771-7CFC-010588DA3E8E}"/>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83CCCE98-A159-40CB-AB2E-2972E819342D}"/>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4062245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 Gri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10F8CEE2-635A-5759-1802-482DCF5C1380}"/>
              </a:ext>
            </a:extLst>
          </p:cNvPr>
          <p:cNvSpPr>
            <a:spLocks noGrp="1"/>
          </p:cNvSpPr>
          <p:nvPr>
            <p:ph type="body" sz="quarter" idx="14" hasCustomPrompt="1"/>
          </p:nvPr>
        </p:nvSpPr>
        <p:spPr>
          <a:xfrm>
            <a:off x="7240808" y="1485120"/>
            <a:ext cx="4107556" cy="638175"/>
          </a:xfrm>
        </p:spPr>
        <p:txBody>
          <a:bodyPr>
            <a:noAutofit/>
          </a:bodyPr>
          <a:lstStyle>
            <a:lvl1pPr marL="0" indent="0">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27" name="Text Placeholder 26">
            <a:extLst>
              <a:ext uri="{FF2B5EF4-FFF2-40B4-BE49-F238E27FC236}">
                <a16:creationId xmlns:a16="http://schemas.microsoft.com/office/drawing/2014/main" id="{55798CC9-0AA1-F886-3EEA-EC56D9C4F3F4}"/>
              </a:ext>
            </a:extLst>
          </p:cNvPr>
          <p:cNvSpPr>
            <a:spLocks noGrp="1"/>
          </p:cNvSpPr>
          <p:nvPr>
            <p:ph type="body" sz="quarter" idx="15" hasCustomPrompt="1"/>
          </p:nvPr>
        </p:nvSpPr>
        <p:spPr>
          <a:xfrm>
            <a:off x="7240808" y="2183010"/>
            <a:ext cx="4107546" cy="691409"/>
          </a:xfrm>
        </p:spPr>
        <p:txBody>
          <a:bodyPr>
            <a:noAutofit/>
          </a:bodyPr>
          <a:lstStyle>
            <a:lvl1pPr marL="0" indent="0">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29" name="Picture Placeholder 28">
            <a:extLst>
              <a:ext uri="{FF2B5EF4-FFF2-40B4-BE49-F238E27FC236}">
                <a16:creationId xmlns:a16="http://schemas.microsoft.com/office/drawing/2014/main" id="{4D2151D9-D558-3684-36C1-F8CA8CFA2105}"/>
              </a:ext>
            </a:extLst>
          </p:cNvPr>
          <p:cNvSpPr>
            <a:spLocks noGrp="1"/>
          </p:cNvSpPr>
          <p:nvPr>
            <p:ph type="pic" sz="quarter" idx="16"/>
          </p:nvPr>
        </p:nvSpPr>
        <p:spPr>
          <a:xfrm>
            <a:off x="6358586" y="1477625"/>
            <a:ext cx="766312" cy="764872"/>
          </a:xfrm>
        </p:spPr>
        <p:txBody>
          <a:bodyPr>
            <a:normAutofit/>
          </a:bodyPr>
          <a:lstStyle>
            <a:lvl1pPr marL="0" indent="0">
              <a:buNone/>
              <a:defRPr sz="1400"/>
            </a:lvl1pPr>
          </a:lstStyle>
          <a:p>
            <a:endParaRPr lang="en-US" dirty="0"/>
          </a:p>
        </p:txBody>
      </p:sp>
      <p:sp>
        <p:nvSpPr>
          <p:cNvPr id="30" name="Text Placeholder 24">
            <a:extLst>
              <a:ext uri="{FF2B5EF4-FFF2-40B4-BE49-F238E27FC236}">
                <a16:creationId xmlns:a16="http://schemas.microsoft.com/office/drawing/2014/main" id="{8EE5C656-E406-13D5-B8E2-80AD4024FC0C}"/>
              </a:ext>
            </a:extLst>
          </p:cNvPr>
          <p:cNvSpPr>
            <a:spLocks noGrp="1"/>
          </p:cNvSpPr>
          <p:nvPr>
            <p:ph type="body" sz="quarter" idx="17" hasCustomPrompt="1"/>
          </p:nvPr>
        </p:nvSpPr>
        <p:spPr>
          <a:xfrm>
            <a:off x="1491037" y="1489347"/>
            <a:ext cx="4107556" cy="638175"/>
          </a:xfrm>
        </p:spPr>
        <p:txBody>
          <a:bodyPr>
            <a:noAutofit/>
          </a:bodyPr>
          <a:lstStyle>
            <a:lvl1pPr marL="0" indent="0">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31" name="Text Placeholder 26">
            <a:extLst>
              <a:ext uri="{FF2B5EF4-FFF2-40B4-BE49-F238E27FC236}">
                <a16:creationId xmlns:a16="http://schemas.microsoft.com/office/drawing/2014/main" id="{27A86C51-CF4F-0814-69F7-F2CC780E0318}"/>
              </a:ext>
            </a:extLst>
          </p:cNvPr>
          <p:cNvSpPr>
            <a:spLocks noGrp="1"/>
          </p:cNvSpPr>
          <p:nvPr>
            <p:ph type="body" sz="quarter" idx="18" hasCustomPrompt="1"/>
          </p:nvPr>
        </p:nvSpPr>
        <p:spPr>
          <a:xfrm>
            <a:off x="1491037" y="2187237"/>
            <a:ext cx="4107546" cy="691409"/>
          </a:xfrm>
        </p:spPr>
        <p:txBody>
          <a:bodyPr>
            <a:noAutofit/>
          </a:bodyPr>
          <a:lstStyle>
            <a:lvl1pPr marL="0" indent="0">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32" name="Picture Placeholder 28">
            <a:extLst>
              <a:ext uri="{FF2B5EF4-FFF2-40B4-BE49-F238E27FC236}">
                <a16:creationId xmlns:a16="http://schemas.microsoft.com/office/drawing/2014/main" id="{5AF552CE-9C00-43CC-4688-CE5610CF6176}"/>
              </a:ext>
            </a:extLst>
          </p:cNvPr>
          <p:cNvSpPr>
            <a:spLocks noGrp="1"/>
          </p:cNvSpPr>
          <p:nvPr>
            <p:ph type="pic" sz="quarter" idx="19"/>
          </p:nvPr>
        </p:nvSpPr>
        <p:spPr>
          <a:xfrm>
            <a:off x="608815" y="1481852"/>
            <a:ext cx="766312" cy="764872"/>
          </a:xfrm>
        </p:spPr>
        <p:txBody>
          <a:bodyPr>
            <a:normAutofit/>
          </a:bodyPr>
          <a:lstStyle>
            <a:lvl1pPr marL="0" indent="0">
              <a:buNone/>
              <a:defRPr sz="1400"/>
            </a:lvl1pPr>
          </a:lstStyle>
          <a:p>
            <a:endParaRPr lang="en-US" dirty="0"/>
          </a:p>
        </p:txBody>
      </p:sp>
      <p:sp>
        <p:nvSpPr>
          <p:cNvPr id="33" name="Text Placeholder 24">
            <a:extLst>
              <a:ext uri="{FF2B5EF4-FFF2-40B4-BE49-F238E27FC236}">
                <a16:creationId xmlns:a16="http://schemas.microsoft.com/office/drawing/2014/main" id="{6D83C4CD-C2B2-750F-4A0F-7174B67C134C}"/>
              </a:ext>
            </a:extLst>
          </p:cNvPr>
          <p:cNvSpPr>
            <a:spLocks noGrp="1"/>
          </p:cNvSpPr>
          <p:nvPr>
            <p:ph type="body" sz="quarter" idx="20" hasCustomPrompt="1"/>
          </p:nvPr>
        </p:nvSpPr>
        <p:spPr>
          <a:xfrm>
            <a:off x="7240808" y="3474906"/>
            <a:ext cx="4107556" cy="638175"/>
          </a:xfrm>
        </p:spPr>
        <p:txBody>
          <a:bodyPr>
            <a:noAutofit/>
          </a:bodyPr>
          <a:lstStyle>
            <a:lvl1pPr marL="0" indent="0">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34" name="Text Placeholder 26">
            <a:extLst>
              <a:ext uri="{FF2B5EF4-FFF2-40B4-BE49-F238E27FC236}">
                <a16:creationId xmlns:a16="http://schemas.microsoft.com/office/drawing/2014/main" id="{F44894B9-F493-C3DC-B15F-759F36D4C4BE}"/>
              </a:ext>
            </a:extLst>
          </p:cNvPr>
          <p:cNvSpPr>
            <a:spLocks noGrp="1"/>
          </p:cNvSpPr>
          <p:nvPr>
            <p:ph type="body" sz="quarter" idx="21" hasCustomPrompt="1"/>
          </p:nvPr>
        </p:nvSpPr>
        <p:spPr>
          <a:xfrm>
            <a:off x="7240808" y="4172796"/>
            <a:ext cx="4107546" cy="691409"/>
          </a:xfrm>
        </p:spPr>
        <p:txBody>
          <a:bodyPr>
            <a:noAutofit/>
          </a:bodyPr>
          <a:lstStyle>
            <a:lvl1pPr marL="0" indent="0">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35" name="Picture Placeholder 28">
            <a:extLst>
              <a:ext uri="{FF2B5EF4-FFF2-40B4-BE49-F238E27FC236}">
                <a16:creationId xmlns:a16="http://schemas.microsoft.com/office/drawing/2014/main" id="{E3036477-BD1C-E758-A312-91B70A888808}"/>
              </a:ext>
            </a:extLst>
          </p:cNvPr>
          <p:cNvSpPr>
            <a:spLocks noGrp="1"/>
          </p:cNvSpPr>
          <p:nvPr>
            <p:ph type="pic" sz="quarter" idx="22"/>
          </p:nvPr>
        </p:nvSpPr>
        <p:spPr>
          <a:xfrm>
            <a:off x="6358586" y="3467411"/>
            <a:ext cx="766312" cy="764872"/>
          </a:xfrm>
        </p:spPr>
        <p:txBody>
          <a:bodyPr>
            <a:normAutofit/>
          </a:bodyPr>
          <a:lstStyle>
            <a:lvl1pPr marL="0" indent="0">
              <a:buNone/>
              <a:defRPr sz="1400"/>
            </a:lvl1pPr>
          </a:lstStyle>
          <a:p>
            <a:endParaRPr lang="en-US" dirty="0"/>
          </a:p>
        </p:txBody>
      </p:sp>
      <p:sp>
        <p:nvSpPr>
          <p:cNvPr id="36" name="Text Placeholder 24">
            <a:extLst>
              <a:ext uri="{FF2B5EF4-FFF2-40B4-BE49-F238E27FC236}">
                <a16:creationId xmlns:a16="http://schemas.microsoft.com/office/drawing/2014/main" id="{47AE46F6-DE68-5C4E-9DD8-8EF2ACB582FC}"/>
              </a:ext>
            </a:extLst>
          </p:cNvPr>
          <p:cNvSpPr>
            <a:spLocks noGrp="1"/>
          </p:cNvSpPr>
          <p:nvPr>
            <p:ph type="body" sz="quarter" idx="23" hasCustomPrompt="1"/>
          </p:nvPr>
        </p:nvSpPr>
        <p:spPr>
          <a:xfrm>
            <a:off x="1491037" y="3479133"/>
            <a:ext cx="4107556" cy="638175"/>
          </a:xfrm>
        </p:spPr>
        <p:txBody>
          <a:bodyPr>
            <a:noAutofit/>
          </a:bodyPr>
          <a:lstStyle>
            <a:lvl1pPr marL="0" indent="0">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37" name="Text Placeholder 26">
            <a:extLst>
              <a:ext uri="{FF2B5EF4-FFF2-40B4-BE49-F238E27FC236}">
                <a16:creationId xmlns:a16="http://schemas.microsoft.com/office/drawing/2014/main" id="{AC969499-1050-AC2C-6F05-EFFD4CA1ADCE}"/>
              </a:ext>
            </a:extLst>
          </p:cNvPr>
          <p:cNvSpPr>
            <a:spLocks noGrp="1"/>
          </p:cNvSpPr>
          <p:nvPr>
            <p:ph type="body" sz="quarter" idx="24" hasCustomPrompt="1"/>
          </p:nvPr>
        </p:nvSpPr>
        <p:spPr>
          <a:xfrm>
            <a:off x="1491037" y="4177023"/>
            <a:ext cx="4107546" cy="691409"/>
          </a:xfrm>
        </p:spPr>
        <p:txBody>
          <a:bodyPr>
            <a:noAutofit/>
          </a:bodyPr>
          <a:lstStyle>
            <a:lvl1pPr marL="0" indent="0">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38" name="Picture Placeholder 28">
            <a:extLst>
              <a:ext uri="{FF2B5EF4-FFF2-40B4-BE49-F238E27FC236}">
                <a16:creationId xmlns:a16="http://schemas.microsoft.com/office/drawing/2014/main" id="{B9416E36-2E18-C15B-B6C5-DF102D84165A}"/>
              </a:ext>
            </a:extLst>
          </p:cNvPr>
          <p:cNvSpPr>
            <a:spLocks noGrp="1"/>
          </p:cNvSpPr>
          <p:nvPr>
            <p:ph type="pic" sz="quarter" idx="25"/>
          </p:nvPr>
        </p:nvSpPr>
        <p:spPr>
          <a:xfrm>
            <a:off x="608815" y="3471638"/>
            <a:ext cx="766312" cy="764872"/>
          </a:xfrm>
        </p:spPr>
        <p:txBody>
          <a:bodyPr>
            <a:normAutofit/>
          </a:bodyPr>
          <a:lstStyle>
            <a:lvl1pPr marL="0" indent="0">
              <a:buNone/>
              <a:defRPr sz="1400"/>
            </a:lvl1pPr>
          </a:lstStyle>
          <a:p>
            <a:endParaRPr lang="en-US" dirty="0"/>
          </a:p>
        </p:txBody>
      </p:sp>
      <p:sp>
        <p:nvSpPr>
          <p:cNvPr id="3" name="Slide Number Placeholder 5">
            <a:extLst>
              <a:ext uri="{FF2B5EF4-FFF2-40B4-BE49-F238E27FC236}">
                <a16:creationId xmlns:a16="http://schemas.microsoft.com/office/drawing/2014/main" id="{70059A5A-DA97-8258-ED9C-EE03C2675BF0}"/>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4" name="Straight Connector 3">
            <a:extLst>
              <a:ext uri="{FF2B5EF4-FFF2-40B4-BE49-F238E27FC236}">
                <a16:creationId xmlns:a16="http://schemas.microsoft.com/office/drawing/2014/main" id="{C2BF6FEE-4908-2F24-5FB8-2675E8993437}"/>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3FE6A46-1FA1-F6BA-8C8D-72DC74856E15}"/>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ight Triangle 12">
            <a:extLst>
              <a:ext uri="{FF2B5EF4-FFF2-40B4-BE49-F238E27FC236}">
                <a16:creationId xmlns:a16="http://schemas.microsoft.com/office/drawing/2014/main" id="{887F1C52-9171-AF12-4062-7AF23583ADDE}"/>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1FAA554B-CC49-144C-9949-7E3AA4D19247}"/>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22338DC4-DE41-996D-9168-56D69C520AFB}"/>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2A08B8C-E204-3404-A019-89BAC343DE6B}"/>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2" name="Title 1">
            <a:extLst>
              <a:ext uri="{FF2B5EF4-FFF2-40B4-BE49-F238E27FC236}">
                <a16:creationId xmlns:a16="http://schemas.microsoft.com/office/drawing/2014/main" id="{C0CCF602-CD3F-6100-F07F-01C71DA05310}"/>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352F4984-ED5F-B24F-9B3B-98BBD8871F54}"/>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EDF1E32D-23E0-9EB3-745A-C3548B6E4AD8}"/>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388609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3B07D07-D997-41F7-43C0-20716E301FDF}"/>
              </a:ext>
            </a:extLst>
          </p:cNvPr>
          <p:cNvPicPr>
            <a:picLocks noChangeAspect="1"/>
          </p:cNvPicPr>
          <p:nvPr userDrawn="1"/>
        </p:nvPicPr>
        <p:blipFill>
          <a:blip r:embed="rId2"/>
          <a:stretch>
            <a:fillRect/>
          </a:stretch>
        </p:blipFill>
        <p:spPr>
          <a:xfrm>
            <a:off x="9234317" y="6484098"/>
            <a:ext cx="2119482" cy="126326"/>
          </a:xfrm>
          <a:prstGeom prst="rect">
            <a:avLst/>
          </a:prstGeom>
        </p:spPr>
      </p:pic>
      <p:sp>
        <p:nvSpPr>
          <p:cNvPr id="3" name="Rectangle 2">
            <a:extLst>
              <a:ext uri="{FF2B5EF4-FFF2-40B4-BE49-F238E27FC236}">
                <a16:creationId xmlns:a16="http://schemas.microsoft.com/office/drawing/2014/main" id="{FCF16539-3801-E4F5-85FF-AFF14175488D}"/>
              </a:ext>
            </a:extLst>
          </p:cNvPr>
          <p:cNvSpPr/>
          <p:nvPr userDrawn="1"/>
        </p:nvSpPr>
        <p:spPr>
          <a:xfrm>
            <a:off x="6096000" y="0"/>
            <a:ext cx="6096000" cy="6858000"/>
          </a:xfrm>
          <a:prstGeom prst="rect">
            <a:avLst/>
          </a:prstGeom>
          <a:solidFill>
            <a:schemeClr val="tx2"/>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 name="Triangle 3">
            <a:extLst>
              <a:ext uri="{FF2B5EF4-FFF2-40B4-BE49-F238E27FC236}">
                <a16:creationId xmlns:a16="http://schemas.microsoft.com/office/drawing/2014/main" id="{E86EE8B1-2EB5-0B8D-BC7B-9B131DD0BE34}"/>
              </a:ext>
            </a:extLst>
          </p:cNvPr>
          <p:cNvSpPr/>
          <p:nvPr userDrawn="1"/>
        </p:nvSpPr>
        <p:spPr>
          <a:xfrm rot="16200000">
            <a:off x="10947393" y="6438899"/>
            <a:ext cx="1651013" cy="838201"/>
          </a:xfrm>
          <a:prstGeom prst="triangle">
            <a:avLst>
              <a:gd name="adj" fmla="val 51113"/>
            </a:avLst>
          </a:prstGeom>
          <a:solidFill>
            <a:schemeClr val="bg1"/>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ABB2E368-16E6-4054-D647-F3A9A1A1A17E}"/>
              </a:ext>
            </a:extLst>
          </p:cNvPr>
          <p:cNvCxnSpPr>
            <a:cxnSpLocks/>
          </p:cNvCxnSpPr>
          <p:nvPr userDrawn="1"/>
        </p:nvCxnSpPr>
        <p:spPr>
          <a:xfrm>
            <a:off x="7065302" y="1745112"/>
            <a:ext cx="108058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251FB621-6ABE-A0A9-8B22-38AD7B7B2FD0}"/>
              </a:ext>
            </a:extLst>
          </p:cNvPr>
          <p:cNvSpPr>
            <a:spLocks noGrp="1"/>
          </p:cNvSpPr>
          <p:nvPr>
            <p:ph type="body" sz="quarter" idx="14" hasCustomPrompt="1"/>
          </p:nvPr>
        </p:nvSpPr>
        <p:spPr>
          <a:xfrm>
            <a:off x="6942954" y="1884131"/>
            <a:ext cx="4203712" cy="2993875"/>
          </a:xfrm>
        </p:spPr>
        <p:txBody>
          <a:bodyPr>
            <a:noAutofit/>
          </a:bodyPr>
          <a:lstStyle>
            <a:lvl1pPr marL="0" indent="0">
              <a:lnSpc>
                <a:spcPts val="3800"/>
              </a:lnSpc>
              <a:buNone/>
              <a:defRPr sz="4000" b="1">
                <a:solidFill>
                  <a:schemeClr val="bg1"/>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dirty="0"/>
              <a:t>CLICK TO EDIT MASTER TEXT</a:t>
            </a:r>
          </a:p>
        </p:txBody>
      </p:sp>
      <p:sp>
        <p:nvSpPr>
          <p:cNvPr id="17" name="Picture Placeholder 16">
            <a:extLst>
              <a:ext uri="{FF2B5EF4-FFF2-40B4-BE49-F238E27FC236}">
                <a16:creationId xmlns:a16="http://schemas.microsoft.com/office/drawing/2014/main" id="{BEDF6BBC-BFDD-EB6C-34ED-0A586274A633}"/>
              </a:ext>
            </a:extLst>
          </p:cNvPr>
          <p:cNvSpPr>
            <a:spLocks noGrp="1"/>
          </p:cNvSpPr>
          <p:nvPr>
            <p:ph type="pic" sz="quarter" idx="15"/>
          </p:nvPr>
        </p:nvSpPr>
        <p:spPr>
          <a:xfrm>
            <a:off x="-1" y="0"/>
            <a:ext cx="6095955" cy="6856433"/>
          </a:xfrm>
        </p:spPr>
        <p:txBody>
          <a:bodyPr/>
          <a:lstStyle/>
          <a:p>
            <a:endParaRPr lang="en-US"/>
          </a:p>
        </p:txBody>
      </p:sp>
    </p:spTree>
    <p:extLst>
      <p:ext uri="{BB962C8B-B14F-4D97-AF65-F5344CB8AC3E}">
        <p14:creationId xmlns:p14="http://schemas.microsoft.com/office/powerpoint/2010/main" val="28103343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Across">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4470ABD0-80E0-1E02-E48F-787215F975D3}"/>
              </a:ext>
            </a:extLst>
          </p:cNvPr>
          <p:cNvSpPr/>
          <p:nvPr userDrawn="1"/>
        </p:nvSpPr>
        <p:spPr>
          <a:xfrm rot="5400000">
            <a:off x="609600" y="606920"/>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70011B9B-075D-0092-B207-6CD547BB1D30}"/>
              </a:ext>
            </a:extLst>
          </p:cNvPr>
          <p:cNvSpPr>
            <a:spLocks noGrp="1"/>
          </p:cNvSpPr>
          <p:nvPr>
            <p:ph type="pic" sz="quarter" idx="14"/>
          </p:nvPr>
        </p:nvSpPr>
        <p:spPr>
          <a:xfrm>
            <a:off x="-8420" y="890896"/>
            <a:ext cx="3044952" cy="5967094"/>
          </a:xfrm>
        </p:spPr>
        <p:txBody>
          <a:bodyPr/>
          <a:lstStyle/>
          <a:p>
            <a:endParaRPr lang="en-US" dirty="0"/>
          </a:p>
        </p:txBody>
      </p:sp>
      <p:sp>
        <p:nvSpPr>
          <p:cNvPr id="13" name="Picture Placeholder 4">
            <a:extLst>
              <a:ext uri="{FF2B5EF4-FFF2-40B4-BE49-F238E27FC236}">
                <a16:creationId xmlns:a16="http://schemas.microsoft.com/office/drawing/2014/main" id="{6FB08F36-6696-453E-1487-9501118F1EF4}"/>
              </a:ext>
            </a:extLst>
          </p:cNvPr>
          <p:cNvSpPr>
            <a:spLocks noGrp="1"/>
          </p:cNvSpPr>
          <p:nvPr>
            <p:ph type="pic" sz="quarter" idx="15"/>
          </p:nvPr>
        </p:nvSpPr>
        <p:spPr>
          <a:xfrm>
            <a:off x="3044516" y="890896"/>
            <a:ext cx="3044952" cy="5967094"/>
          </a:xfrm>
        </p:spPr>
        <p:txBody>
          <a:bodyPr/>
          <a:lstStyle/>
          <a:p>
            <a:endParaRPr lang="en-US" dirty="0"/>
          </a:p>
        </p:txBody>
      </p:sp>
      <p:sp>
        <p:nvSpPr>
          <p:cNvPr id="23" name="Picture Placeholder 4">
            <a:extLst>
              <a:ext uri="{FF2B5EF4-FFF2-40B4-BE49-F238E27FC236}">
                <a16:creationId xmlns:a16="http://schemas.microsoft.com/office/drawing/2014/main" id="{11CD42B7-8D0D-C954-ABA1-F845D5A0D0C9}"/>
              </a:ext>
            </a:extLst>
          </p:cNvPr>
          <p:cNvSpPr>
            <a:spLocks noGrp="1"/>
          </p:cNvSpPr>
          <p:nvPr>
            <p:ph type="pic" sz="quarter" idx="16"/>
          </p:nvPr>
        </p:nvSpPr>
        <p:spPr>
          <a:xfrm>
            <a:off x="6097887" y="890896"/>
            <a:ext cx="3044952" cy="5967094"/>
          </a:xfrm>
        </p:spPr>
        <p:txBody>
          <a:bodyPr/>
          <a:lstStyle/>
          <a:p>
            <a:endParaRPr lang="en-US" dirty="0"/>
          </a:p>
        </p:txBody>
      </p:sp>
      <p:sp>
        <p:nvSpPr>
          <p:cNvPr id="24" name="Picture Placeholder 4">
            <a:extLst>
              <a:ext uri="{FF2B5EF4-FFF2-40B4-BE49-F238E27FC236}">
                <a16:creationId xmlns:a16="http://schemas.microsoft.com/office/drawing/2014/main" id="{DCF0F139-F029-DC13-978B-A53D0B298638}"/>
              </a:ext>
            </a:extLst>
          </p:cNvPr>
          <p:cNvSpPr>
            <a:spLocks noGrp="1"/>
          </p:cNvSpPr>
          <p:nvPr>
            <p:ph type="pic" sz="quarter" idx="17"/>
          </p:nvPr>
        </p:nvSpPr>
        <p:spPr>
          <a:xfrm>
            <a:off x="9147048" y="890896"/>
            <a:ext cx="3044952" cy="5967094"/>
          </a:xfrm>
        </p:spPr>
        <p:txBody>
          <a:bodyPr/>
          <a:lstStyle/>
          <a:p>
            <a:endParaRPr lang="en-US" dirty="0"/>
          </a:p>
        </p:txBody>
      </p:sp>
      <p:sp>
        <p:nvSpPr>
          <p:cNvPr id="26" name="Text Placeholder 24">
            <a:extLst>
              <a:ext uri="{FF2B5EF4-FFF2-40B4-BE49-F238E27FC236}">
                <a16:creationId xmlns:a16="http://schemas.microsoft.com/office/drawing/2014/main" id="{F39CE5A7-42E0-25AA-D723-E16D4F2F3FEF}"/>
              </a:ext>
            </a:extLst>
          </p:cNvPr>
          <p:cNvSpPr>
            <a:spLocks noGrp="1"/>
          </p:cNvSpPr>
          <p:nvPr>
            <p:ph type="body" sz="quarter" idx="18" hasCustomPrompt="1"/>
          </p:nvPr>
        </p:nvSpPr>
        <p:spPr>
          <a:xfrm>
            <a:off x="-1" y="5034504"/>
            <a:ext cx="3044952" cy="1823495"/>
          </a:xfrm>
          <a:solidFill>
            <a:schemeClr val="tx2">
              <a:alpha val="70193"/>
            </a:schemeClr>
          </a:solidFill>
        </p:spPr>
        <p:txBody>
          <a:bodyPr anchor="ctr">
            <a:noAutofit/>
          </a:bodyPr>
          <a:lstStyle>
            <a:lvl1pPr marL="0" indent="0" algn="l">
              <a:buNone/>
              <a:defRPr sz="2200" b="1">
                <a:solidFill>
                  <a:schemeClr val="bg1"/>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31" name="Text Placeholder 24">
            <a:extLst>
              <a:ext uri="{FF2B5EF4-FFF2-40B4-BE49-F238E27FC236}">
                <a16:creationId xmlns:a16="http://schemas.microsoft.com/office/drawing/2014/main" id="{7CB8D838-56B3-DBB3-AF45-1A3C3D8CE912}"/>
              </a:ext>
            </a:extLst>
          </p:cNvPr>
          <p:cNvSpPr>
            <a:spLocks noGrp="1"/>
          </p:cNvSpPr>
          <p:nvPr>
            <p:ph type="body" sz="quarter" idx="19" hasCustomPrompt="1"/>
          </p:nvPr>
        </p:nvSpPr>
        <p:spPr>
          <a:xfrm>
            <a:off x="3051048" y="5034504"/>
            <a:ext cx="3044952" cy="1823495"/>
          </a:xfrm>
          <a:solidFill>
            <a:schemeClr val="tx2">
              <a:alpha val="70193"/>
            </a:schemeClr>
          </a:solidFill>
        </p:spPr>
        <p:txBody>
          <a:bodyPr anchor="ctr">
            <a:noAutofit/>
          </a:bodyPr>
          <a:lstStyle>
            <a:lvl1pPr marL="0" indent="0" algn="l">
              <a:buNone/>
              <a:defRPr sz="2200" b="1">
                <a:solidFill>
                  <a:schemeClr val="bg1"/>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32" name="Text Placeholder 24">
            <a:extLst>
              <a:ext uri="{FF2B5EF4-FFF2-40B4-BE49-F238E27FC236}">
                <a16:creationId xmlns:a16="http://schemas.microsoft.com/office/drawing/2014/main" id="{9E4BCCBA-2878-8DD1-5922-D33481DB258B}"/>
              </a:ext>
            </a:extLst>
          </p:cNvPr>
          <p:cNvSpPr>
            <a:spLocks noGrp="1"/>
          </p:cNvSpPr>
          <p:nvPr>
            <p:ph type="body" sz="quarter" idx="20" hasCustomPrompt="1"/>
          </p:nvPr>
        </p:nvSpPr>
        <p:spPr>
          <a:xfrm>
            <a:off x="6097887" y="5034504"/>
            <a:ext cx="3044952" cy="1823495"/>
          </a:xfrm>
          <a:solidFill>
            <a:schemeClr val="tx2">
              <a:alpha val="70193"/>
            </a:schemeClr>
          </a:solidFill>
        </p:spPr>
        <p:txBody>
          <a:bodyPr anchor="ctr">
            <a:noAutofit/>
          </a:bodyPr>
          <a:lstStyle>
            <a:lvl1pPr marL="0" indent="0" algn="l">
              <a:buNone/>
              <a:defRPr sz="2200" b="1">
                <a:solidFill>
                  <a:schemeClr val="bg1"/>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33" name="Text Placeholder 24">
            <a:extLst>
              <a:ext uri="{FF2B5EF4-FFF2-40B4-BE49-F238E27FC236}">
                <a16:creationId xmlns:a16="http://schemas.microsoft.com/office/drawing/2014/main" id="{8F24C1D9-6B57-0ADB-46D6-956C1A397F71}"/>
              </a:ext>
            </a:extLst>
          </p:cNvPr>
          <p:cNvSpPr>
            <a:spLocks noGrp="1"/>
          </p:cNvSpPr>
          <p:nvPr>
            <p:ph type="body" sz="quarter" idx="21" hasCustomPrompt="1"/>
          </p:nvPr>
        </p:nvSpPr>
        <p:spPr>
          <a:xfrm>
            <a:off x="9147048" y="5034504"/>
            <a:ext cx="3044952" cy="1823495"/>
          </a:xfrm>
          <a:solidFill>
            <a:schemeClr val="tx2">
              <a:alpha val="70193"/>
            </a:schemeClr>
          </a:solidFill>
        </p:spPr>
        <p:txBody>
          <a:bodyPr anchor="ctr">
            <a:noAutofit/>
          </a:bodyPr>
          <a:lstStyle>
            <a:lvl1pPr marL="0" indent="0" algn="l">
              <a:buNone/>
              <a:defRPr sz="2200" b="1">
                <a:solidFill>
                  <a:schemeClr val="bg1"/>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3" name="Rectangle 2">
            <a:extLst>
              <a:ext uri="{FF2B5EF4-FFF2-40B4-BE49-F238E27FC236}">
                <a16:creationId xmlns:a16="http://schemas.microsoft.com/office/drawing/2014/main" id="{83AE8911-91A2-F2C6-E13F-1DAC60C9817D}"/>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6" name="Title 1">
            <a:extLst>
              <a:ext uri="{FF2B5EF4-FFF2-40B4-BE49-F238E27FC236}">
                <a16:creationId xmlns:a16="http://schemas.microsoft.com/office/drawing/2014/main" id="{7F3D569D-3284-750E-2907-50C4E8FF2793}"/>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7892C04A-8D10-990D-A18E-BDA7CDFBE7E0}"/>
              </a:ext>
            </a:extLst>
          </p:cNvPr>
          <p:cNvPicPr>
            <a:picLocks noChangeAspect="1"/>
          </p:cNvPicPr>
          <p:nvPr userDrawn="1"/>
        </p:nvPicPr>
        <p:blipFill>
          <a:blip r:embed="rId2"/>
          <a:stretch>
            <a:fillRect/>
          </a:stretch>
        </p:blipFill>
        <p:spPr>
          <a:xfrm>
            <a:off x="11224539" y="278976"/>
            <a:ext cx="514702" cy="395924"/>
          </a:xfrm>
          <a:prstGeom prst="rect">
            <a:avLst/>
          </a:prstGeom>
        </p:spPr>
      </p:pic>
    </p:spTree>
    <p:extLst>
      <p:ext uri="{BB962C8B-B14F-4D97-AF65-F5344CB8AC3E}">
        <p14:creationId xmlns:p14="http://schemas.microsoft.com/office/powerpoint/2010/main" val="10924527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xagons 3 Up">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AA8394D-CBF8-5BF1-F29D-231DC8133C8F}"/>
              </a:ext>
            </a:extLst>
          </p:cNvPr>
          <p:cNvSpPr/>
          <p:nvPr userDrawn="1"/>
        </p:nvSpPr>
        <p:spPr>
          <a:xfrm>
            <a:off x="7699419" y="890897"/>
            <a:ext cx="4492569" cy="5470120"/>
          </a:xfrm>
          <a:prstGeom prst="rect">
            <a:avLst/>
          </a:prstGeom>
          <a:solidFill>
            <a:schemeClr val="accent2">
              <a:alpha val="2007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Hexagon 2">
            <a:extLst>
              <a:ext uri="{FF2B5EF4-FFF2-40B4-BE49-F238E27FC236}">
                <a16:creationId xmlns:a16="http://schemas.microsoft.com/office/drawing/2014/main" id="{43682310-AD37-A56C-BF48-25D6BC000520}"/>
              </a:ext>
            </a:extLst>
          </p:cNvPr>
          <p:cNvSpPr/>
          <p:nvPr userDrawn="1"/>
        </p:nvSpPr>
        <p:spPr>
          <a:xfrm rot="5400000">
            <a:off x="540892" y="1281676"/>
            <a:ext cx="1389299" cy="1253453"/>
          </a:xfrm>
          <a:prstGeom prst="hexagon">
            <a:avLst>
              <a:gd name="adj" fmla="val 25000"/>
              <a:gd name="vf" fmla="val 115470"/>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 Placeholder 24">
            <a:extLst>
              <a:ext uri="{FF2B5EF4-FFF2-40B4-BE49-F238E27FC236}">
                <a16:creationId xmlns:a16="http://schemas.microsoft.com/office/drawing/2014/main" id="{ADCD64E7-66F5-EBF7-0865-EC40049AA2E4}"/>
              </a:ext>
            </a:extLst>
          </p:cNvPr>
          <p:cNvSpPr>
            <a:spLocks noGrp="1"/>
          </p:cNvSpPr>
          <p:nvPr>
            <p:ph type="body" sz="quarter" idx="17" hasCustomPrompt="1"/>
          </p:nvPr>
        </p:nvSpPr>
        <p:spPr>
          <a:xfrm>
            <a:off x="2271751" y="1213753"/>
            <a:ext cx="4930559" cy="638175"/>
          </a:xfrm>
        </p:spPr>
        <p:txBody>
          <a:bodyPr>
            <a:noAutofit/>
          </a:bodyPr>
          <a:lstStyle>
            <a:lvl1pPr marL="0" indent="0">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19" name="Text Placeholder 26">
            <a:extLst>
              <a:ext uri="{FF2B5EF4-FFF2-40B4-BE49-F238E27FC236}">
                <a16:creationId xmlns:a16="http://schemas.microsoft.com/office/drawing/2014/main" id="{57D7932E-2421-DC1C-C850-D67EE67DF428}"/>
              </a:ext>
            </a:extLst>
          </p:cNvPr>
          <p:cNvSpPr>
            <a:spLocks noGrp="1"/>
          </p:cNvSpPr>
          <p:nvPr>
            <p:ph type="body" sz="quarter" idx="18" hasCustomPrompt="1"/>
          </p:nvPr>
        </p:nvSpPr>
        <p:spPr>
          <a:xfrm>
            <a:off x="2271751" y="1911643"/>
            <a:ext cx="4930547" cy="691409"/>
          </a:xfrm>
        </p:spPr>
        <p:txBody>
          <a:bodyPr>
            <a:noAutofit/>
          </a:bodyPr>
          <a:lstStyle>
            <a:lvl1pPr marL="0" indent="0">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21" name="Text Placeholder 24">
            <a:extLst>
              <a:ext uri="{FF2B5EF4-FFF2-40B4-BE49-F238E27FC236}">
                <a16:creationId xmlns:a16="http://schemas.microsoft.com/office/drawing/2014/main" id="{0BA63340-91BD-0971-7229-A433D7E7B3AE}"/>
              </a:ext>
            </a:extLst>
          </p:cNvPr>
          <p:cNvSpPr>
            <a:spLocks noGrp="1"/>
          </p:cNvSpPr>
          <p:nvPr>
            <p:ph type="body" sz="quarter" idx="19" hasCustomPrompt="1"/>
          </p:nvPr>
        </p:nvSpPr>
        <p:spPr>
          <a:xfrm>
            <a:off x="2271751" y="2929963"/>
            <a:ext cx="4930559" cy="638175"/>
          </a:xfrm>
        </p:spPr>
        <p:txBody>
          <a:bodyPr>
            <a:noAutofit/>
          </a:bodyPr>
          <a:lstStyle>
            <a:lvl1pPr marL="0" indent="0">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22" name="Text Placeholder 26">
            <a:extLst>
              <a:ext uri="{FF2B5EF4-FFF2-40B4-BE49-F238E27FC236}">
                <a16:creationId xmlns:a16="http://schemas.microsoft.com/office/drawing/2014/main" id="{5FD37237-F058-DA87-26C6-52C8E5D3EAAB}"/>
              </a:ext>
            </a:extLst>
          </p:cNvPr>
          <p:cNvSpPr>
            <a:spLocks noGrp="1"/>
          </p:cNvSpPr>
          <p:nvPr>
            <p:ph type="body" sz="quarter" idx="20" hasCustomPrompt="1"/>
          </p:nvPr>
        </p:nvSpPr>
        <p:spPr>
          <a:xfrm>
            <a:off x="2271751" y="3627853"/>
            <a:ext cx="4930547" cy="691409"/>
          </a:xfrm>
        </p:spPr>
        <p:txBody>
          <a:bodyPr>
            <a:noAutofit/>
          </a:bodyPr>
          <a:lstStyle>
            <a:lvl1pPr marL="0" indent="0">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24" name="Text Placeholder 24">
            <a:extLst>
              <a:ext uri="{FF2B5EF4-FFF2-40B4-BE49-F238E27FC236}">
                <a16:creationId xmlns:a16="http://schemas.microsoft.com/office/drawing/2014/main" id="{2F21659D-6CDC-F904-25ED-813FA0DDBD95}"/>
              </a:ext>
            </a:extLst>
          </p:cNvPr>
          <p:cNvSpPr>
            <a:spLocks noGrp="1"/>
          </p:cNvSpPr>
          <p:nvPr>
            <p:ph type="body" sz="quarter" idx="21" hasCustomPrompt="1"/>
          </p:nvPr>
        </p:nvSpPr>
        <p:spPr>
          <a:xfrm>
            <a:off x="2271751" y="4610963"/>
            <a:ext cx="4930559" cy="638175"/>
          </a:xfrm>
        </p:spPr>
        <p:txBody>
          <a:bodyPr>
            <a:noAutofit/>
          </a:bodyPr>
          <a:lstStyle>
            <a:lvl1pPr marL="0" indent="0">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for this product or service goes here.</a:t>
            </a:r>
          </a:p>
        </p:txBody>
      </p:sp>
      <p:sp>
        <p:nvSpPr>
          <p:cNvPr id="25" name="Text Placeholder 26">
            <a:extLst>
              <a:ext uri="{FF2B5EF4-FFF2-40B4-BE49-F238E27FC236}">
                <a16:creationId xmlns:a16="http://schemas.microsoft.com/office/drawing/2014/main" id="{6804A7A9-9192-DFC9-2559-EE6CC16653A0}"/>
              </a:ext>
            </a:extLst>
          </p:cNvPr>
          <p:cNvSpPr>
            <a:spLocks noGrp="1"/>
          </p:cNvSpPr>
          <p:nvPr>
            <p:ph type="body" sz="quarter" idx="22" hasCustomPrompt="1"/>
          </p:nvPr>
        </p:nvSpPr>
        <p:spPr>
          <a:xfrm>
            <a:off x="2271751" y="5308853"/>
            <a:ext cx="4930547" cy="691409"/>
          </a:xfrm>
        </p:spPr>
        <p:txBody>
          <a:bodyPr>
            <a:noAutofit/>
          </a:bodyPr>
          <a:lstStyle>
            <a:lvl1pPr marL="0" indent="0">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cxnSp>
        <p:nvCxnSpPr>
          <p:cNvPr id="27" name="Straight Connector 26">
            <a:extLst>
              <a:ext uri="{FF2B5EF4-FFF2-40B4-BE49-F238E27FC236}">
                <a16:creationId xmlns:a16="http://schemas.microsoft.com/office/drawing/2014/main" id="{72693921-4BF2-CD43-63A9-8208D8238B14}"/>
              </a:ext>
            </a:extLst>
          </p:cNvPr>
          <p:cNvCxnSpPr>
            <a:cxnSpLocks/>
          </p:cNvCxnSpPr>
          <p:nvPr userDrawn="1"/>
        </p:nvCxnSpPr>
        <p:spPr>
          <a:xfrm>
            <a:off x="7699420" y="604656"/>
            <a:ext cx="0" cy="575636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4FC95EC9-E5F2-A426-E1C1-878E2D31894C}"/>
              </a:ext>
            </a:extLst>
          </p:cNvPr>
          <p:cNvSpPr>
            <a:spLocks noGrp="1"/>
          </p:cNvSpPr>
          <p:nvPr>
            <p:ph idx="1" hasCustomPrompt="1"/>
          </p:nvPr>
        </p:nvSpPr>
        <p:spPr>
          <a:xfrm>
            <a:off x="8293821" y="1719133"/>
            <a:ext cx="3303766" cy="4311051"/>
          </a:xfrm>
        </p:spPr>
        <p:txBody>
          <a:bodyPr/>
          <a:lstStyle>
            <a:lvl1pPr marL="0" indent="0">
              <a:buNone/>
              <a:defRPr sz="2000">
                <a:solidFill>
                  <a:srgbClr val="333333"/>
                </a:solidFill>
              </a:defRPr>
            </a:lvl1pPr>
            <a:lvl2pPr>
              <a:defRPr>
                <a:solidFill>
                  <a:srgbClr val="333333"/>
                </a:solidFill>
              </a:defRPr>
            </a:lvl2pPr>
            <a:lvl3pPr marL="914400" indent="0">
              <a:buNone/>
              <a:defRPr>
                <a:solidFill>
                  <a:srgbClr val="333333"/>
                </a:solidFill>
              </a:defRPr>
            </a:lvl3pPr>
            <a:lvl4pPr>
              <a:defRPr>
                <a:solidFill>
                  <a:srgbClr val="333333"/>
                </a:solidFill>
              </a:defRPr>
            </a:lvl4pPr>
            <a:lvl5pPr>
              <a:defRPr>
                <a:solidFill>
                  <a:srgbClr val="333333"/>
                </a:solidFill>
              </a:defRPr>
            </a:lvl5pPr>
          </a:lstStyle>
          <a:p>
            <a:pPr lvl="0"/>
            <a:r>
              <a:rPr lang="en-US" dirty="0"/>
              <a:t>Third level</a:t>
            </a:r>
          </a:p>
        </p:txBody>
      </p:sp>
      <p:sp>
        <p:nvSpPr>
          <p:cNvPr id="31" name="Text Placeholder 12">
            <a:extLst>
              <a:ext uri="{FF2B5EF4-FFF2-40B4-BE49-F238E27FC236}">
                <a16:creationId xmlns:a16="http://schemas.microsoft.com/office/drawing/2014/main" id="{BD177136-CEFB-9C7B-4220-2F0462A07DDC}"/>
              </a:ext>
            </a:extLst>
          </p:cNvPr>
          <p:cNvSpPr>
            <a:spLocks noGrp="1"/>
          </p:cNvSpPr>
          <p:nvPr>
            <p:ph type="body" sz="quarter" idx="14" hasCustomPrompt="1"/>
          </p:nvPr>
        </p:nvSpPr>
        <p:spPr>
          <a:xfrm>
            <a:off x="8293821" y="1242042"/>
            <a:ext cx="3303425" cy="430213"/>
          </a:xfrm>
        </p:spPr>
        <p:txBody>
          <a:bodyPr>
            <a:noAutofit/>
          </a:bodyPr>
          <a:lstStyle>
            <a:lvl1pPr marL="0" indent="0">
              <a:buNone/>
              <a:defRPr sz="2400" b="1">
                <a:solidFill>
                  <a:schemeClr val="tx2"/>
                </a:solidFill>
              </a:defRPr>
            </a:lvl1pPr>
            <a:lvl2pPr marL="457200" indent="0">
              <a:buNone/>
              <a:defRPr sz="2000" b="1"/>
            </a:lvl2pPr>
            <a:lvl3pPr marL="914400" indent="0">
              <a:buNone/>
              <a:defRPr sz="2000" b="1"/>
            </a:lvl3pPr>
            <a:lvl4pPr marL="1371600" indent="0">
              <a:buNone/>
              <a:defRPr sz="2000" b="1"/>
            </a:lvl4pPr>
            <a:lvl5pPr marL="1828800" indent="0">
              <a:buNone/>
              <a:defRPr sz="2000" b="1"/>
            </a:lvl5pPr>
          </a:lstStyle>
          <a:p>
            <a:pPr lvl="0"/>
            <a:r>
              <a:rPr lang="en-US" dirty="0"/>
              <a:t>Sidebar Title</a:t>
            </a:r>
          </a:p>
        </p:txBody>
      </p:sp>
      <p:sp>
        <p:nvSpPr>
          <p:cNvPr id="4" name="Rectangle 3">
            <a:extLst>
              <a:ext uri="{FF2B5EF4-FFF2-40B4-BE49-F238E27FC236}">
                <a16:creationId xmlns:a16="http://schemas.microsoft.com/office/drawing/2014/main" id="{2497FD27-2209-9CBE-0AA8-C2E20277A545}"/>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4" name="Slide Number Placeholder 5">
            <a:extLst>
              <a:ext uri="{FF2B5EF4-FFF2-40B4-BE49-F238E27FC236}">
                <a16:creationId xmlns:a16="http://schemas.microsoft.com/office/drawing/2014/main" id="{5095F271-E8A3-189B-92FC-22C37B25CD50}"/>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15" name="Straight Connector 14">
            <a:extLst>
              <a:ext uri="{FF2B5EF4-FFF2-40B4-BE49-F238E27FC236}">
                <a16:creationId xmlns:a16="http://schemas.microsoft.com/office/drawing/2014/main" id="{8517AC3A-B3BF-8915-73EB-D8DC9FE273D6}"/>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C7473A2-79E9-A84D-4DCA-0DD287E681E5}"/>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Right Triangle 17">
            <a:extLst>
              <a:ext uri="{FF2B5EF4-FFF2-40B4-BE49-F238E27FC236}">
                <a16:creationId xmlns:a16="http://schemas.microsoft.com/office/drawing/2014/main" id="{B9D2A054-7C9B-260E-9F7A-FB51F26DA30D}"/>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48F57F41-406C-C6AE-DB70-35124884C15D}"/>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2" name="Right Triangle 31">
            <a:extLst>
              <a:ext uri="{FF2B5EF4-FFF2-40B4-BE49-F238E27FC236}">
                <a16:creationId xmlns:a16="http://schemas.microsoft.com/office/drawing/2014/main" id="{394168FF-5938-E0CB-06BA-4B738E636E05}"/>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Hexagon 33">
            <a:extLst>
              <a:ext uri="{FF2B5EF4-FFF2-40B4-BE49-F238E27FC236}">
                <a16:creationId xmlns:a16="http://schemas.microsoft.com/office/drawing/2014/main" id="{9980AA6E-41BA-6295-0E69-CDD8A6043C9F}"/>
              </a:ext>
            </a:extLst>
          </p:cNvPr>
          <p:cNvSpPr/>
          <p:nvPr userDrawn="1"/>
        </p:nvSpPr>
        <p:spPr>
          <a:xfrm rot="5400000">
            <a:off x="540892" y="2993831"/>
            <a:ext cx="1389299" cy="1253453"/>
          </a:xfrm>
          <a:prstGeom prst="hexagon">
            <a:avLst>
              <a:gd name="adj" fmla="val 25000"/>
              <a:gd name="vf" fmla="val 115470"/>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5" name="Hexagon 34">
            <a:extLst>
              <a:ext uri="{FF2B5EF4-FFF2-40B4-BE49-F238E27FC236}">
                <a16:creationId xmlns:a16="http://schemas.microsoft.com/office/drawing/2014/main" id="{ECA8C314-6EC4-2D06-33F0-F235D24D13CF}"/>
              </a:ext>
            </a:extLst>
          </p:cNvPr>
          <p:cNvSpPr/>
          <p:nvPr userDrawn="1"/>
        </p:nvSpPr>
        <p:spPr>
          <a:xfrm rot="5400000">
            <a:off x="540892" y="4676421"/>
            <a:ext cx="1389299" cy="1253453"/>
          </a:xfrm>
          <a:prstGeom prst="hexagon">
            <a:avLst>
              <a:gd name="adj" fmla="val 25000"/>
              <a:gd name="vf" fmla="val 115470"/>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 name="Title 1">
            <a:extLst>
              <a:ext uri="{FF2B5EF4-FFF2-40B4-BE49-F238E27FC236}">
                <a16:creationId xmlns:a16="http://schemas.microsoft.com/office/drawing/2014/main" id="{F2F6FF23-870F-D087-E87A-02B618315B2F}"/>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DD85427C-31E7-7559-88B4-18A55CD058ED}"/>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6" name="Picture 5">
            <a:extLst>
              <a:ext uri="{FF2B5EF4-FFF2-40B4-BE49-F238E27FC236}">
                <a16:creationId xmlns:a16="http://schemas.microsoft.com/office/drawing/2014/main" id="{7A364766-2D7B-5E39-B200-0A42E3189DE1}"/>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39519758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xagons 4 Across">
    <p:spTree>
      <p:nvGrpSpPr>
        <p:cNvPr id="1" name=""/>
        <p:cNvGrpSpPr/>
        <p:nvPr/>
      </p:nvGrpSpPr>
      <p:grpSpPr>
        <a:xfrm>
          <a:off x="0" y="0"/>
          <a:ext cx="0" cy="0"/>
          <a:chOff x="0" y="0"/>
          <a:chExt cx="0" cy="0"/>
        </a:xfrm>
      </p:grpSpPr>
      <p:sp>
        <p:nvSpPr>
          <p:cNvPr id="3" name="Hexagon 2">
            <a:extLst>
              <a:ext uri="{FF2B5EF4-FFF2-40B4-BE49-F238E27FC236}">
                <a16:creationId xmlns:a16="http://schemas.microsoft.com/office/drawing/2014/main" id="{43682310-AD37-A56C-BF48-25D6BC000520}"/>
              </a:ext>
            </a:extLst>
          </p:cNvPr>
          <p:cNvSpPr/>
          <p:nvPr userDrawn="1"/>
        </p:nvSpPr>
        <p:spPr>
          <a:xfrm rot="5400000">
            <a:off x="1121264" y="1460309"/>
            <a:ext cx="2003184" cy="1807312"/>
          </a:xfrm>
          <a:prstGeom prst="hexagon">
            <a:avLst>
              <a:gd name="adj" fmla="val 25000"/>
              <a:gd name="vf" fmla="val 115470"/>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 Placeholder 24">
            <a:extLst>
              <a:ext uri="{FF2B5EF4-FFF2-40B4-BE49-F238E27FC236}">
                <a16:creationId xmlns:a16="http://schemas.microsoft.com/office/drawing/2014/main" id="{ADCD64E7-66F5-EBF7-0865-EC40049AA2E4}"/>
              </a:ext>
            </a:extLst>
          </p:cNvPr>
          <p:cNvSpPr>
            <a:spLocks noGrp="1"/>
          </p:cNvSpPr>
          <p:nvPr>
            <p:ph type="body" sz="quarter" idx="17" hasCustomPrompt="1"/>
          </p:nvPr>
        </p:nvSpPr>
        <p:spPr>
          <a:xfrm>
            <a:off x="1219201" y="3508464"/>
            <a:ext cx="1807338" cy="389666"/>
          </a:xfrm>
        </p:spPr>
        <p:txBody>
          <a:bodyPr>
            <a:noAutofit/>
          </a:bodyPr>
          <a:lstStyle>
            <a:lvl1pPr marL="0" indent="0" algn="ctr">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here</a:t>
            </a:r>
          </a:p>
        </p:txBody>
      </p:sp>
      <p:sp>
        <p:nvSpPr>
          <p:cNvPr id="19" name="Text Placeholder 26">
            <a:extLst>
              <a:ext uri="{FF2B5EF4-FFF2-40B4-BE49-F238E27FC236}">
                <a16:creationId xmlns:a16="http://schemas.microsoft.com/office/drawing/2014/main" id="{57D7932E-2421-DC1C-C850-D67EE67DF428}"/>
              </a:ext>
            </a:extLst>
          </p:cNvPr>
          <p:cNvSpPr>
            <a:spLocks noGrp="1"/>
          </p:cNvSpPr>
          <p:nvPr>
            <p:ph type="body" sz="quarter" idx="18" hasCustomPrompt="1"/>
          </p:nvPr>
        </p:nvSpPr>
        <p:spPr>
          <a:xfrm>
            <a:off x="1219202" y="3898130"/>
            <a:ext cx="1807334" cy="1916421"/>
          </a:xfrm>
        </p:spPr>
        <p:txBody>
          <a:bodyPr>
            <a:noAutofit/>
          </a:bodyPr>
          <a:lstStyle>
            <a:lvl1pPr marL="0" indent="0" algn="ctr">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4" name="Hexagon 3">
            <a:extLst>
              <a:ext uri="{FF2B5EF4-FFF2-40B4-BE49-F238E27FC236}">
                <a16:creationId xmlns:a16="http://schemas.microsoft.com/office/drawing/2014/main" id="{BD09271C-FD7C-8F82-C621-C14263B213D7}"/>
              </a:ext>
            </a:extLst>
          </p:cNvPr>
          <p:cNvSpPr/>
          <p:nvPr userDrawn="1"/>
        </p:nvSpPr>
        <p:spPr>
          <a:xfrm rot="5400000">
            <a:off x="3855893" y="1460309"/>
            <a:ext cx="2003184" cy="1807312"/>
          </a:xfrm>
          <a:prstGeom prst="hexagon">
            <a:avLst>
              <a:gd name="adj" fmla="val 25000"/>
              <a:gd name="vf" fmla="val 115470"/>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24">
            <a:extLst>
              <a:ext uri="{FF2B5EF4-FFF2-40B4-BE49-F238E27FC236}">
                <a16:creationId xmlns:a16="http://schemas.microsoft.com/office/drawing/2014/main" id="{AF5E4F4D-FAB8-7F98-B7E3-F663EAEA071B}"/>
              </a:ext>
            </a:extLst>
          </p:cNvPr>
          <p:cNvSpPr>
            <a:spLocks noGrp="1"/>
          </p:cNvSpPr>
          <p:nvPr>
            <p:ph type="body" sz="quarter" idx="19" hasCustomPrompt="1"/>
          </p:nvPr>
        </p:nvSpPr>
        <p:spPr>
          <a:xfrm>
            <a:off x="3953830" y="3508464"/>
            <a:ext cx="1807338" cy="389666"/>
          </a:xfrm>
        </p:spPr>
        <p:txBody>
          <a:bodyPr>
            <a:noAutofit/>
          </a:bodyPr>
          <a:lstStyle>
            <a:lvl1pPr marL="0" indent="0" algn="ctr">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here</a:t>
            </a:r>
          </a:p>
        </p:txBody>
      </p:sp>
      <p:sp>
        <p:nvSpPr>
          <p:cNvPr id="13" name="Text Placeholder 26">
            <a:extLst>
              <a:ext uri="{FF2B5EF4-FFF2-40B4-BE49-F238E27FC236}">
                <a16:creationId xmlns:a16="http://schemas.microsoft.com/office/drawing/2014/main" id="{7336E1EC-3F83-5B1C-DF7F-3DE76BACFCF3}"/>
              </a:ext>
            </a:extLst>
          </p:cNvPr>
          <p:cNvSpPr>
            <a:spLocks noGrp="1"/>
          </p:cNvSpPr>
          <p:nvPr>
            <p:ph type="body" sz="quarter" idx="20" hasCustomPrompt="1"/>
          </p:nvPr>
        </p:nvSpPr>
        <p:spPr>
          <a:xfrm>
            <a:off x="3953831" y="3898130"/>
            <a:ext cx="1807334" cy="1916421"/>
          </a:xfrm>
        </p:spPr>
        <p:txBody>
          <a:bodyPr>
            <a:noAutofit/>
          </a:bodyPr>
          <a:lstStyle>
            <a:lvl1pPr marL="0" indent="0" algn="ctr">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14" name="Hexagon 13">
            <a:extLst>
              <a:ext uri="{FF2B5EF4-FFF2-40B4-BE49-F238E27FC236}">
                <a16:creationId xmlns:a16="http://schemas.microsoft.com/office/drawing/2014/main" id="{1680BF11-C8E8-16E7-29FB-5F21330F96B6}"/>
              </a:ext>
            </a:extLst>
          </p:cNvPr>
          <p:cNvSpPr/>
          <p:nvPr userDrawn="1"/>
        </p:nvSpPr>
        <p:spPr>
          <a:xfrm rot="5400000">
            <a:off x="6590576" y="1460309"/>
            <a:ext cx="2003184" cy="1807312"/>
          </a:xfrm>
          <a:prstGeom prst="hexagon">
            <a:avLst>
              <a:gd name="adj" fmla="val 25000"/>
              <a:gd name="vf" fmla="val 115470"/>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Text Placeholder 24">
            <a:extLst>
              <a:ext uri="{FF2B5EF4-FFF2-40B4-BE49-F238E27FC236}">
                <a16:creationId xmlns:a16="http://schemas.microsoft.com/office/drawing/2014/main" id="{32090CC7-B234-2ADF-7507-ABE2E7116E03}"/>
              </a:ext>
            </a:extLst>
          </p:cNvPr>
          <p:cNvSpPr>
            <a:spLocks noGrp="1"/>
          </p:cNvSpPr>
          <p:nvPr>
            <p:ph type="body" sz="quarter" idx="21" hasCustomPrompt="1"/>
          </p:nvPr>
        </p:nvSpPr>
        <p:spPr>
          <a:xfrm>
            <a:off x="6688513" y="3508464"/>
            <a:ext cx="1807338" cy="389666"/>
          </a:xfrm>
        </p:spPr>
        <p:txBody>
          <a:bodyPr>
            <a:noAutofit/>
          </a:bodyPr>
          <a:lstStyle>
            <a:lvl1pPr marL="0" indent="0" algn="ctr">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here</a:t>
            </a:r>
          </a:p>
        </p:txBody>
      </p:sp>
      <p:sp>
        <p:nvSpPr>
          <p:cNvPr id="16" name="Text Placeholder 26">
            <a:extLst>
              <a:ext uri="{FF2B5EF4-FFF2-40B4-BE49-F238E27FC236}">
                <a16:creationId xmlns:a16="http://schemas.microsoft.com/office/drawing/2014/main" id="{677F4534-EC9C-57F0-B30A-641BA1BDAD7D}"/>
              </a:ext>
            </a:extLst>
          </p:cNvPr>
          <p:cNvSpPr>
            <a:spLocks noGrp="1"/>
          </p:cNvSpPr>
          <p:nvPr>
            <p:ph type="body" sz="quarter" idx="22" hasCustomPrompt="1"/>
          </p:nvPr>
        </p:nvSpPr>
        <p:spPr>
          <a:xfrm>
            <a:off x="6688514" y="3898130"/>
            <a:ext cx="1807334" cy="1916421"/>
          </a:xfrm>
        </p:spPr>
        <p:txBody>
          <a:bodyPr>
            <a:noAutofit/>
          </a:bodyPr>
          <a:lstStyle>
            <a:lvl1pPr marL="0" indent="0" algn="ctr">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26" name="Hexagon 25">
            <a:extLst>
              <a:ext uri="{FF2B5EF4-FFF2-40B4-BE49-F238E27FC236}">
                <a16:creationId xmlns:a16="http://schemas.microsoft.com/office/drawing/2014/main" id="{4814C7A9-3506-97C1-507E-7EF5D92A74DD}"/>
              </a:ext>
            </a:extLst>
          </p:cNvPr>
          <p:cNvSpPr/>
          <p:nvPr userDrawn="1"/>
        </p:nvSpPr>
        <p:spPr>
          <a:xfrm rot="5400000">
            <a:off x="9325233" y="1460309"/>
            <a:ext cx="2003184" cy="1807312"/>
          </a:xfrm>
          <a:prstGeom prst="hexagon">
            <a:avLst>
              <a:gd name="adj" fmla="val 25000"/>
              <a:gd name="vf" fmla="val 115470"/>
            </a:avLst>
          </a:prstGeom>
          <a:solidFill>
            <a:schemeClr val="tx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 Placeholder 24">
            <a:extLst>
              <a:ext uri="{FF2B5EF4-FFF2-40B4-BE49-F238E27FC236}">
                <a16:creationId xmlns:a16="http://schemas.microsoft.com/office/drawing/2014/main" id="{5F9D59E1-62C2-C248-943B-315EC2DADD91}"/>
              </a:ext>
            </a:extLst>
          </p:cNvPr>
          <p:cNvSpPr>
            <a:spLocks noGrp="1"/>
          </p:cNvSpPr>
          <p:nvPr>
            <p:ph type="body" sz="quarter" idx="23" hasCustomPrompt="1"/>
          </p:nvPr>
        </p:nvSpPr>
        <p:spPr>
          <a:xfrm>
            <a:off x="9423170" y="3508464"/>
            <a:ext cx="1807338" cy="389666"/>
          </a:xfrm>
        </p:spPr>
        <p:txBody>
          <a:bodyPr>
            <a:noAutofit/>
          </a:bodyPr>
          <a:lstStyle>
            <a:lvl1pPr marL="0" indent="0" algn="ctr">
              <a:buNone/>
              <a:defRPr sz="2200" b="1">
                <a:solidFill>
                  <a:schemeClr val="tx2"/>
                </a:solidFill>
              </a:defRPr>
            </a:lvl1pPr>
            <a:lvl2pPr marL="457200" indent="0">
              <a:buNone/>
              <a:defRPr sz="2200" b="1">
                <a:solidFill>
                  <a:schemeClr val="tx2"/>
                </a:solidFill>
              </a:defRPr>
            </a:lvl2pPr>
            <a:lvl3pPr marL="914400" indent="0">
              <a:buNone/>
              <a:defRPr sz="2200" b="1">
                <a:solidFill>
                  <a:schemeClr val="tx2"/>
                </a:solidFill>
              </a:defRPr>
            </a:lvl3pPr>
            <a:lvl4pPr marL="1371600" indent="0">
              <a:buNone/>
              <a:defRPr sz="2200" b="1">
                <a:solidFill>
                  <a:schemeClr val="tx2"/>
                </a:solidFill>
              </a:defRPr>
            </a:lvl4pPr>
            <a:lvl5pPr marL="1828800" indent="0">
              <a:buNone/>
              <a:defRPr sz="2200" b="1">
                <a:solidFill>
                  <a:schemeClr val="tx2"/>
                </a:solidFill>
              </a:defRPr>
            </a:lvl5pPr>
          </a:lstStyle>
          <a:p>
            <a:pPr lvl="0"/>
            <a:r>
              <a:rPr lang="en-US" dirty="0"/>
              <a:t>Title here</a:t>
            </a:r>
          </a:p>
        </p:txBody>
      </p:sp>
      <p:sp>
        <p:nvSpPr>
          <p:cNvPr id="28" name="Text Placeholder 26">
            <a:extLst>
              <a:ext uri="{FF2B5EF4-FFF2-40B4-BE49-F238E27FC236}">
                <a16:creationId xmlns:a16="http://schemas.microsoft.com/office/drawing/2014/main" id="{A6A33984-D4D9-78E1-72C3-82197924F8CD}"/>
              </a:ext>
            </a:extLst>
          </p:cNvPr>
          <p:cNvSpPr>
            <a:spLocks noGrp="1"/>
          </p:cNvSpPr>
          <p:nvPr>
            <p:ph type="body" sz="quarter" idx="24" hasCustomPrompt="1"/>
          </p:nvPr>
        </p:nvSpPr>
        <p:spPr>
          <a:xfrm>
            <a:off x="9423171" y="3898130"/>
            <a:ext cx="1807334" cy="1916421"/>
          </a:xfrm>
        </p:spPr>
        <p:txBody>
          <a:bodyPr>
            <a:noAutofit/>
          </a:bodyPr>
          <a:lstStyle>
            <a:lvl1pPr marL="0" indent="0" algn="ctr">
              <a:buNone/>
              <a:defRPr sz="1600">
                <a:solidFill>
                  <a:schemeClr val="accent3"/>
                </a:solidFill>
              </a:defRPr>
            </a:lvl1pPr>
            <a:lvl2pPr marL="457200" indent="0">
              <a:buNone/>
              <a:defRPr sz="1600">
                <a:solidFill>
                  <a:schemeClr val="accent3"/>
                </a:solidFill>
              </a:defRPr>
            </a:lvl2pPr>
            <a:lvl3pPr marL="914400" indent="0">
              <a:buNone/>
              <a:defRPr sz="1600">
                <a:solidFill>
                  <a:schemeClr val="accent3"/>
                </a:solidFill>
              </a:defRPr>
            </a:lvl3pPr>
            <a:lvl4pPr marL="1371600" indent="0">
              <a:buNone/>
              <a:defRPr sz="1600">
                <a:solidFill>
                  <a:schemeClr val="accent3"/>
                </a:solidFill>
              </a:defRPr>
            </a:lvl4pPr>
            <a:lvl5pPr marL="1828800" indent="0">
              <a:buNone/>
              <a:defRPr sz="1600">
                <a:solidFill>
                  <a:schemeClr val="accent3"/>
                </a:solidFill>
              </a:defRPr>
            </a:lvl5pPr>
          </a:lstStyle>
          <a:p>
            <a:r>
              <a:rPr lang="en-US" sz="1600" dirty="0">
                <a:solidFill>
                  <a:schemeClr val="accent3"/>
                </a:solidFill>
                <a:latin typeface="Arial" panose="020B0604020202020204" pitchFamily="34" charset="0"/>
                <a:cs typeface="Arial" panose="020B0604020202020204" pitchFamily="34" charset="0"/>
              </a:rPr>
              <a:t>Enter descriptive information in this text block. Lorem ipsum dolor sit.</a:t>
            </a:r>
          </a:p>
        </p:txBody>
      </p:sp>
      <p:sp>
        <p:nvSpPr>
          <p:cNvPr id="20" name="Slide Number Placeholder 5">
            <a:extLst>
              <a:ext uri="{FF2B5EF4-FFF2-40B4-BE49-F238E27FC236}">
                <a16:creationId xmlns:a16="http://schemas.microsoft.com/office/drawing/2014/main" id="{040AD5A3-57D5-706D-27FE-BAB7C7B66C9A}"/>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21" name="Straight Connector 20">
            <a:extLst>
              <a:ext uri="{FF2B5EF4-FFF2-40B4-BE49-F238E27FC236}">
                <a16:creationId xmlns:a16="http://schemas.microsoft.com/office/drawing/2014/main" id="{4DDF698A-957B-E534-FBFC-F448ED1E14FA}"/>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3B6086F-22A3-36DB-B9B6-E5C382C9296F}"/>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Right Triangle 22">
            <a:extLst>
              <a:ext uri="{FF2B5EF4-FFF2-40B4-BE49-F238E27FC236}">
                <a16:creationId xmlns:a16="http://schemas.microsoft.com/office/drawing/2014/main" id="{C8270017-934A-DBCC-ECE6-DFBC29080B27}"/>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8817D44C-0FF1-A071-0D28-81EA24971444}"/>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9" name="Right Triangle 28">
            <a:extLst>
              <a:ext uri="{FF2B5EF4-FFF2-40B4-BE49-F238E27FC236}">
                <a16:creationId xmlns:a16="http://schemas.microsoft.com/office/drawing/2014/main" id="{642F9AE0-C163-645F-4901-6CB3290ED09D}"/>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4B8D2DF6-2C2E-85D8-79BC-A6391683F00E}"/>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4" name="Title 1">
            <a:extLst>
              <a:ext uri="{FF2B5EF4-FFF2-40B4-BE49-F238E27FC236}">
                <a16:creationId xmlns:a16="http://schemas.microsoft.com/office/drawing/2014/main" id="{B147F304-440B-E32A-ADA7-0FA5F1A92B19}"/>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983DA8A3-9F55-F123-88E3-E9BFDE62F29F}"/>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C346ACB1-741A-6BFA-C0F3-BD6C39790211}"/>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3586668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ov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730E7-FA1E-7835-35E4-D48C90D2AEA2}"/>
              </a:ext>
            </a:extLst>
          </p:cNvPr>
          <p:cNvSpPr>
            <a:spLocks noGrp="1"/>
          </p:cNvSpPr>
          <p:nvPr>
            <p:ph type="ctrTitle" hasCustomPrompt="1"/>
          </p:nvPr>
        </p:nvSpPr>
        <p:spPr>
          <a:xfrm>
            <a:off x="1219201" y="3338996"/>
            <a:ext cx="9144000" cy="2387600"/>
          </a:xfrm>
        </p:spPr>
        <p:txBody>
          <a:bodyPr anchor="b">
            <a:normAutofit/>
          </a:bodyPr>
          <a:lstStyle>
            <a:lvl1pPr algn="l">
              <a:lnSpc>
                <a:spcPts val="5000"/>
              </a:lnSpc>
              <a:defRPr sz="5000">
                <a:solidFill>
                  <a:schemeClr val="tx2"/>
                </a:solidFill>
              </a:defRPr>
            </a:lvl1pPr>
          </a:lstStyle>
          <a:p>
            <a:r>
              <a:rPr lang="en-US" dirty="0"/>
              <a:t>CLICK TO EDIT THE TITLE OF THIS PRESENTATION</a:t>
            </a:r>
          </a:p>
        </p:txBody>
      </p:sp>
      <p:sp>
        <p:nvSpPr>
          <p:cNvPr id="3" name="Subtitle 2">
            <a:extLst>
              <a:ext uri="{FF2B5EF4-FFF2-40B4-BE49-F238E27FC236}">
                <a16:creationId xmlns:a16="http://schemas.microsoft.com/office/drawing/2014/main" id="{BB2454C3-B366-AE07-8E3B-3EEBF583631D}"/>
              </a:ext>
            </a:extLst>
          </p:cNvPr>
          <p:cNvSpPr>
            <a:spLocks noGrp="1"/>
          </p:cNvSpPr>
          <p:nvPr>
            <p:ph type="subTitle" idx="1" hasCustomPrompt="1"/>
          </p:nvPr>
        </p:nvSpPr>
        <p:spPr>
          <a:xfrm>
            <a:off x="1219201" y="5818671"/>
            <a:ext cx="9144000" cy="355150"/>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nter a date or subtitle</a:t>
            </a:r>
          </a:p>
        </p:txBody>
      </p:sp>
      <p:pic>
        <p:nvPicPr>
          <p:cNvPr id="6" name="Picture 5">
            <a:extLst>
              <a:ext uri="{FF2B5EF4-FFF2-40B4-BE49-F238E27FC236}">
                <a16:creationId xmlns:a16="http://schemas.microsoft.com/office/drawing/2014/main" id="{72F6D473-546D-FD2D-47C3-CF3CE789F38F}"/>
              </a:ext>
            </a:extLst>
          </p:cNvPr>
          <p:cNvPicPr>
            <a:picLocks noChangeAspect="1"/>
          </p:cNvPicPr>
          <p:nvPr userDrawn="1"/>
        </p:nvPicPr>
        <p:blipFill>
          <a:blip r:embed="rId2"/>
          <a:stretch>
            <a:fillRect/>
          </a:stretch>
        </p:blipFill>
        <p:spPr>
          <a:xfrm>
            <a:off x="1219201" y="1247358"/>
            <a:ext cx="4018833" cy="505681"/>
          </a:xfrm>
          <a:prstGeom prst="rect">
            <a:avLst/>
          </a:prstGeom>
        </p:spPr>
      </p:pic>
      <p:sp>
        <p:nvSpPr>
          <p:cNvPr id="8" name="Rectangle 7">
            <a:extLst>
              <a:ext uri="{FF2B5EF4-FFF2-40B4-BE49-F238E27FC236}">
                <a16:creationId xmlns:a16="http://schemas.microsoft.com/office/drawing/2014/main" id="{9BDFF7EC-E4A4-F31D-1225-27E513C61B19}"/>
              </a:ext>
            </a:extLst>
          </p:cNvPr>
          <p:cNvSpPr/>
          <p:nvPr userDrawn="1"/>
        </p:nvSpPr>
        <p:spPr>
          <a:xfrm>
            <a:off x="0" y="0"/>
            <a:ext cx="12192000" cy="604656"/>
          </a:xfrm>
          <a:prstGeom prst="rect">
            <a:avLst/>
          </a:prstGeom>
          <a:solidFill>
            <a:srgbClr val="F7F7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4969C70D-385F-08D6-50D7-DE5B676847D4}"/>
              </a:ext>
            </a:extLst>
          </p:cNvPr>
          <p:cNvCxnSpPr>
            <a:cxnSpLocks/>
          </p:cNvCxnSpPr>
          <p:nvPr userDrawn="1"/>
        </p:nvCxnSpPr>
        <p:spPr>
          <a:xfrm>
            <a:off x="609600" y="0"/>
            <a:ext cx="0" cy="68580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F3EE021-242F-0A78-4E6A-7774C02ABF0B}"/>
              </a:ext>
            </a:extLst>
          </p:cNvPr>
          <p:cNvCxnSpPr>
            <a:cxnSpLocks/>
          </p:cNvCxnSpPr>
          <p:nvPr userDrawn="1"/>
        </p:nvCxnSpPr>
        <p:spPr>
          <a:xfrm flipH="1">
            <a:off x="0" y="6057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ight Triangle 12">
            <a:extLst>
              <a:ext uri="{FF2B5EF4-FFF2-40B4-BE49-F238E27FC236}">
                <a16:creationId xmlns:a16="http://schemas.microsoft.com/office/drawing/2014/main" id="{B402411B-1EC6-579A-7A0A-4A5F6F9F51C1}"/>
              </a:ext>
            </a:extLst>
          </p:cNvPr>
          <p:cNvSpPr/>
          <p:nvPr userDrawn="1"/>
        </p:nvSpPr>
        <p:spPr>
          <a:xfrm rot="5400000">
            <a:off x="609600" y="1"/>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3">
            <a:extLst>
              <a:ext uri="{FF2B5EF4-FFF2-40B4-BE49-F238E27FC236}">
                <a16:creationId xmlns:a16="http://schemas.microsoft.com/office/drawing/2014/main" id="{759B790D-F87A-ECA0-4201-57FE93A0217C}"/>
              </a:ext>
            </a:extLst>
          </p:cNvPr>
          <p:cNvSpPr/>
          <p:nvPr userDrawn="1"/>
        </p:nvSpPr>
        <p:spPr>
          <a:xfrm rot="5400000">
            <a:off x="609600" y="606920"/>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14DC87B-27E5-E41D-54DB-E211DAAD01AB}"/>
              </a:ext>
            </a:extLst>
          </p:cNvPr>
          <p:cNvSpPr txBox="1"/>
          <p:nvPr userDrawn="1"/>
        </p:nvSpPr>
        <p:spPr>
          <a:xfrm>
            <a:off x="10094951" y="6622880"/>
            <a:ext cx="2097049" cy="184666"/>
          </a:xfrm>
          <a:prstGeom prst="rect">
            <a:avLst/>
          </a:prstGeom>
          <a:noFill/>
        </p:spPr>
        <p:txBody>
          <a:bodyPr wrap="none" rtlCol="0">
            <a:spAutoFit/>
          </a:bodyPr>
          <a:lstStyle/>
          <a:p>
            <a:pPr algn="r"/>
            <a:r>
              <a:rPr lang="en-US" sz="600" b="0" i="0" dirty="0">
                <a:solidFill>
                  <a:schemeClr val="bg1">
                    <a:lumMod val="50000"/>
                  </a:schemeClr>
                </a:solidFill>
                <a:effectLst/>
                <a:latin typeface="Arial" panose="020B0604020202020204" pitchFamily="34" charset="0"/>
                <a:cs typeface="Arial" panose="020B0604020202020204" pitchFamily="34" charset="0"/>
              </a:rPr>
              <a:t>© 2024 Minerals Technologies Inc. All Rights Reserved.</a:t>
            </a:r>
            <a:endParaRPr lang="en-US" sz="600" b="0" i="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8787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9428441-F59A-4AD6-00F9-7C37B2862A06}"/>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4" name="Straight Connector 3">
            <a:extLst>
              <a:ext uri="{FF2B5EF4-FFF2-40B4-BE49-F238E27FC236}">
                <a16:creationId xmlns:a16="http://schemas.microsoft.com/office/drawing/2014/main" id="{DA3AFE48-7298-F649-6852-1EBFD70EB049}"/>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86744D5-00EE-65C1-D491-C3DB96E2376F}"/>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ight Triangle 12">
            <a:extLst>
              <a:ext uri="{FF2B5EF4-FFF2-40B4-BE49-F238E27FC236}">
                <a16:creationId xmlns:a16="http://schemas.microsoft.com/office/drawing/2014/main" id="{54DCD113-AA48-4FFA-6AAE-ECB8BF22E1E0}"/>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292FE07-4FF7-18E5-E4ED-077C6425CBE1}"/>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B15CD9A4-A132-DD7B-A17C-0C97901B2940}"/>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1F6DF7D-C296-0777-E74A-50F8720B6E77}"/>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1" name="Title 1">
            <a:extLst>
              <a:ext uri="{FF2B5EF4-FFF2-40B4-BE49-F238E27FC236}">
                <a16:creationId xmlns:a16="http://schemas.microsoft.com/office/drawing/2014/main" id="{4334AAD7-CAD9-7A9D-DF41-9683265B6935}"/>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EFD0270D-9A4E-D6AC-1224-764BC6A6EADE}"/>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A6A86B60-5736-EBEC-D561-4C6A329362D4}"/>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25686598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8770FB7-E593-3B5D-28D6-292C37EFCF2A}"/>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C2AD1B30-DCA4-C637-7891-1DC82260F008}"/>
              </a:ext>
            </a:extLst>
          </p:cNvPr>
          <p:cNvCxnSpPr>
            <a:cxnSpLocks/>
          </p:cNvCxnSpPr>
          <p:nvPr userDrawn="1"/>
        </p:nvCxnSpPr>
        <p:spPr>
          <a:xfrm>
            <a:off x="609600" y="0"/>
            <a:ext cx="0" cy="685800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43C1A86-99FB-F7C4-893B-D7540735B709}"/>
              </a:ext>
            </a:extLst>
          </p:cNvPr>
          <p:cNvCxnSpPr>
            <a:cxnSpLocks/>
          </p:cNvCxnSpPr>
          <p:nvPr userDrawn="1"/>
        </p:nvCxnSpPr>
        <p:spPr>
          <a:xfrm flipH="1">
            <a:off x="0" y="605790"/>
            <a:ext cx="12192000" cy="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AF760CAE-1168-8F32-8C4D-09A4FE58CD0F}"/>
              </a:ext>
            </a:extLst>
          </p:cNvPr>
          <p:cNvSpPr/>
          <p:nvPr userDrawn="1"/>
        </p:nvSpPr>
        <p:spPr>
          <a:xfrm rot="5400000">
            <a:off x="609600" y="606920"/>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Triangle 17">
            <a:extLst>
              <a:ext uri="{FF2B5EF4-FFF2-40B4-BE49-F238E27FC236}">
                <a16:creationId xmlns:a16="http://schemas.microsoft.com/office/drawing/2014/main" id="{3BCBECA1-42A6-B022-05DA-3CAAAD30AEF8}"/>
              </a:ext>
            </a:extLst>
          </p:cNvPr>
          <p:cNvSpPr/>
          <p:nvPr userDrawn="1"/>
        </p:nvSpPr>
        <p:spPr>
          <a:xfrm rot="5400000">
            <a:off x="609600" y="1"/>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B03778D8-F215-0C21-E792-B53D99F0232A}"/>
              </a:ext>
            </a:extLst>
          </p:cNvPr>
          <p:cNvPicPr>
            <a:picLocks noChangeAspect="1"/>
          </p:cNvPicPr>
          <p:nvPr userDrawn="1"/>
        </p:nvPicPr>
        <p:blipFill>
          <a:blip r:embed="rId2"/>
          <a:stretch>
            <a:fillRect/>
          </a:stretch>
        </p:blipFill>
        <p:spPr>
          <a:xfrm>
            <a:off x="3610431" y="2669887"/>
            <a:ext cx="4971137" cy="1739898"/>
          </a:xfrm>
          <a:prstGeom prst="rect">
            <a:avLst/>
          </a:prstGeom>
        </p:spPr>
      </p:pic>
      <p:sp>
        <p:nvSpPr>
          <p:cNvPr id="2" name="TextBox 1">
            <a:extLst>
              <a:ext uri="{FF2B5EF4-FFF2-40B4-BE49-F238E27FC236}">
                <a16:creationId xmlns:a16="http://schemas.microsoft.com/office/drawing/2014/main" id="{75112B16-6A1E-31D2-72FC-FF997C5E0999}"/>
              </a:ext>
            </a:extLst>
          </p:cNvPr>
          <p:cNvSpPr txBox="1"/>
          <p:nvPr userDrawn="1"/>
        </p:nvSpPr>
        <p:spPr>
          <a:xfrm>
            <a:off x="10094951" y="6622880"/>
            <a:ext cx="2097049" cy="184666"/>
          </a:xfrm>
          <a:prstGeom prst="rect">
            <a:avLst/>
          </a:prstGeom>
          <a:noFill/>
        </p:spPr>
        <p:txBody>
          <a:bodyPr wrap="none" rtlCol="0">
            <a:spAutoFit/>
          </a:bodyPr>
          <a:lstStyle/>
          <a:p>
            <a:pPr algn="r"/>
            <a:r>
              <a:rPr lang="en-US" sz="600" b="0" i="0" dirty="0">
                <a:solidFill>
                  <a:schemeClr val="bg1"/>
                </a:solidFill>
                <a:effectLst/>
                <a:latin typeface="Arial" panose="020B0604020202020204" pitchFamily="34" charset="0"/>
                <a:cs typeface="Arial" panose="020B0604020202020204" pitchFamily="34" charset="0"/>
              </a:rPr>
              <a:t>© 2024 Minerals Technologies Inc. All Rights Reserved.</a:t>
            </a:r>
            <a:endParaRPr lang="en-US" sz="600" b="0"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71886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C0143-23B0-ACC1-A3FA-0B335F498CB2}"/>
              </a:ext>
            </a:extLst>
          </p:cNvPr>
          <p:cNvGraphicFramePr>
            <a:graphicFrameLocks noChangeAspect="1"/>
          </p:cNvGraphicFramePr>
          <p:nvPr userDrawn="1">
            <p:custDataLst>
              <p:tags r:id="rId1"/>
            </p:custDataLst>
            <p:extLst>
              <p:ext uri="{D42A27DB-BD31-4B8C-83A1-F6EECF244321}">
                <p14:modId xmlns:p14="http://schemas.microsoft.com/office/powerpoint/2010/main" val="2237270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AB3C0143-23B0-ACC1-A3FA-0B335F498CB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0321543-EDD8-40AD-9475-FE14B010BBFF}"/>
              </a:ext>
            </a:extLst>
          </p:cNvPr>
          <p:cNvSpPr>
            <a:spLocks noGrp="1"/>
          </p:cNvSpPr>
          <p:nvPr>
            <p:ph type="sldNum" sz="quarter" idx="12"/>
          </p:nvPr>
        </p:nvSpPr>
        <p:spPr/>
        <p:txBody>
          <a:bodyPr/>
          <a:lstStyle/>
          <a:p>
            <a:fld id="{38EAD989-1E33-41E5-B29F-F1FA91AE5067}" type="slidenum">
              <a:rPr lang="en-US" smtClean="0"/>
              <a:t>‹#›</a:t>
            </a:fld>
            <a:endParaRPr lang="en-US"/>
          </a:p>
        </p:txBody>
      </p:sp>
      <p:sp>
        <p:nvSpPr>
          <p:cNvPr id="3" name="Rectangle 2">
            <a:extLst>
              <a:ext uri="{FF2B5EF4-FFF2-40B4-BE49-F238E27FC236}">
                <a16:creationId xmlns:a16="http://schemas.microsoft.com/office/drawing/2014/main" id="{1AAC38A7-7DC3-24A8-0EC1-36C5757DE078}"/>
              </a:ext>
            </a:extLst>
          </p:cNvPr>
          <p:cNvSpPr/>
          <p:nvPr userDrawn="1"/>
        </p:nvSpPr>
        <p:spPr>
          <a:xfrm>
            <a:off x="0" y="-1"/>
            <a:ext cx="12192000" cy="929874"/>
          </a:xfrm>
          <a:prstGeom prst="rect">
            <a:avLst/>
          </a:prstGeom>
          <a:solidFill>
            <a:srgbClr val="13224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A black and white logo&#10;&#10;Description automatically generated with low confidence">
            <a:extLst>
              <a:ext uri="{FF2B5EF4-FFF2-40B4-BE49-F238E27FC236}">
                <a16:creationId xmlns:a16="http://schemas.microsoft.com/office/drawing/2014/main" id="{B31E5F7E-76DF-9B17-66DD-EA274E9E38A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223528" y="372009"/>
            <a:ext cx="1371600" cy="396758"/>
          </a:xfrm>
          <a:prstGeom prst="rect">
            <a:avLst/>
          </a:prstGeom>
        </p:spPr>
      </p:pic>
      <p:sp>
        <p:nvSpPr>
          <p:cNvPr id="9" name="Title 1">
            <a:extLst>
              <a:ext uri="{FF2B5EF4-FFF2-40B4-BE49-F238E27FC236}">
                <a16:creationId xmlns:a16="http://schemas.microsoft.com/office/drawing/2014/main" id="{2D547BFF-3940-4AEA-F189-95FEC878377D}"/>
              </a:ext>
            </a:extLst>
          </p:cNvPr>
          <p:cNvSpPr>
            <a:spLocks noGrp="1"/>
          </p:cNvSpPr>
          <p:nvPr>
            <p:ph type="title"/>
          </p:nvPr>
        </p:nvSpPr>
        <p:spPr>
          <a:xfrm>
            <a:off x="367294" y="99949"/>
            <a:ext cx="10439251" cy="752108"/>
          </a:xfrm>
        </p:spPr>
        <p:txBody>
          <a:bodyPr vert="horz" lIns="0" tIns="0" rIns="0" bIns="0" anchor="b" anchorCtr="0">
            <a:noAutofit/>
          </a:bodyPr>
          <a:lstStyle>
            <a:lvl1pPr>
              <a:defRPr sz="28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478473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ABE5AB7-348B-62B4-7C08-6D265EE72609}"/>
              </a:ext>
            </a:extLst>
          </p:cNvPr>
          <p:cNvGraphicFramePr>
            <a:graphicFrameLocks noChangeAspect="1"/>
          </p:cNvGraphicFramePr>
          <p:nvPr userDrawn="1">
            <p:custDataLst>
              <p:tags r:id="rId1"/>
            </p:custDataLst>
            <p:extLst>
              <p:ext uri="{D42A27DB-BD31-4B8C-83A1-F6EECF244321}">
                <p14:modId xmlns:p14="http://schemas.microsoft.com/office/powerpoint/2010/main" val="5201617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ABE5AB7-348B-62B4-7C08-6D265EE7260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49AD098-CEEF-96E1-9884-D39AEA443DDB}"/>
              </a:ext>
            </a:extLst>
          </p:cNvPr>
          <p:cNvSpPr/>
          <p:nvPr userDrawn="1"/>
        </p:nvSpPr>
        <p:spPr>
          <a:xfrm>
            <a:off x="0" y="0"/>
            <a:ext cx="12192000" cy="39282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F403B0B4-C725-7180-2428-C89CBD58B6EE}"/>
              </a:ext>
            </a:extLst>
          </p:cNvPr>
          <p:cNvGrpSpPr/>
          <p:nvPr userDrawn="1"/>
        </p:nvGrpSpPr>
        <p:grpSpPr>
          <a:xfrm>
            <a:off x="3553785" y="1251624"/>
            <a:ext cx="5084429" cy="977987"/>
            <a:chOff x="4847967" y="1977081"/>
            <a:chExt cx="5084429" cy="977987"/>
          </a:xfrm>
        </p:grpSpPr>
        <p:sp>
          <p:nvSpPr>
            <p:cNvPr id="7" name="Freeform 6">
              <a:extLst>
                <a:ext uri="{FF2B5EF4-FFF2-40B4-BE49-F238E27FC236}">
                  <a16:creationId xmlns:a16="http://schemas.microsoft.com/office/drawing/2014/main" id="{F047AE7D-6BBE-C232-B262-4A223444BB0D}"/>
                </a:ext>
              </a:extLst>
            </p:cNvPr>
            <p:cNvSpPr/>
            <p:nvPr/>
          </p:nvSpPr>
          <p:spPr>
            <a:xfrm>
              <a:off x="5288216" y="1980883"/>
              <a:ext cx="387357" cy="441313"/>
            </a:xfrm>
            <a:custGeom>
              <a:avLst/>
              <a:gdLst>
                <a:gd name="connsiteX0" fmla="*/ 53248 w 55329"/>
                <a:gd name="connsiteY0" fmla="*/ 0 h 63036"/>
                <a:gd name="connsiteX1" fmla="*/ 2104 w 55329"/>
                <a:gd name="connsiteY1" fmla="*/ 0 h 63036"/>
                <a:gd name="connsiteX2" fmla="*/ 0 w 55329"/>
                <a:gd name="connsiteY2" fmla="*/ 0 h 63036"/>
                <a:gd name="connsiteX3" fmla="*/ 1041 w 55329"/>
                <a:gd name="connsiteY3" fmla="*/ 2399 h 63036"/>
                <a:gd name="connsiteX4" fmla="*/ 27665 w 55329"/>
                <a:gd name="connsiteY4" fmla="*/ 63037 h 63036"/>
                <a:gd name="connsiteX5" fmla="*/ 54289 w 55329"/>
                <a:gd name="connsiteY5" fmla="*/ 2399 h 63036"/>
                <a:gd name="connsiteX6" fmla="*/ 55329 w 55329"/>
                <a:gd name="connsiteY6" fmla="*/ 0 h 63036"/>
                <a:gd name="connsiteX7" fmla="*/ 53248 w 55329"/>
                <a:gd name="connsiteY7" fmla="*/ 0 h 6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29" h="63036">
                  <a:moveTo>
                    <a:pt x="53248" y="0"/>
                  </a:moveTo>
                  <a:lnTo>
                    <a:pt x="2104" y="0"/>
                  </a:lnTo>
                  <a:lnTo>
                    <a:pt x="0" y="0"/>
                  </a:lnTo>
                  <a:lnTo>
                    <a:pt x="1041" y="2399"/>
                  </a:lnTo>
                  <a:lnTo>
                    <a:pt x="27665" y="63037"/>
                  </a:lnTo>
                  <a:lnTo>
                    <a:pt x="54289" y="2399"/>
                  </a:lnTo>
                  <a:lnTo>
                    <a:pt x="55329" y="0"/>
                  </a:lnTo>
                  <a:lnTo>
                    <a:pt x="53248" y="0"/>
                  </a:lnTo>
                  <a:close/>
                </a:path>
              </a:pathLst>
            </a:custGeom>
            <a:solidFill>
              <a:srgbClr val="CE4E51"/>
            </a:solidFill>
            <a:ln w="226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26E4273E-3F75-CC86-8461-B1B1FB012FCB}"/>
                </a:ext>
              </a:extLst>
            </p:cNvPr>
            <p:cNvSpPr/>
            <p:nvPr/>
          </p:nvSpPr>
          <p:spPr>
            <a:xfrm>
              <a:off x="5098973" y="2039173"/>
              <a:ext cx="356630" cy="406309"/>
            </a:xfrm>
            <a:custGeom>
              <a:avLst/>
              <a:gdLst>
                <a:gd name="connsiteX0" fmla="*/ 0 w 50940"/>
                <a:gd name="connsiteY0" fmla="*/ 58036 h 58036"/>
                <a:gd name="connsiteX1" fmla="*/ 50941 w 50940"/>
                <a:gd name="connsiteY1" fmla="*/ 58036 h 58036"/>
                <a:gd name="connsiteX2" fmla="*/ 25470 w 50940"/>
                <a:gd name="connsiteY2" fmla="*/ 0 h 58036"/>
                <a:gd name="connsiteX3" fmla="*/ 0 w 50940"/>
                <a:gd name="connsiteY3" fmla="*/ 58036 h 58036"/>
              </a:gdLst>
              <a:ahLst/>
              <a:cxnLst>
                <a:cxn ang="0">
                  <a:pos x="connsiteX0" y="connsiteY0"/>
                </a:cxn>
                <a:cxn ang="0">
                  <a:pos x="connsiteX1" y="connsiteY1"/>
                </a:cxn>
                <a:cxn ang="0">
                  <a:pos x="connsiteX2" y="connsiteY2"/>
                </a:cxn>
                <a:cxn ang="0">
                  <a:pos x="connsiteX3" y="connsiteY3"/>
                </a:cxn>
              </a:cxnLst>
              <a:rect l="l" t="t" r="r" b="b"/>
              <a:pathLst>
                <a:path w="50940" h="58036">
                  <a:moveTo>
                    <a:pt x="0" y="58036"/>
                  </a:moveTo>
                  <a:lnTo>
                    <a:pt x="50941" y="58036"/>
                  </a:lnTo>
                  <a:lnTo>
                    <a:pt x="25470" y="0"/>
                  </a:lnTo>
                  <a:lnTo>
                    <a:pt x="0" y="58036"/>
                  </a:lnTo>
                  <a:close/>
                </a:path>
              </a:pathLst>
            </a:custGeom>
            <a:solidFill>
              <a:schemeClr val="bg1"/>
            </a:solidFill>
            <a:ln w="226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B3F835AE-1237-7519-67C3-7D6C9AF652E3}"/>
                </a:ext>
              </a:extLst>
            </p:cNvPr>
            <p:cNvSpPr/>
            <p:nvPr/>
          </p:nvSpPr>
          <p:spPr>
            <a:xfrm>
              <a:off x="5508348" y="2039173"/>
              <a:ext cx="356476" cy="406309"/>
            </a:xfrm>
            <a:custGeom>
              <a:avLst/>
              <a:gdLst>
                <a:gd name="connsiteX0" fmla="*/ 0 w 50918"/>
                <a:gd name="connsiteY0" fmla="*/ 58036 h 58036"/>
                <a:gd name="connsiteX1" fmla="*/ 50918 w 50918"/>
                <a:gd name="connsiteY1" fmla="*/ 58036 h 58036"/>
                <a:gd name="connsiteX2" fmla="*/ 25448 w 50918"/>
                <a:gd name="connsiteY2" fmla="*/ 0 h 58036"/>
                <a:gd name="connsiteX3" fmla="*/ 0 w 50918"/>
                <a:gd name="connsiteY3" fmla="*/ 58036 h 58036"/>
              </a:gdLst>
              <a:ahLst/>
              <a:cxnLst>
                <a:cxn ang="0">
                  <a:pos x="connsiteX0" y="connsiteY0"/>
                </a:cxn>
                <a:cxn ang="0">
                  <a:pos x="connsiteX1" y="connsiteY1"/>
                </a:cxn>
                <a:cxn ang="0">
                  <a:pos x="connsiteX2" y="connsiteY2"/>
                </a:cxn>
                <a:cxn ang="0">
                  <a:pos x="connsiteX3" y="connsiteY3"/>
                </a:cxn>
              </a:cxnLst>
              <a:rect l="l" t="t" r="r" b="b"/>
              <a:pathLst>
                <a:path w="50918" h="58036">
                  <a:moveTo>
                    <a:pt x="0" y="58036"/>
                  </a:moveTo>
                  <a:lnTo>
                    <a:pt x="50918" y="58036"/>
                  </a:lnTo>
                  <a:lnTo>
                    <a:pt x="25448" y="0"/>
                  </a:lnTo>
                  <a:lnTo>
                    <a:pt x="0" y="58036"/>
                  </a:lnTo>
                  <a:close/>
                </a:path>
              </a:pathLst>
            </a:custGeom>
            <a:solidFill>
              <a:schemeClr val="bg1"/>
            </a:solidFill>
            <a:ln w="226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E87E4B78-FB43-BB90-28E0-488F6041230D}"/>
                </a:ext>
              </a:extLst>
            </p:cNvPr>
            <p:cNvSpPr/>
            <p:nvPr/>
          </p:nvSpPr>
          <p:spPr>
            <a:xfrm>
              <a:off x="5068568" y="2478904"/>
              <a:ext cx="396696" cy="470143"/>
            </a:xfrm>
            <a:custGeom>
              <a:avLst/>
              <a:gdLst>
                <a:gd name="connsiteX0" fmla="*/ 55488 w 56663"/>
                <a:gd name="connsiteY0" fmla="*/ 0 h 67154"/>
                <a:gd name="connsiteX1" fmla="*/ 2262 w 56663"/>
                <a:gd name="connsiteY1" fmla="*/ 0 h 67154"/>
                <a:gd name="connsiteX2" fmla="*/ 0 w 56663"/>
                <a:gd name="connsiteY2" fmla="*/ 0 h 67154"/>
                <a:gd name="connsiteX3" fmla="*/ 1493 w 56663"/>
                <a:gd name="connsiteY3" fmla="*/ 1742 h 67154"/>
                <a:gd name="connsiteX4" fmla="*/ 56664 w 56663"/>
                <a:gd name="connsiteY4" fmla="*/ 67154 h 67154"/>
                <a:gd name="connsiteX5" fmla="*/ 56664 w 56663"/>
                <a:gd name="connsiteY5" fmla="*/ 8983 h 67154"/>
                <a:gd name="connsiteX6" fmla="*/ 56664 w 56663"/>
                <a:gd name="connsiteY6" fmla="*/ 0 h 67154"/>
                <a:gd name="connsiteX7" fmla="*/ 55488 w 56663"/>
                <a:gd name="connsiteY7" fmla="*/ 0 h 6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63" h="67154">
                  <a:moveTo>
                    <a:pt x="55488" y="0"/>
                  </a:moveTo>
                  <a:lnTo>
                    <a:pt x="2262" y="0"/>
                  </a:lnTo>
                  <a:lnTo>
                    <a:pt x="0" y="0"/>
                  </a:lnTo>
                  <a:lnTo>
                    <a:pt x="1493" y="1742"/>
                  </a:lnTo>
                  <a:lnTo>
                    <a:pt x="56664" y="67154"/>
                  </a:lnTo>
                  <a:lnTo>
                    <a:pt x="56664" y="8983"/>
                  </a:lnTo>
                  <a:lnTo>
                    <a:pt x="56664" y="0"/>
                  </a:lnTo>
                  <a:lnTo>
                    <a:pt x="55488" y="0"/>
                  </a:lnTo>
                  <a:close/>
                </a:path>
              </a:pathLst>
            </a:custGeom>
            <a:solidFill>
              <a:schemeClr val="bg1"/>
            </a:solidFill>
            <a:ln w="226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CB82BA7F-D3ED-FE11-0715-1834EAD42A32}"/>
                </a:ext>
              </a:extLst>
            </p:cNvPr>
            <p:cNvSpPr/>
            <p:nvPr/>
          </p:nvSpPr>
          <p:spPr>
            <a:xfrm>
              <a:off x="5498686" y="2478904"/>
              <a:ext cx="397487" cy="470143"/>
            </a:xfrm>
            <a:custGeom>
              <a:avLst/>
              <a:gdLst>
                <a:gd name="connsiteX0" fmla="*/ 54402 w 56776"/>
                <a:gd name="connsiteY0" fmla="*/ 0 h 67154"/>
                <a:gd name="connsiteX1" fmla="*/ 1154 w 56776"/>
                <a:gd name="connsiteY1" fmla="*/ 0 h 67154"/>
                <a:gd name="connsiteX2" fmla="*/ 0 w 56776"/>
                <a:gd name="connsiteY2" fmla="*/ 0 h 67154"/>
                <a:gd name="connsiteX3" fmla="*/ 0 w 56776"/>
                <a:gd name="connsiteY3" fmla="*/ 8983 h 67154"/>
                <a:gd name="connsiteX4" fmla="*/ 0 w 56776"/>
                <a:gd name="connsiteY4" fmla="*/ 67154 h 67154"/>
                <a:gd name="connsiteX5" fmla="*/ 55216 w 56776"/>
                <a:gd name="connsiteY5" fmla="*/ 1855 h 67154"/>
                <a:gd name="connsiteX6" fmla="*/ 56777 w 56776"/>
                <a:gd name="connsiteY6" fmla="*/ 0 h 67154"/>
                <a:gd name="connsiteX7" fmla="*/ 54402 w 56776"/>
                <a:gd name="connsiteY7" fmla="*/ 0 h 6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76" h="67154">
                  <a:moveTo>
                    <a:pt x="54402" y="0"/>
                  </a:moveTo>
                  <a:lnTo>
                    <a:pt x="1154" y="0"/>
                  </a:lnTo>
                  <a:lnTo>
                    <a:pt x="0" y="0"/>
                  </a:lnTo>
                  <a:lnTo>
                    <a:pt x="0" y="8983"/>
                  </a:lnTo>
                  <a:lnTo>
                    <a:pt x="0" y="67154"/>
                  </a:lnTo>
                  <a:lnTo>
                    <a:pt x="55216" y="1855"/>
                  </a:lnTo>
                  <a:lnTo>
                    <a:pt x="56777" y="0"/>
                  </a:lnTo>
                  <a:lnTo>
                    <a:pt x="54402" y="0"/>
                  </a:lnTo>
                  <a:close/>
                </a:path>
              </a:pathLst>
            </a:custGeom>
            <a:solidFill>
              <a:schemeClr val="bg1"/>
            </a:solidFill>
            <a:ln w="226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888AE5B-BDCF-8EF6-1E33-D3A09EA96820}"/>
                </a:ext>
              </a:extLst>
            </p:cNvPr>
            <p:cNvSpPr/>
            <p:nvPr/>
          </p:nvSpPr>
          <p:spPr>
            <a:xfrm>
              <a:off x="4847967" y="1980883"/>
              <a:ext cx="418392" cy="479014"/>
            </a:xfrm>
            <a:custGeom>
              <a:avLst/>
              <a:gdLst>
                <a:gd name="connsiteX0" fmla="*/ 57682 w 59762"/>
                <a:gd name="connsiteY0" fmla="*/ 0 h 68421"/>
                <a:gd name="connsiteX1" fmla="*/ 0 w 59762"/>
                <a:gd name="connsiteY1" fmla="*/ 0 h 68421"/>
                <a:gd name="connsiteX2" fmla="*/ 28841 w 59762"/>
                <a:gd name="connsiteY2" fmla="*/ 66363 h 68421"/>
                <a:gd name="connsiteX3" fmla="*/ 29745 w 59762"/>
                <a:gd name="connsiteY3" fmla="*/ 68422 h 68421"/>
                <a:gd name="connsiteX4" fmla="*/ 30650 w 59762"/>
                <a:gd name="connsiteY4" fmla="*/ 66363 h 68421"/>
                <a:gd name="connsiteX5" fmla="*/ 58722 w 59762"/>
                <a:gd name="connsiteY5" fmla="*/ 2399 h 68421"/>
                <a:gd name="connsiteX6" fmla="*/ 59763 w 59762"/>
                <a:gd name="connsiteY6" fmla="*/ 0 h 68421"/>
                <a:gd name="connsiteX7" fmla="*/ 57682 w 59762"/>
                <a:gd name="connsiteY7" fmla="*/ 0 h 6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62" h="68421">
                  <a:moveTo>
                    <a:pt x="57682" y="0"/>
                  </a:moveTo>
                  <a:lnTo>
                    <a:pt x="0" y="0"/>
                  </a:lnTo>
                  <a:lnTo>
                    <a:pt x="28841" y="66363"/>
                  </a:lnTo>
                  <a:lnTo>
                    <a:pt x="29745" y="68422"/>
                  </a:lnTo>
                  <a:lnTo>
                    <a:pt x="30650" y="66363"/>
                  </a:lnTo>
                  <a:lnTo>
                    <a:pt x="58722" y="2399"/>
                  </a:lnTo>
                  <a:lnTo>
                    <a:pt x="59763" y="0"/>
                  </a:lnTo>
                  <a:lnTo>
                    <a:pt x="57682" y="0"/>
                  </a:lnTo>
                  <a:close/>
                </a:path>
              </a:pathLst>
            </a:custGeom>
            <a:solidFill>
              <a:schemeClr val="bg1"/>
            </a:solidFill>
            <a:ln w="226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D1F1376-3858-C5D4-F71B-22C1471D30AD}"/>
                </a:ext>
              </a:extLst>
            </p:cNvPr>
            <p:cNvSpPr/>
            <p:nvPr/>
          </p:nvSpPr>
          <p:spPr>
            <a:xfrm>
              <a:off x="5697430" y="1980883"/>
              <a:ext cx="418707" cy="478223"/>
            </a:xfrm>
            <a:custGeom>
              <a:avLst/>
              <a:gdLst>
                <a:gd name="connsiteX0" fmla="*/ 2104 w 59807"/>
                <a:gd name="connsiteY0" fmla="*/ 0 h 68308"/>
                <a:gd name="connsiteX1" fmla="*/ 0 w 59807"/>
                <a:gd name="connsiteY1" fmla="*/ 0 h 68308"/>
                <a:gd name="connsiteX2" fmla="*/ 1063 w 59807"/>
                <a:gd name="connsiteY2" fmla="*/ 2399 h 68308"/>
                <a:gd name="connsiteX3" fmla="*/ 29135 w 59807"/>
                <a:gd name="connsiteY3" fmla="*/ 66363 h 68308"/>
                <a:gd name="connsiteX4" fmla="*/ 29994 w 59807"/>
                <a:gd name="connsiteY4" fmla="*/ 68309 h 68308"/>
                <a:gd name="connsiteX5" fmla="*/ 30831 w 59807"/>
                <a:gd name="connsiteY5" fmla="*/ 66363 h 68308"/>
                <a:gd name="connsiteX6" fmla="*/ 59808 w 59807"/>
                <a:gd name="connsiteY6" fmla="*/ 0 h 68308"/>
                <a:gd name="connsiteX7" fmla="*/ 2104 w 59807"/>
                <a:gd name="connsiteY7" fmla="*/ 0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07" h="68308">
                  <a:moveTo>
                    <a:pt x="2104" y="0"/>
                  </a:moveTo>
                  <a:lnTo>
                    <a:pt x="0" y="0"/>
                  </a:lnTo>
                  <a:lnTo>
                    <a:pt x="1063" y="2399"/>
                  </a:lnTo>
                  <a:lnTo>
                    <a:pt x="29135" y="66363"/>
                  </a:lnTo>
                  <a:lnTo>
                    <a:pt x="29994" y="68309"/>
                  </a:lnTo>
                  <a:lnTo>
                    <a:pt x="30831" y="66363"/>
                  </a:lnTo>
                  <a:lnTo>
                    <a:pt x="59808" y="0"/>
                  </a:lnTo>
                  <a:lnTo>
                    <a:pt x="2104" y="0"/>
                  </a:lnTo>
                  <a:close/>
                </a:path>
              </a:pathLst>
            </a:custGeom>
            <a:solidFill>
              <a:schemeClr val="bg1"/>
            </a:solidFill>
            <a:ln w="226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5E70AFCC-EA59-1783-A500-CF53695C9D59}"/>
                </a:ext>
              </a:extLst>
            </p:cNvPr>
            <p:cNvSpPr/>
            <p:nvPr/>
          </p:nvSpPr>
          <p:spPr>
            <a:xfrm>
              <a:off x="6221460" y="1982941"/>
              <a:ext cx="359640" cy="409634"/>
            </a:xfrm>
            <a:custGeom>
              <a:avLst/>
              <a:gdLst>
                <a:gd name="connsiteX0" fmla="*/ 0 w 51370"/>
                <a:gd name="connsiteY0" fmla="*/ 57561 h 58511"/>
                <a:gd name="connsiteX1" fmla="*/ 0 w 51370"/>
                <a:gd name="connsiteY1" fmla="*/ 950 h 58511"/>
                <a:gd name="connsiteX2" fmla="*/ 950 w 51370"/>
                <a:gd name="connsiteY2" fmla="*/ 0 h 58511"/>
                <a:gd name="connsiteX3" fmla="*/ 10383 w 51370"/>
                <a:gd name="connsiteY3" fmla="*/ 0 h 58511"/>
                <a:gd name="connsiteX4" fmla="*/ 11423 w 51370"/>
                <a:gd name="connsiteY4" fmla="*/ 792 h 58511"/>
                <a:gd name="connsiteX5" fmla="*/ 20698 w 51370"/>
                <a:gd name="connsiteY5" fmla="*/ 31654 h 58511"/>
                <a:gd name="connsiteX6" fmla="*/ 25810 w 51370"/>
                <a:gd name="connsiteY6" fmla="*/ 50049 h 58511"/>
                <a:gd name="connsiteX7" fmla="*/ 25968 w 51370"/>
                <a:gd name="connsiteY7" fmla="*/ 50049 h 58511"/>
                <a:gd name="connsiteX8" fmla="*/ 31012 w 51370"/>
                <a:gd name="connsiteY8" fmla="*/ 31654 h 58511"/>
                <a:gd name="connsiteX9" fmla="*/ 40355 w 51370"/>
                <a:gd name="connsiteY9" fmla="*/ 792 h 58511"/>
                <a:gd name="connsiteX10" fmla="*/ 41395 w 51370"/>
                <a:gd name="connsiteY10" fmla="*/ 0 h 58511"/>
                <a:gd name="connsiteX11" fmla="*/ 50421 w 51370"/>
                <a:gd name="connsiteY11" fmla="*/ 0 h 58511"/>
                <a:gd name="connsiteX12" fmla="*/ 51371 w 51370"/>
                <a:gd name="connsiteY12" fmla="*/ 950 h 58511"/>
                <a:gd name="connsiteX13" fmla="*/ 51371 w 51370"/>
                <a:gd name="connsiteY13" fmla="*/ 57561 h 58511"/>
                <a:gd name="connsiteX14" fmla="*/ 50421 w 51370"/>
                <a:gd name="connsiteY14" fmla="*/ 58511 h 58511"/>
                <a:gd name="connsiteX15" fmla="*/ 45467 w 51370"/>
                <a:gd name="connsiteY15" fmla="*/ 58511 h 58511"/>
                <a:gd name="connsiteX16" fmla="*/ 44517 w 51370"/>
                <a:gd name="connsiteY16" fmla="*/ 57561 h 58511"/>
                <a:gd name="connsiteX17" fmla="*/ 44517 w 51370"/>
                <a:gd name="connsiteY17" fmla="*/ 21585 h 58511"/>
                <a:gd name="connsiteX18" fmla="*/ 44833 w 51370"/>
                <a:gd name="connsiteY18" fmla="*/ 7512 h 58511"/>
                <a:gd name="connsiteX19" fmla="*/ 44584 w 51370"/>
                <a:gd name="connsiteY19" fmla="*/ 7512 h 58511"/>
                <a:gd name="connsiteX20" fmla="*/ 29565 w 51370"/>
                <a:gd name="connsiteY20" fmla="*/ 57719 h 58511"/>
                <a:gd name="connsiteX21" fmla="*/ 28524 w 51370"/>
                <a:gd name="connsiteY21" fmla="*/ 58511 h 58511"/>
                <a:gd name="connsiteX22" fmla="*/ 22937 w 51370"/>
                <a:gd name="connsiteY22" fmla="*/ 58511 h 58511"/>
                <a:gd name="connsiteX23" fmla="*/ 21896 w 51370"/>
                <a:gd name="connsiteY23" fmla="*/ 57719 h 58511"/>
                <a:gd name="connsiteX24" fmla="*/ 6718 w 51370"/>
                <a:gd name="connsiteY24" fmla="*/ 7444 h 58511"/>
                <a:gd name="connsiteX25" fmla="*/ 6469 w 51370"/>
                <a:gd name="connsiteY25" fmla="*/ 7444 h 58511"/>
                <a:gd name="connsiteX26" fmla="*/ 6944 w 51370"/>
                <a:gd name="connsiteY26" fmla="*/ 21585 h 58511"/>
                <a:gd name="connsiteX27" fmla="*/ 6944 w 51370"/>
                <a:gd name="connsiteY27" fmla="*/ 57561 h 58511"/>
                <a:gd name="connsiteX28" fmla="*/ 5994 w 51370"/>
                <a:gd name="connsiteY28" fmla="*/ 58511 h 58511"/>
                <a:gd name="connsiteX29" fmla="*/ 950 w 51370"/>
                <a:gd name="connsiteY29" fmla="*/ 58511 h 58511"/>
                <a:gd name="connsiteX30" fmla="*/ 0 w 51370"/>
                <a:gd name="connsiteY30"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70" h="58511">
                  <a:moveTo>
                    <a:pt x="0" y="57561"/>
                  </a:moveTo>
                  <a:lnTo>
                    <a:pt x="0" y="950"/>
                  </a:lnTo>
                  <a:cubicBezTo>
                    <a:pt x="0" y="385"/>
                    <a:pt x="407" y="0"/>
                    <a:pt x="950" y="0"/>
                  </a:cubicBezTo>
                  <a:lnTo>
                    <a:pt x="10383" y="0"/>
                  </a:lnTo>
                  <a:cubicBezTo>
                    <a:pt x="10948" y="0"/>
                    <a:pt x="11265" y="317"/>
                    <a:pt x="11423" y="792"/>
                  </a:cubicBezTo>
                  <a:lnTo>
                    <a:pt x="20698" y="31654"/>
                  </a:lnTo>
                  <a:cubicBezTo>
                    <a:pt x="22530" y="37967"/>
                    <a:pt x="24294" y="43555"/>
                    <a:pt x="25810" y="50049"/>
                  </a:cubicBezTo>
                  <a:lnTo>
                    <a:pt x="25968" y="50049"/>
                  </a:lnTo>
                  <a:cubicBezTo>
                    <a:pt x="27484" y="43578"/>
                    <a:pt x="28999" y="37967"/>
                    <a:pt x="31012" y="31654"/>
                  </a:cubicBezTo>
                  <a:lnTo>
                    <a:pt x="40355" y="792"/>
                  </a:lnTo>
                  <a:cubicBezTo>
                    <a:pt x="40513" y="317"/>
                    <a:pt x="40829" y="0"/>
                    <a:pt x="41395" y="0"/>
                  </a:cubicBezTo>
                  <a:lnTo>
                    <a:pt x="50421" y="0"/>
                  </a:lnTo>
                  <a:cubicBezTo>
                    <a:pt x="50986" y="0"/>
                    <a:pt x="51371" y="407"/>
                    <a:pt x="51371" y="950"/>
                  </a:cubicBezTo>
                  <a:lnTo>
                    <a:pt x="51371" y="57561"/>
                  </a:lnTo>
                  <a:cubicBezTo>
                    <a:pt x="51371" y="58127"/>
                    <a:pt x="50964" y="58511"/>
                    <a:pt x="50421" y="58511"/>
                  </a:cubicBezTo>
                  <a:lnTo>
                    <a:pt x="45467" y="58511"/>
                  </a:lnTo>
                  <a:cubicBezTo>
                    <a:pt x="44901" y="58511"/>
                    <a:pt x="44517" y="58104"/>
                    <a:pt x="44517" y="57561"/>
                  </a:cubicBezTo>
                  <a:lnTo>
                    <a:pt x="44517" y="21585"/>
                  </a:lnTo>
                  <a:cubicBezTo>
                    <a:pt x="44517" y="17513"/>
                    <a:pt x="44675" y="11517"/>
                    <a:pt x="44833" y="7512"/>
                  </a:cubicBezTo>
                  <a:lnTo>
                    <a:pt x="44584" y="7512"/>
                  </a:lnTo>
                  <a:lnTo>
                    <a:pt x="29565" y="57719"/>
                  </a:lnTo>
                  <a:cubicBezTo>
                    <a:pt x="29406" y="58195"/>
                    <a:pt x="29090" y="58511"/>
                    <a:pt x="28524" y="58511"/>
                  </a:cubicBezTo>
                  <a:lnTo>
                    <a:pt x="22937" y="58511"/>
                  </a:lnTo>
                  <a:cubicBezTo>
                    <a:pt x="22371" y="58511"/>
                    <a:pt x="22055" y="58195"/>
                    <a:pt x="21896" y="57719"/>
                  </a:cubicBezTo>
                  <a:lnTo>
                    <a:pt x="6718" y="7444"/>
                  </a:lnTo>
                  <a:lnTo>
                    <a:pt x="6469" y="7444"/>
                  </a:lnTo>
                  <a:cubicBezTo>
                    <a:pt x="6718" y="11449"/>
                    <a:pt x="6944" y="17445"/>
                    <a:pt x="6944" y="21585"/>
                  </a:cubicBezTo>
                  <a:lnTo>
                    <a:pt x="6944" y="57561"/>
                  </a:lnTo>
                  <a:cubicBezTo>
                    <a:pt x="6944" y="58127"/>
                    <a:pt x="6537" y="58511"/>
                    <a:pt x="5994" y="58511"/>
                  </a:cubicBezTo>
                  <a:lnTo>
                    <a:pt x="950" y="58511"/>
                  </a:lnTo>
                  <a:cubicBezTo>
                    <a:pt x="384" y="58511"/>
                    <a:pt x="0" y="58104"/>
                    <a:pt x="0" y="57561"/>
                  </a:cubicBezTo>
                  <a:close/>
                </a:path>
              </a:pathLst>
            </a:custGeom>
            <a:solidFill>
              <a:schemeClr val="bg1"/>
            </a:solidFill>
            <a:ln w="226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6D824F9B-AD9B-CBA7-09EA-BC704BB1F408}"/>
                </a:ext>
              </a:extLst>
            </p:cNvPr>
            <p:cNvSpPr/>
            <p:nvPr/>
          </p:nvSpPr>
          <p:spPr>
            <a:xfrm>
              <a:off x="6690217" y="1982941"/>
              <a:ext cx="52416" cy="409634"/>
            </a:xfrm>
            <a:custGeom>
              <a:avLst/>
              <a:gdLst>
                <a:gd name="connsiteX0" fmla="*/ 0 w 7487"/>
                <a:gd name="connsiteY0" fmla="*/ 57561 h 58511"/>
                <a:gd name="connsiteX1" fmla="*/ 0 w 7487"/>
                <a:gd name="connsiteY1" fmla="*/ 950 h 58511"/>
                <a:gd name="connsiteX2" fmla="*/ 950 w 7487"/>
                <a:gd name="connsiteY2" fmla="*/ 0 h 58511"/>
                <a:gd name="connsiteX3" fmla="*/ 6537 w 7487"/>
                <a:gd name="connsiteY3" fmla="*/ 0 h 58511"/>
                <a:gd name="connsiteX4" fmla="*/ 7487 w 7487"/>
                <a:gd name="connsiteY4" fmla="*/ 950 h 58511"/>
                <a:gd name="connsiteX5" fmla="*/ 7487 w 7487"/>
                <a:gd name="connsiteY5" fmla="*/ 57561 h 58511"/>
                <a:gd name="connsiteX6" fmla="*/ 6537 w 7487"/>
                <a:gd name="connsiteY6" fmla="*/ 58511 h 58511"/>
                <a:gd name="connsiteX7" fmla="*/ 950 w 7487"/>
                <a:gd name="connsiteY7" fmla="*/ 58511 h 58511"/>
                <a:gd name="connsiteX8" fmla="*/ 0 w 7487"/>
                <a:gd name="connsiteY8"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7" h="58511">
                  <a:moveTo>
                    <a:pt x="0" y="57561"/>
                  </a:moveTo>
                  <a:lnTo>
                    <a:pt x="0" y="950"/>
                  </a:lnTo>
                  <a:cubicBezTo>
                    <a:pt x="0" y="385"/>
                    <a:pt x="407" y="0"/>
                    <a:pt x="950" y="0"/>
                  </a:cubicBezTo>
                  <a:lnTo>
                    <a:pt x="6537" y="0"/>
                  </a:lnTo>
                  <a:cubicBezTo>
                    <a:pt x="7103" y="0"/>
                    <a:pt x="7487" y="407"/>
                    <a:pt x="7487" y="950"/>
                  </a:cubicBezTo>
                  <a:lnTo>
                    <a:pt x="7487" y="57561"/>
                  </a:lnTo>
                  <a:cubicBezTo>
                    <a:pt x="7487" y="58127"/>
                    <a:pt x="7080" y="58511"/>
                    <a:pt x="6537" y="58511"/>
                  </a:cubicBezTo>
                  <a:lnTo>
                    <a:pt x="950" y="58511"/>
                  </a:lnTo>
                  <a:cubicBezTo>
                    <a:pt x="385" y="58511"/>
                    <a:pt x="0" y="58104"/>
                    <a:pt x="0" y="57561"/>
                  </a:cubicBezTo>
                  <a:close/>
                </a:path>
              </a:pathLst>
            </a:custGeom>
            <a:solidFill>
              <a:schemeClr val="bg1"/>
            </a:solidFill>
            <a:ln w="226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1D2745E1-F431-728C-5478-EC5D8D1656EC}"/>
                </a:ext>
              </a:extLst>
            </p:cNvPr>
            <p:cNvSpPr/>
            <p:nvPr/>
          </p:nvSpPr>
          <p:spPr>
            <a:xfrm>
              <a:off x="6851905" y="1982941"/>
              <a:ext cx="291388" cy="409788"/>
            </a:xfrm>
            <a:custGeom>
              <a:avLst/>
              <a:gdLst>
                <a:gd name="connsiteX0" fmla="*/ 0 w 41621"/>
                <a:gd name="connsiteY0" fmla="*/ 57561 h 58533"/>
                <a:gd name="connsiteX1" fmla="*/ 0 w 41621"/>
                <a:gd name="connsiteY1" fmla="*/ 950 h 58533"/>
                <a:gd name="connsiteX2" fmla="*/ 950 w 41621"/>
                <a:gd name="connsiteY2" fmla="*/ 0 h 58533"/>
                <a:gd name="connsiteX3" fmla="*/ 9591 w 41621"/>
                <a:gd name="connsiteY3" fmla="*/ 0 h 58533"/>
                <a:gd name="connsiteX4" fmla="*/ 10700 w 41621"/>
                <a:gd name="connsiteY4" fmla="*/ 724 h 58533"/>
                <a:gd name="connsiteX5" fmla="*/ 27484 w 41621"/>
                <a:gd name="connsiteY5" fmla="*/ 34211 h 58533"/>
                <a:gd name="connsiteX6" fmla="*/ 34767 w 41621"/>
                <a:gd name="connsiteY6" fmla="*/ 50208 h 58533"/>
                <a:gd name="connsiteX7" fmla="*/ 34926 w 41621"/>
                <a:gd name="connsiteY7" fmla="*/ 50208 h 58533"/>
                <a:gd name="connsiteX8" fmla="*/ 34360 w 41621"/>
                <a:gd name="connsiteY8" fmla="*/ 34867 h 58533"/>
                <a:gd name="connsiteX9" fmla="*/ 34360 w 41621"/>
                <a:gd name="connsiteY9" fmla="*/ 973 h 58533"/>
                <a:gd name="connsiteX10" fmla="*/ 35310 w 41621"/>
                <a:gd name="connsiteY10" fmla="*/ 23 h 58533"/>
                <a:gd name="connsiteX11" fmla="*/ 40672 w 41621"/>
                <a:gd name="connsiteY11" fmla="*/ 23 h 58533"/>
                <a:gd name="connsiteX12" fmla="*/ 41621 w 41621"/>
                <a:gd name="connsiteY12" fmla="*/ 973 h 58533"/>
                <a:gd name="connsiteX13" fmla="*/ 41621 w 41621"/>
                <a:gd name="connsiteY13" fmla="*/ 57584 h 58533"/>
                <a:gd name="connsiteX14" fmla="*/ 40672 w 41621"/>
                <a:gd name="connsiteY14" fmla="*/ 58534 h 58533"/>
                <a:gd name="connsiteX15" fmla="*/ 32686 w 41621"/>
                <a:gd name="connsiteY15" fmla="*/ 58534 h 58533"/>
                <a:gd name="connsiteX16" fmla="*/ 31578 w 41621"/>
                <a:gd name="connsiteY16" fmla="*/ 57810 h 58533"/>
                <a:gd name="connsiteX17" fmla="*/ 14477 w 41621"/>
                <a:gd name="connsiteY17" fmla="*/ 24323 h 58533"/>
                <a:gd name="connsiteX18" fmla="*/ 7035 w 41621"/>
                <a:gd name="connsiteY18" fmla="*/ 8010 h 58533"/>
                <a:gd name="connsiteX19" fmla="*/ 6877 w 41621"/>
                <a:gd name="connsiteY19" fmla="*/ 8010 h 58533"/>
                <a:gd name="connsiteX20" fmla="*/ 7284 w 41621"/>
                <a:gd name="connsiteY20" fmla="*/ 23192 h 58533"/>
                <a:gd name="connsiteX21" fmla="*/ 7284 w 41621"/>
                <a:gd name="connsiteY21" fmla="*/ 57561 h 58533"/>
                <a:gd name="connsiteX22" fmla="*/ 6334 w 41621"/>
                <a:gd name="connsiteY22" fmla="*/ 58511 h 58533"/>
                <a:gd name="connsiteX23" fmla="*/ 973 w 41621"/>
                <a:gd name="connsiteY23" fmla="*/ 58511 h 58533"/>
                <a:gd name="connsiteX24" fmla="*/ 23 w 41621"/>
                <a:gd name="connsiteY24" fmla="*/ 57561 h 5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621" h="58533">
                  <a:moveTo>
                    <a:pt x="0" y="57561"/>
                  </a:moveTo>
                  <a:lnTo>
                    <a:pt x="0" y="950"/>
                  </a:lnTo>
                  <a:cubicBezTo>
                    <a:pt x="0" y="385"/>
                    <a:pt x="407" y="0"/>
                    <a:pt x="950" y="0"/>
                  </a:cubicBezTo>
                  <a:lnTo>
                    <a:pt x="9591" y="0"/>
                  </a:lnTo>
                  <a:cubicBezTo>
                    <a:pt x="10066" y="0"/>
                    <a:pt x="10473" y="249"/>
                    <a:pt x="10700" y="724"/>
                  </a:cubicBezTo>
                  <a:lnTo>
                    <a:pt x="27484" y="34211"/>
                  </a:lnTo>
                  <a:cubicBezTo>
                    <a:pt x="30130" y="39641"/>
                    <a:pt x="32596" y="45252"/>
                    <a:pt x="34767" y="50208"/>
                  </a:cubicBezTo>
                  <a:lnTo>
                    <a:pt x="34926" y="50208"/>
                  </a:lnTo>
                  <a:cubicBezTo>
                    <a:pt x="34519" y="45162"/>
                    <a:pt x="34360" y="40207"/>
                    <a:pt x="34360" y="34867"/>
                  </a:cubicBezTo>
                  <a:lnTo>
                    <a:pt x="34360" y="973"/>
                  </a:lnTo>
                  <a:cubicBezTo>
                    <a:pt x="34360" y="407"/>
                    <a:pt x="34767" y="23"/>
                    <a:pt x="35310" y="23"/>
                  </a:cubicBezTo>
                  <a:lnTo>
                    <a:pt x="40672" y="23"/>
                  </a:lnTo>
                  <a:cubicBezTo>
                    <a:pt x="41237" y="23"/>
                    <a:pt x="41621" y="430"/>
                    <a:pt x="41621" y="973"/>
                  </a:cubicBezTo>
                  <a:lnTo>
                    <a:pt x="41621" y="57584"/>
                  </a:lnTo>
                  <a:cubicBezTo>
                    <a:pt x="41621" y="58149"/>
                    <a:pt x="41214" y="58534"/>
                    <a:pt x="40672" y="58534"/>
                  </a:cubicBezTo>
                  <a:lnTo>
                    <a:pt x="32686" y="58534"/>
                  </a:lnTo>
                  <a:cubicBezTo>
                    <a:pt x="32211" y="58534"/>
                    <a:pt x="31804" y="58285"/>
                    <a:pt x="31578" y="57810"/>
                  </a:cubicBezTo>
                  <a:lnTo>
                    <a:pt x="14477" y="24323"/>
                  </a:lnTo>
                  <a:cubicBezTo>
                    <a:pt x="11763" y="18893"/>
                    <a:pt x="9207" y="12965"/>
                    <a:pt x="7035" y="8010"/>
                  </a:cubicBezTo>
                  <a:lnTo>
                    <a:pt x="6877" y="8010"/>
                  </a:lnTo>
                  <a:cubicBezTo>
                    <a:pt x="7125" y="13055"/>
                    <a:pt x="7284" y="17920"/>
                    <a:pt x="7284" y="23192"/>
                  </a:cubicBezTo>
                  <a:lnTo>
                    <a:pt x="7284" y="57561"/>
                  </a:lnTo>
                  <a:cubicBezTo>
                    <a:pt x="7284" y="58127"/>
                    <a:pt x="6877" y="58511"/>
                    <a:pt x="6334" y="58511"/>
                  </a:cubicBezTo>
                  <a:lnTo>
                    <a:pt x="973" y="58511"/>
                  </a:lnTo>
                  <a:cubicBezTo>
                    <a:pt x="407" y="58511"/>
                    <a:pt x="23" y="58104"/>
                    <a:pt x="23" y="57561"/>
                  </a:cubicBezTo>
                  <a:close/>
                </a:path>
              </a:pathLst>
            </a:custGeom>
            <a:solidFill>
              <a:schemeClr val="bg1"/>
            </a:solidFill>
            <a:ln w="226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6F26535-2110-946A-BB25-6AF35CF5F65F}"/>
                </a:ext>
              </a:extLst>
            </p:cNvPr>
            <p:cNvSpPr/>
            <p:nvPr/>
          </p:nvSpPr>
          <p:spPr>
            <a:xfrm>
              <a:off x="7252094" y="1982941"/>
              <a:ext cx="227567" cy="409319"/>
            </a:xfrm>
            <a:custGeom>
              <a:avLst/>
              <a:gdLst>
                <a:gd name="connsiteX0" fmla="*/ 0 w 32505"/>
                <a:gd name="connsiteY0" fmla="*/ 57561 h 58466"/>
                <a:gd name="connsiteX1" fmla="*/ 0 w 32505"/>
                <a:gd name="connsiteY1" fmla="*/ 950 h 58466"/>
                <a:gd name="connsiteX2" fmla="*/ 950 w 32505"/>
                <a:gd name="connsiteY2" fmla="*/ 0 h 58466"/>
                <a:gd name="connsiteX3" fmla="*/ 31555 w 32505"/>
                <a:gd name="connsiteY3" fmla="*/ 0 h 58466"/>
                <a:gd name="connsiteX4" fmla="*/ 32505 w 32505"/>
                <a:gd name="connsiteY4" fmla="*/ 950 h 58466"/>
                <a:gd name="connsiteX5" fmla="*/ 32505 w 32505"/>
                <a:gd name="connsiteY5" fmla="*/ 5838 h 58466"/>
                <a:gd name="connsiteX6" fmla="*/ 31555 w 32505"/>
                <a:gd name="connsiteY6" fmla="*/ 6788 h 58466"/>
                <a:gd name="connsiteX7" fmla="*/ 7487 w 32505"/>
                <a:gd name="connsiteY7" fmla="*/ 6788 h 58466"/>
                <a:gd name="connsiteX8" fmla="*/ 7487 w 32505"/>
                <a:gd name="connsiteY8" fmla="*/ 25409 h 58466"/>
                <a:gd name="connsiteX9" fmla="*/ 29226 w 32505"/>
                <a:gd name="connsiteY9" fmla="*/ 25409 h 58466"/>
                <a:gd name="connsiteX10" fmla="*/ 30175 w 32505"/>
                <a:gd name="connsiteY10" fmla="*/ 26360 h 58466"/>
                <a:gd name="connsiteX11" fmla="*/ 30175 w 32505"/>
                <a:gd name="connsiteY11" fmla="*/ 31066 h 58466"/>
                <a:gd name="connsiteX12" fmla="*/ 29226 w 32505"/>
                <a:gd name="connsiteY12" fmla="*/ 32016 h 58466"/>
                <a:gd name="connsiteX13" fmla="*/ 7487 w 32505"/>
                <a:gd name="connsiteY13" fmla="*/ 32016 h 58466"/>
                <a:gd name="connsiteX14" fmla="*/ 7487 w 32505"/>
                <a:gd name="connsiteY14" fmla="*/ 51678 h 58466"/>
                <a:gd name="connsiteX15" fmla="*/ 31555 w 32505"/>
                <a:gd name="connsiteY15" fmla="*/ 51678 h 58466"/>
                <a:gd name="connsiteX16" fmla="*/ 32505 w 32505"/>
                <a:gd name="connsiteY16" fmla="*/ 52629 h 58466"/>
                <a:gd name="connsiteX17" fmla="*/ 32505 w 32505"/>
                <a:gd name="connsiteY17" fmla="*/ 57516 h 58466"/>
                <a:gd name="connsiteX18" fmla="*/ 31555 w 32505"/>
                <a:gd name="connsiteY18" fmla="*/ 58466 h 58466"/>
                <a:gd name="connsiteX19" fmla="*/ 950 w 32505"/>
                <a:gd name="connsiteY19" fmla="*/ 58466 h 58466"/>
                <a:gd name="connsiteX20" fmla="*/ 0 w 32505"/>
                <a:gd name="connsiteY20" fmla="*/ 57516 h 5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05" h="58466">
                  <a:moveTo>
                    <a:pt x="0" y="57561"/>
                  </a:moveTo>
                  <a:lnTo>
                    <a:pt x="0" y="950"/>
                  </a:lnTo>
                  <a:cubicBezTo>
                    <a:pt x="0" y="385"/>
                    <a:pt x="407" y="0"/>
                    <a:pt x="950" y="0"/>
                  </a:cubicBezTo>
                  <a:lnTo>
                    <a:pt x="31555" y="0"/>
                  </a:lnTo>
                  <a:cubicBezTo>
                    <a:pt x="32121" y="0"/>
                    <a:pt x="32505" y="407"/>
                    <a:pt x="32505" y="950"/>
                  </a:cubicBezTo>
                  <a:lnTo>
                    <a:pt x="32505" y="5838"/>
                  </a:lnTo>
                  <a:cubicBezTo>
                    <a:pt x="32505" y="6403"/>
                    <a:pt x="32098" y="6788"/>
                    <a:pt x="31555" y="6788"/>
                  </a:cubicBezTo>
                  <a:lnTo>
                    <a:pt x="7487" y="6788"/>
                  </a:lnTo>
                  <a:lnTo>
                    <a:pt x="7487" y="25409"/>
                  </a:lnTo>
                  <a:lnTo>
                    <a:pt x="29226" y="25409"/>
                  </a:lnTo>
                  <a:cubicBezTo>
                    <a:pt x="29791" y="25409"/>
                    <a:pt x="30175" y="25817"/>
                    <a:pt x="30175" y="26360"/>
                  </a:cubicBezTo>
                  <a:lnTo>
                    <a:pt x="30175" y="31066"/>
                  </a:lnTo>
                  <a:cubicBezTo>
                    <a:pt x="30175" y="31631"/>
                    <a:pt x="29768" y="32016"/>
                    <a:pt x="29226" y="32016"/>
                  </a:cubicBezTo>
                  <a:lnTo>
                    <a:pt x="7487" y="32016"/>
                  </a:lnTo>
                  <a:lnTo>
                    <a:pt x="7487" y="51678"/>
                  </a:lnTo>
                  <a:lnTo>
                    <a:pt x="31555" y="51678"/>
                  </a:lnTo>
                  <a:cubicBezTo>
                    <a:pt x="32121" y="51678"/>
                    <a:pt x="32505" y="52086"/>
                    <a:pt x="32505" y="52629"/>
                  </a:cubicBezTo>
                  <a:lnTo>
                    <a:pt x="32505" y="57516"/>
                  </a:lnTo>
                  <a:cubicBezTo>
                    <a:pt x="32505" y="58082"/>
                    <a:pt x="32098" y="58466"/>
                    <a:pt x="31555" y="58466"/>
                  </a:cubicBezTo>
                  <a:lnTo>
                    <a:pt x="950" y="58466"/>
                  </a:lnTo>
                  <a:cubicBezTo>
                    <a:pt x="385" y="58466"/>
                    <a:pt x="0" y="58059"/>
                    <a:pt x="0" y="57516"/>
                  </a:cubicBezTo>
                  <a:close/>
                </a:path>
              </a:pathLst>
            </a:custGeom>
            <a:solidFill>
              <a:schemeClr val="bg1"/>
            </a:solidFill>
            <a:ln w="2260"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FEA3473F-CC66-FE6E-FBCF-3FF90D1DB238}"/>
                </a:ext>
              </a:extLst>
            </p:cNvPr>
            <p:cNvSpPr/>
            <p:nvPr/>
          </p:nvSpPr>
          <p:spPr>
            <a:xfrm>
              <a:off x="7573733" y="1982941"/>
              <a:ext cx="269713" cy="409634"/>
            </a:xfrm>
            <a:custGeom>
              <a:avLst/>
              <a:gdLst>
                <a:gd name="connsiteX0" fmla="*/ 0 w 38525"/>
                <a:gd name="connsiteY0" fmla="*/ 57561 h 58511"/>
                <a:gd name="connsiteX1" fmla="*/ 0 w 38525"/>
                <a:gd name="connsiteY1" fmla="*/ 950 h 58511"/>
                <a:gd name="connsiteX2" fmla="*/ 950 w 38525"/>
                <a:gd name="connsiteY2" fmla="*/ 0 h 58511"/>
                <a:gd name="connsiteX3" fmla="*/ 18616 w 38525"/>
                <a:gd name="connsiteY3" fmla="*/ 0 h 58511"/>
                <a:gd name="connsiteX4" fmla="*/ 36848 w 38525"/>
                <a:gd name="connsiteY4" fmla="*/ 16630 h 58511"/>
                <a:gd name="connsiteX5" fmla="*/ 36848 w 38525"/>
                <a:gd name="connsiteY5" fmla="*/ 18305 h 58511"/>
                <a:gd name="connsiteX6" fmla="*/ 25018 w 38525"/>
                <a:gd name="connsiteY6" fmla="*/ 34369 h 58511"/>
                <a:gd name="connsiteX7" fmla="*/ 38364 w 38525"/>
                <a:gd name="connsiteY7" fmla="*/ 57403 h 58511"/>
                <a:gd name="connsiteX8" fmla="*/ 37640 w 38525"/>
                <a:gd name="connsiteY8" fmla="*/ 58511 h 58511"/>
                <a:gd name="connsiteX9" fmla="*/ 31329 w 38525"/>
                <a:gd name="connsiteY9" fmla="*/ 58511 h 58511"/>
                <a:gd name="connsiteX10" fmla="*/ 30130 w 38525"/>
                <a:gd name="connsiteY10" fmla="*/ 57878 h 58511"/>
                <a:gd name="connsiteX11" fmla="*/ 17350 w 38525"/>
                <a:gd name="connsiteY11" fmla="*/ 35184 h 58511"/>
                <a:gd name="connsiteX12" fmla="*/ 7510 w 38525"/>
                <a:gd name="connsiteY12" fmla="*/ 35184 h 58511"/>
                <a:gd name="connsiteX13" fmla="*/ 7510 w 38525"/>
                <a:gd name="connsiteY13" fmla="*/ 57561 h 58511"/>
                <a:gd name="connsiteX14" fmla="*/ 6560 w 38525"/>
                <a:gd name="connsiteY14" fmla="*/ 58511 h 58511"/>
                <a:gd name="connsiteX15" fmla="*/ 973 w 38525"/>
                <a:gd name="connsiteY15" fmla="*/ 58511 h 58511"/>
                <a:gd name="connsiteX16" fmla="*/ 23 w 38525"/>
                <a:gd name="connsiteY16" fmla="*/ 57561 h 58511"/>
                <a:gd name="connsiteX17" fmla="*/ 18074 w 38525"/>
                <a:gd name="connsiteY17" fmla="*/ 28622 h 58511"/>
                <a:gd name="connsiteX18" fmla="*/ 29338 w 38525"/>
                <a:gd name="connsiteY18" fmla="*/ 18237 h 58511"/>
                <a:gd name="connsiteX19" fmla="*/ 29338 w 38525"/>
                <a:gd name="connsiteY19" fmla="*/ 17038 h 58511"/>
                <a:gd name="connsiteX20" fmla="*/ 18074 w 38525"/>
                <a:gd name="connsiteY20" fmla="*/ 6811 h 58511"/>
                <a:gd name="connsiteX21" fmla="*/ 7532 w 38525"/>
                <a:gd name="connsiteY21" fmla="*/ 6811 h 58511"/>
                <a:gd name="connsiteX22" fmla="*/ 7532 w 38525"/>
                <a:gd name="connsiteY22" fmla="*/ 28645 h 58511"/>
                <a:gd name="connsiteX23" fmla="*/ 18074 w 38525"/>
                <a:gd name="connsiteY23" fmla="*/ 28645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25" h="58511">
                  <a:moveTo>
                    <a:pt x="0" y="57561"/>
                  </a:moveTo>
                  <a:lnTo>
                    <a:pt x="0" y="950"/>
                  </a:lnTo>
                  <a:cubicBezTo>
                    <a:pt x="0" y="385"/>
                    <a:pt x="407" y="0"/>
                    <a:pt x="950" y="0"/>
                  </a:cubicBezTo>
                  <a:lnTo>
                    <a:pt x="18616" y="0"/>
                  </a:lnTo>
                  <a:cubicBezTo>
                    <a:pt x="31171" y="0"/>
                    <a:pt x="36848" y="6878"/>
                    <a:pt x="36848" y="16630"/>
                  </a:cubicBezTo>
                  <a:lnTo>
                    <a:pt x="36848" y="18305"/>
                  </a:lnTo>
                  <a:cubicBezTo>
                    <a:pt x="36848" y="26450"/>
                    <a:pt x="32935" y="32378"/>
                    <a:pt x="25018" y="34369"/>
                  </a:cubicBezTo>
                  <a:lnTo>
                    <a:pt x="38364" y="57403"/>
                  </a:lnTo>
                  <a:cubicBezTo>
                    <a:pt x="38771" y="58127"/>
                    <a:pt x="38364" y="58511"/>
                    <a:pt x="37640" y="58511"/>
                  </a:cubicBezTo>
                  <a:lnTo>
                    <a:pt x="31329" y="58511"/>
                  </a:lnTo>
                  <a:cubicBezTo>
                    <a:pt x="30854" y="58511"/>
                    <a:pt x="30379" y="58262"/>
                    <a:pt x="30130" y="57878"/>
                  </a:cubicBezTo>
                  <a:lnTo>
                    <a:pt x="17350" y="35184"/>
                  </a:lnTo>
                  <a:lnTo>
                    <a:pt x="7510" y="35184"/>
                  </a:lnTo>
                  <a:lnTo>
                    <a:pt x="7510" y="57561"/>
                  </a:lnTo>
                  <a:cubicBezTo>
                    <a:pt x="7510" y="58127"/>
                    <a:pt x="7103" y="58511"/>
                    <a:pt x="6560" y="58511"/>
                  </a:cubicBezTo>
                  <a:lnTo>
                    <a:pt x="973" y="58511"/>
                  </a:lnTo>
                  <a:cubicBezTo>
                    <a:pt x="407" y="58511"/>
                    <a:pt x="23" y="58104"/>
                    <a:pt x="23" y="57561"/>
                  </a:cubicBezTo>
                  <a:close/>
                  <a:moveTo>
                    <a:pt x="18074" y="28622"/>
                  </a:moveTo>
                  <a:cubicBezTo>
                    <a:pt x="26217" y="28622"/>
                    <a:pt x="29338" y="24866"/>
                    <a:pt x="29338" y="18237"/>
                  </a:cubicBezTo>
                  <a:lnTo>
                    <a:pt x="29338" y="17038"/>
                  </a:lnTo>
                  <a:cubicBezTo>
                    <a:pt x="29338" y="10725"/>
                    <a:pt x="26217" y="6811"/>
                    <a:pt x="18074" y="6811"/>
                  </a:cubicBezTo>
                  <a:lnTo>
                    <a:pt x="7532" y="6811"/>
                  </a:lnTo>
                  <a:lnTo>
                    <a:pt x="7532" y="28645"/>
                  </a:lnTo>
                  <a:lnTo>
                    <a:pt x="18074" y="28645"/>
                  </a:lnTo>
                  <a:close/>
                </a:path>
              </a:pathLst>
            </a:custGeom>
            <a:solidFill>
              <a:schemeClr val="bg1"/>
            </a:solidFill>
            <a:ln w="226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9C6AC849-F742-6187-299E-1F1B873DFDD6}"/>
                </a:ext>
              </a:extLst>
            </p:cNvPr>
            <p:cNvSpPr/>
            <p:nvPr/>
          </p:nvSpPr>
          <p:spPr>
            <a:xfrm>
              <a:off x="7888357" y="1982941"/>
              <a:ext cx="324887" cy="409634"/>
            </a:xfrm>
            <a:custGeom>
              <a:avLst/>
              <a:gdLst>
                <a:gd name="connsiteX0" fmla="*/ 51 w 46406"/>
                <a:gd name="connsiteY0" fmla="*/ 57403 h 58511"/>
                <a:gd name="connsiteX1" fmla="*/ 18193 w 46406"/>
                <a:gd name="connsiteY1" fmla="*/ 792 h 58511"/>
                <a:gd name="connsiteX2" fmla="*/ 19233 w 46406"/>
                <a:gd name="connsiteY2" fmla="*/ 0 h 58511"/>
                <a:gd name="connsiteX3" fmla="*/ 26992 w 46406"/>
                <a:gd name="connsiteY3" fmla="*/ 0 h 58511"/>
                <a:gd name="connsiteX4" fmla="*/ 28033 w 46406"/>
                <a:gd name="connsiteY4" fmla="*/ 792 h 58511"/>
                <a:gd name="connsiteX5" fmla="*/ 46333 w 46406"/>
                <a:gd name="connsiteY5" fmla="*/ 57403 h 58511"/>
                <a:gd name="connsiteX6" fmla="*/ 45541 w 46406"/>
                <a:gd name="connsiteY6" fmla="*/ 58511 h 58511"/>
                <a:gd name="connsiteX7" fmla="*/ 39705 w 46406"/>
                <a:gd name="connsiteY7" fmla="*/ 58511 h 58511"/>
                <a:gd name="connsiteX8" fmla="*/ 38664 w 46406"/>
                <a:gd name="connsiteY8" fmla="*/ 57719 h 58511"/>
                <a:gd name="connsiteX9" fmla="*/ 33710 w 46406"/>
                <a:gd name="connsiteY9" fmla="*/ 42130 h 58511"/>
                <a:gd name="connsiteX10" fmla="*/ 12447 w 46406"/>
                <a:gd name="connsiteY10" fmla="*/ 42130 h 58511"/>
                <a:gd name="connsiteX11" fmla="*/ 7493 w 46406"/>
                <a:gd name="connsiteY11" fmla="*/ 57719 h 58511"/>
                <a:gd name="connsiteX12" fmla="*/ 6453 w 46406"/>
                <a:gd name="connsiteY12" fmla="*/ 58511 h 58511"/>
                <a:gd name="connsiteX13" fmla="*/ 866 w 46406"/>
                <a:gd name="connsiteY13" fmla="*/ 58511 h 58511"/>
                <a:gd name="connsiteX14" fmla="*/ 74 w 46406"/>
                <a:gd name="connsiteY14" fmla="*/ 57403 h 58511"/>
                <a:gd name="connsiteX15" fmla="*/ 31539 w 46406"/>
                <a:gd name="connsiteY15" fmla="*/ 35342 h 58511"/>
                <a:gd name="connsiteX16" fmla="*/ 28100 w 46406"/>
                <a:gd name="connsiteY16" fmla="*/ 24640 h 58511"/>
                <a:gd name="connsiteX17" fmla="*/ 23215 w 46406"/>
                <a:gd name="connsiteY17" fmla="*/ 7851 h 58511"/>
                <a:gd name="connsiteX18" fmla="*/ 22966 w 46406"/>
                <a:gd name="connsiteY18" fmla="*/ 7851 h 58511"/>
                <a:gd name="connsiteX19" fmla="*/ 17921 w 46406"/>
                <a:gd name="connsiteY19" fmla="*/ 24798 h 58511"/>
                <a:gd name="connsiteX20" fmla="*/ 14574 w 46406"/>
                <a:gd name="connsiteY20" fmla="*/ 35342 h 58511"/>
                <a:gd name="connsiteX21" fmla="*/ 31516 w 46406"/>
                <a:gd name="connsiteY21" fmla="*/ 35342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406" h="58511">
                  <a:moveTo>
                    <a:pt x="51" y="57403"/>
                  </a:moveTo>
                  <a:lnTo>
                    <a:pt x="18193" y="792"/>
                  </a:lnTo>
                  <a:cubicBezTo>
                    <a:pt x="18351" y="317"/>
                    <a:pt x="18668" y="0"/>
                    <a:pt x="19233" y="0"/>
                  </a:cubicBezTo>
                  <a:lnTo>
                    <a:pt x="26992" y="0"/>
                  </a:lnTo>
                  <a:cubicBezTo>
                    <a:pt x="27558" y="0"/>
                    <a:pt x="27874" y="317"/>
                    <a:pt x="28033" y="792"/>
                  </a:cubicBezTo>
                  <a:lnTo>
                    <a:pt x="46333" y="57403"/>
                  </a:lnTo>
                  <a:cubicBezTo>
                    <a:pt x="46581" y="58127"/>
                    <a:pt x="46174" y="58511"/>
                    <a:pt x="45541" y="58511"/>
                  </a:cubicBezTo>
                  <a:lnTo>
                    <a:pt x="39705" y="58511"/>
                  </a:lnTo>
                  <a:cubicBezTo>
                    <a:pt x="39139" y="58511"/>
                    <a:pt x="38822" y="58195"/>
                    <a:pt x="38664" y="57719"/>
                  </a:cubicBezTo>
                  <a:lnTo>
                    <a:pt x="33710" y="42130"/>
                  </a:lnTo>
                  <a:lnTo>
                    <a:pt x="12447" y="42130"/>
                  </a:lnTo>
                  <a:lnTo>
                    <a:pt x="7493" y="57719"/>
                  </a:lnTo>
                  <a:cubicBezTo>
                    <a:pt x="7335" y="58195"/>
                    <a:pt x="7018" y="58511"/>
                    <a:pt x="6453" y="58511"/>
                  </a:cubicBezTo>
                  <a:lnTo>
                    <a:pt x="866" y="58511"/>
                  </a:lnTo>
                  <a:cubicBezTo>
                    <a:pt x="232" y="58511"/>
                    <a:pt x="-175" y="58104"/>
                    <a:pt x="74" y="57403"/>
                  </a:cubicBezTo>
                  <a:close/>
                  <a:moveTo>
                    <a:pt x="31539" y="35342"/>
                  </a:moveTo>
                  <a:lnTo>
                    <a:pt x="28100" y="24640"/>
                  </a:lnTo>
                  <a:cubicBezTo>
                    <a:pt x="25386" y="16087"/>
                    <a:pt x="25612" y="16155"/>
                    <a:pt x="23215" y="7851"/>
                  </a:cubicBezTo>
                  <a:lnTo>
                    <a:pt x="22966" y="7851"/>
                  </a:lnTo>
                  <a:cubicBezTo>
                    <a:pt x="21608" y="12807"/>
                    <a:pt x="19686" y="19210"/>
                    <a:pt x="17921" y="24798"/>
                  </a:cubicBezTo>
                  <a:lnTo>
                    <a:pt x="14574" y="35342"/>
                  </a:lnTo>
                  <a:lnTo>
                    <a:pt x="31516" y="35342"/>
                  </a:lnTo>
                  <a:close/>
                </a:path>
              </a:pathLst>
            </a:custGeom>
            <a:solidFill>
              <a:schemeClr val="bg1"/>
            </a:solidFill>
            <a:ln w="226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42675744-E268-3FCB-16C9-ACCB71DA5EC7}"/>
                </a:ext>
              </a:extLst>
            </p:cNvPr>
            <p:cNvSpPr/>
            <p:nvPr/>
          </p:nvSpPr>
          <p:spPr>
            <a:xfrm>
              <a:off x="8284150" y="1982941"/>
              <a:ext cx="225984" cy="409634"/>
            </a:xfrm>
            <a:custGeom>
              <a:avLst/>
              <a:gdLst>
                <a:gd name="connsiteX0" fmla="*/ 23 w 32279"/>
                <a:gd name="connsiteY0" fmla="*/ 57561 h 58511"/>
                <a:gd name="connsiteX1" fmla="*/ 23 w 32279"/>
                <a:gd name="connsiteY1" fmla="*/ 950 h 58511"/>
                <a:gd name="connsiteX2" fmla="*/ 973 w 32279"/>
                <a:gd name="connsiteY2" fmla="*/ 0 h 58511"/>
                <a:gd name="connsiteX3" fmla="*/ 6560 w 32279"/>
                <a:gd name="connsiteY3" fmla="*/ 0 h 58511"/>
                <a:gd name="connsiteX4" fmla="*/ 7510 w 32279"/>
                <a:gd name="connsiteY4" fmla="*/ 950 h 58511"/>
                <a:gd name="connsiteX5" fmla="*/ 7510 w 32279"/>
                <a:gd name="connsiteY5" fmla="*/ 51565 h 58511"/>
                <a:gd name="connsiteX6" fmla="*/ 31329 w 32279"/>
                <a:gd name="connsiteY6" fmla="*/ 51565 h 58511"/>
                <a:gd name="connsiteX7" fmla="*/ 32279 w 32279"/>
                <a:gd name="connsiteY7" fmla="*/ 52515 h 58511"/>
                <a:gd name="connsiteX8" fmla="*/ 32279 w 32279"/>
                <a:gd name="connsiteY8" fmla="*/ 57561 h 58511"/>
                <a:gd name="connsiteX9" fmla="*/ 31329 w 32279"/>
                <a:gd name="connsiteY9" fmla="*/ 58511 h 58511"/>
                <a:gd name="connsiteX10" fmla="*/ 950 w 32279"/>
                <a:gd name="connsiteY10" fmla="*/ 58511 h 58511"/>
                <a:gd name="connsiteX11" fmla="*/ 0 w 32279"/>
                <a:gd name="connsiteY11"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79" h="58511">
                  <a:moveTo>
                    <a:pt x="23" y="57561"/>
                  </a:moveTo>
                  <a:lnTo>
                    <a:pt x="23" y="950"/>
                  </a:lnTo>
                  <a:cubicBezTo>
                    <a:pt x="23" y="385"/>
                    <a:pt x="430" y="0"/>
                    <a:pt x="973" y="0"/>
                  </a:cubicBezTo>
                  <a:lnTo>
                    <a:pt x="6560" y="0"/>
                  </a:lnTo>
                  <a:cubicBezTo>
                    <a:pt x="7125" y="0"/>
                    <a:pt x="7510" y="407"/>
                    <a:pt x="7510" y="950"/>
                  </a:cubicBezTo>
                  <a:lnTo>
                    <a:pt x="7510" y="51565"/>
                  </a:lnTo>
                  <a:lnTo>
                    <a:pt x="31329" y="51565"/>
                  </a:lnTo>
                  <a:cubicBezTo>
                    <a:pt x="31895" y="51565"/>
                    <a:pt x="32279" y="51972"/>
                    <a:pt x="32279" y="52515"/>
                  </a:cubicBezTo>
                  <a:lnTo>
                    <a:pt x="32279" y="57561"/>
                  </a:lnTo>
                  <a:cubicBezTo>
                    <a:pt x="32279" y="58127"/>
                    <a:pt x="31872" y="58511"/>
                    <a:pt x="31329" y="58511"/>
                  </a:cubicBezTo>
                  <a:lnTo>
                    <a:pt x="950" y="58511"/>
                  </a:lnTo>
                  <a:cubicBezTo>
                    <a:pt x="384" y="58511"/>
                    <a:pt x="0" y="58104"/>
                    <a:pt x="0" y="57561"/>
                  </a:cubicBezTo>
                  <a:close/>
                </a:path>
              </a:pathLst>
            </a:custGeom>
            <a:solidFill>
              <a:schemeClr val="bg1"/>
            </a:solidFill>
            <a:ln w="226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8AA7E103-BAAD-C7CD-B2B0-E2C97CD9A4D4}"/>
                </a:ext>
              </a:extLst>
            </p:cNvPr>
            <p:cNvSpPr/>
            <p:nvPr/>
          </p:nvSpPr>
          <p:spPr>
            <a:xfrm>
              <a:off x="8553876" y="1977081"/>
              <a:ext cx="268389" cy="421991"/>
            </a:xfrm>
            <a:custGeom>
              <a:avLst/>
              <a:gdLst>
                <a:gd name="connsiteX0" fmla="*/ 18 w 38336"/>
                <a:gd name="connsiteY0" fmla="*/ 46497 h 60276"/>
                <a:gd name="connsiteX1" fmla="*/ 742 w 38336"/>
                <a:gd name="connsiteY1" fmla="*/ 45388 h 60276"/>
                <a:gd name="connsiteX2" fmla="*/ 5786 w 38336"/>
                <a:gd name="connsiteY2" fmla="*/ 44030 h 60276"/>
                <a:gd name="connsiteX3" fmla="*/ 6895 w 38336"/>
                <a:gd name="connsiteY3" fmla="*/ 44664 h 60276"/>
                <a:gd name="connsiteX4" fmla="*/ 19449 w 38336"/>
                <a:gd name="connsiteY4" fmla="*/ 53466 h 60276"/>
                <a:gd name="connsiteX5" fmla="*/ 30804 w 38336"/>
                <a:gd name="connsiteY5" fmla="*/ 44438 h 60276"/>
                <a:gd name="connsiteX6" fmla="*/ 17458 w 38336"/>
                <a:gd name="connsiteY6" fmla="*/ 32695 h 60276"/>
                <a:gd name="connsiteX7" fmla="*/ 1556 w 38336"/>
                <a:gd name="connsiteY7" fmla="*/ 15838 h 60276"/>
                <a:gd name="connsiteX8" fmla="*/ 19788 w 38336"/>
                <a:gd name="connsiteY8" fmla="*/ 0 h 60276"/>
                <a:gd name="connsiteX9" fmla="*/ 37862 w 38336"/>
                <a:gd name="connsiteY9" fmla="*/ 12399 h 60276"/>
                <a:gd name="connsiteX10" fmla="*/ 37296 w 38336"/>
                <a:gd name="connsiteY10" fmla="*/ 13598 h 60276"/>
                <a:gd name="connsiteX11" fmla="*/ 32342 w 38336"/>
                <a:gd name="connsiteY11" fmla="*/ 15114 h 60276"/>
                <a:gd name="connsiteX12" fmla="*/ 31143 w 38336"/>
                <a:gd name="connsiteY12" fmla="*/ 14549 h 60276"/>
                <a:gd name="connsiteX13" fmla="*/ 19879 w 38336"/>
                <a:gd name="connsiteY13" fmla="*/ 6788 h 60276"/>
                <a:gd name="connsiteX14" fmla="*/ 8998 w 38336"/>
                <a:gd name="connsiteY14" fmla="*/ 15341 h 60276"/>
                <a:gd name="connsiteX15" fmla="*/ 22276 w 38336"/>
                <a:gd name="connsiteY15" fmla="*/ 26450 h 60276"/>
                <a:gd name="connsiteX16" fmla="*/ 38337 w 38336"/>
                <a:gd name="connsiteY16" fmla="*/ 43804 h 60276"/>
                <a:gd name="connsiteX17" fmla="*/ 19562 w 38336"/>
                <a:gd name="connsiteY17" fmla="*/ 60276 h 60276"/>
                <a:gd name="connsiteX18" fmla="*/ 63 w 38336"/>
                <a:gd name="connsiteY18" fmla="*/ 46520 h 6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336" h="60276">
                  <a:moveTo>
                    <a:pt x="18" y="46497"/>
                  </a:moveTo>
                  <a:cubicBezTo>
                    <a:pt x="-72" y="45931"/>
                    <a:pt x="176" y="45547"/>
                    <a:pt x="742" y="45388"/>
                  </a:cubicBezTo>
                  <a:lnTo>
                    <a:pt x="5786" y="44030"/>
                  </a:lnTo>
                  <a:cubicBezTo>
                    <a:pt x="6352" y="43872"/>
                    <a:pt x="6736" y="44121"/>
                    <a:pt x="6895" y="44664"/>
                  </a:cubicBezTo>
                  <a:cubicBezTo>
                    <a:pt x="8727" y="50343"/>
                    <a:pt x="12889" y="53466"/>
                    <a:pt x="19449" y="53466"/>
                  </a:cubicBezTo>
                  <a:cubicBezTo>
                    <a:pt x="26642" y="53466"/>
                    <a:pt x="30804" y="50026"/>
                    <a:pt x="30804" y="44438"/>
                  </a:cubicBezTo>
                  <a:cubicBezTo>
                    <a:pt x="30804" y="39234"/>
                    <a:pt x="28158" y="36609"/>
                    <a:pt x="17458" y="32695"/>
                  </a:cubicBezTo>
                  <a:cubicBezTo>
                    <a:pt x="5786" y="28373"/>
                    <a:pt x="1556" y="23418"/>
                    <a:pt x="1556" y="15838"/>
                  </a:cubicBezTo>
                  <a:cubicBezTo>
                    <a:pt x="1556" y="6087"/>
                    <a:pt x="8750" y="0"/>
                    <a:pt x="19788" y="0"/>
                  </a:cubicBezTo>
                  <a:cubicBezTo>
                    <a:pt x="28814" y="0"/>
                    <a:pt x="35125" y="4231"/>
                    <a:pt x="37862" y="12399"/>
                  </a:cubicBezTo>
                  <a:cubicBezTo>
                    <a:pt x="38111" y="12965"/>
                    <a:pt x="37952" y="13350"/>
                    <a:pt x="37296" y="13598"/>
                  </a:cubicBezTo>
                  <a:lnTo>
                    <a:pt x="32342" y="15114"/>
                  </a:lnTo>
                  <a:cubicBezTo>
                    <a:pt x="31777" y="15273"/>
                    <a:pt x="31393" y="15114"/>
                    <a:pt x="31143" y="14549"/>
                  </a:cubicBezTo>
                  <a:cubicBezTo>
                    <a:pt x="29063" y="9277"/>
                    <a:pt x="25466" y="6788"/>
                    <a:pt x="19879" y="6788"/>
                  </a:cubicBezTo>
                  <a:cubicBezTo>
                    <a:pt x="13319" y="6788"/>
                    <a:pt x="8998" y="9820"/>
                    <a:pt x="8998" y="15341"/>
                  </a:cubicBezTo>
                  <a:cubicBezTo>
                    <a:pt x="8998" y="19889"/>
                    <a:pt x="11645" y="22626"/>
                    <a:pt x="22276" y="26450"/>
                  </a:cubicBezTo>
                  <a:cubicBezTo>
                    <a:pt x="34265" y="30840"/>
                    <a:pt x="38337" y="35727"/>
                    <a:pt x="38337" y="43804"/>
                  </a:cubicBezTo>
                  <a:cubicBezTo>
                    <a:pt x="38337" y="54031"/>
                    <a:pt x="31143" y="60276"/>
                    <a:pt x="19562" y="60276"/>
                  </a:cubicBezTo>
                  <a:cubicBezTo>
                    <a:pt x="9089" y="60276"/>
                    <a:pt x="2212" y="55389"/>
                    <a:pt x="63" y="46520"/>
                  </a:cubicBezTo>
                  <a:close/>
                </a:path>
              </a:pathLst>
            </a:custGeom>
            <a:solidFill>
              <a:schemeClr val="bg1"/>
            </a:solidFill>
            <a:ln w="226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21D3A2FE-520B-9992-29FE-9F27FF22DE0A}"/>
                </a:ext>
              </a:extLst>
            </p:cNvPr>
            <p:cNvSpPr/>
            <p:nvPr/>
          </p:nvSpPr>
          <p:spPr>
            <a:xfrm>
              <a:off x="6183452" y="2538944"/>
              <a:ext cx="289168" cy="409634"/>
            </a:xfrm>
            <a:custGeom>
              <a:avLst/>
              <a:gdLst>
                <a:gd name="connsiteX0" fmla="*/ 16852 w 41304"/>
                <a:gd name="connsiteY0" fmla="*/ 57561 h 58511"/>
                <a:gd name="connsiteX1" fmla="*/ 16852 w 41304"/>
                <a:gd name="connsiteY1" fmla="*/ 6946 h 58511"/>
                <a:gd name="connsiteX2" fmla="*/ 950 w 41304"/>
                <a:gd name="connsiteY2" fmla="*/ 6946 h 58511"/>
                <a:gd name="connsiteX3" fmla="*/ 0 w 41304"/>
                <a:gd name="connsiteY3" fmla="*/ 5996 h 58511"/>
                <a:gd name="connsiteX4" fmla="*/ 0 w 41304"/>
                <a:gd name="connsiteY4" fmla="*/ 950 h 58511"/>
                <a:gd name="connsiteX5" fmla="*/ 950 w 41304"/>
                <a:gd name="connsiteY5" fmla="*/ 0 h 58511"/>
                <a:gd name="connsiteX6" fmla="*/ 40355 w 41304"/>
                <a:gd name="connsiteY6" fmla="*/ 0 h 58511"/>
                <a:gd name="connsiteX7" fmla="*/ 41305 w 41304"/>
                <a:gd name="connsiteY7" fmla="*/ 950 h 58511"/>
                <a:gd name="connsiteX8" fmla="*/ 41305 w 41304"/>
                <a:gd name="connsiteY8" fmla="*/ 5996 h 58511"/>
                <a:gd name="connsiteX9" fmla="*/ 40355 w 41304"/>
                <a:gd name="connsiteY9" fmla="*/ 6946 h 58511"/>
                <a:gd name="connsiteX10" fmla="*/ 24362 w 41304"/>
                <a:gd name="connsiteY10" fmla="*/ 6946 h 58511"/>
                <a:gd name="connsiteX11" fmla="*/ 24362 w 41304"/>
                <a:gd name="connsiteY11" fmla="*/ 57561 h 58511"/>
                <a:gd name="connsiteX12" fmla="*/ 23412 w 41304"/>
                <a:gd name="connsiteY12" fmla="*/ 58511 h 58511"/>
                <a:gd name="connsiteX13" fmla="*/ 17825 w 41304"/>
                <a:gd name="connsiteY13" fmla="*/ 58511 h 58511"/>
                <a:gd name="connsiteX14" fmla="*/ 16875 w 41304"/>
                <a:gd name="connsiteY14"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04" h="58511">
                  <a:moveTo>
                    <a:pt x="16852" y="57561"/>
                  </a:moveTo>
                  <a:lnTo>
                    <a:pt x="16852" y="6946"/>
                  </a:lnTo>
                  <a:lnTo>
                    <a:pt x="950" y="6946"/>
                  </a:lnTo>
                  <a:cubicBezTo>
                    <a:pt x="385" y="6946"/>
                    <a:pt x="0" y="6539"/>
                    <a:pt x="0" y="5996"/>
                  </a:cubicBezTo>
                  <a:lnTo>
                    <a:pt x="0" y="950"/>
                  </a:lnTo>
                  <a:cubicBezTo>
                    <a:pt x="0" y="385"/>
                    <a:pt x="407" y="0"/>
                    <a:pt x="950" y="0"/>
                  </a:cubicBezTo>
                  <a:lnTo>
                    <a:pt x="40355" y="0"/>
                  </a:lnTo>
                  <a:cubicBezTo>
                    <a:pt x="40920" y="0"/>
                    <a:pt x="41305" y="407"/>
                    <a:pt x="41305" y="950"/>
                  </a:cubicBezTo>
                  <a:lnTo>
                    <a:pt x="41305" y="5996"/>
                  </a:lnTo>
                  <a:cubicBezTo>
                    <a:pt x="41305" y="6562"/>
                    <a:pt x="40897" y="6946"/>
                    <a:pt x="40355" y="6946"/>
                  </a:cubicBezTo>
                  <a:lnTo>
                    <a:pt x="24362" y="6946"/>
                  </a:lnTo>
                  <a:lnTo>
                    <a:pt x="24362" y="57561"/>
                  </a:lnTo>
                  <a:cubicBezTo>
                    <a:pt x="24362" y="58127"/>
                    <a:pt x="23955" y="58511"/>
                    <a:pt x="23412" y="58511"/>
                  </a:cubicBezTo>
                  <a:lnTo>
                    <a:pt x="17825" y="58511"/>
                  </a:lnTo>
                  <a:cubicBezTo>
                    <a:pt x="17259" y="58511"/>
                    <a:pt x="16875" y="58104"/>
                    <a:pt x="16875" y="57561"/>
                  </a:cubicBezTo>
                  <a:close/>
                </a:path>
              </a:pathLst>
            </a:custGeom>
            <a:solidFill>
              <a:schemeClr val="bg1"/>
            </a:solidFill>
            <a:ln w="226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AFD2F0A-72DA-9735-6CE8-8B7C339CF211}"/>
                </a:ext>
              </a:extLst>
            </p:cNvPr>
            <p:cNvSpPr/>
            <p:nvPr/>
          </p:nvSpPr>
          <p:spPr>
            <a:xfrm>
              <a:off x="6543099" y="2538944"/>
              <a:ext cx="227567" cy="409319"/>
            </a:xfrm>
            <a:custGeom>
              <a:avLst/>
              <a:gdLst>
                <a:gd name="connsiteX0" fmla="*/ 0 w 32505"/>
                <a:gd name="connsiteY0" fmla="*/ 57561 h 58466"/>
                <a:gd name="connsiteX1" fmla="*/ 0 w 32505"/>
                <a:gd name="connsiteY1" fmla="*/ 950 h 58466"/>
                <a:gd name="connsiteX2" fmla="*/ 950 w 32505"/>
                <a:gd name="connsiteY2" fmla="*/ 0 h 58466"/>
                <a:gd name="connsiteX3" fmla="*/ 31555 w 32505"/>
                <a:gd name="connsiteY3" fmla="*/ 0 h 58466"/>
                <a:gd name="connsiteX4" fmla="*/ 32505 w 32505"/>
                <a:gd name="connsiteY4" fmla="*/ 950 h 58466"/>
                <a:gd name="connsiteX5" fmla="*/ 32505 w 32505"/>
                <a:gd name="connsiteY5" fmla="*/ 5838 h 58466"/>
                <a:gd name="connsiteX6" fmla="*/ 31555 w 32505"/>
                <a:gd name="connsiteY6" fmla="*/ 6788 h 58466"/>
                <a:gd name="connsiteX7" fmla="*/ 7487 w 32505"/>
                <a:gd name="connsiteY7" fmla="*/ 6788 h 58466"/>
                <a:gd name="connsiteX8" fmla="*/ 7487 w 32505"/>
                <a:gd name="connsiteY8" fmla="*/ 25409 h 58466"/>
                <a:gd name="connsiteX9" fmla="*/ 29226 w 32505"/>
                <a:gd name="connsiteY9" fmla="*/ 25409 h 58466"/>
                <a:gd name="connsiteX10" fmla="*/ 30176 w 32505"/>
                <a:gd name="connsiteY10" fmla="*/ 26360 h 58466"/>
                <a:gd name="connsiteX11" fmla="*/ 30176 w 32505"/>
                <a:gd name="connsiteY11" fmla="*/ 31066 h 58466"/>
                <a:gd name="connsiteX12" fmla="*/ 29226 w 32505"/>
                <a:gd name="connsiteY12" fmla="*/ 32016 h 58466"/>
                <a:gd name="connsiteX13" fmla="*/ 7487 w 32505"/>
                <a:gd name="connsiteY13" fmla="*/ 32016 h 58466"/>
                <a:gd name="connsiteX14" fmla="*/ 7487 w 32505"/>
                <a:gd name="connsiteY14" fmla="*/ 51678 h 58466"/>
                <a:gd name="connsiteX15" fmla="*/ 31555 w 32505"/>
                <a:gd name="connsiteY15" fmla="*/ 51678 h 58466"/>
                <a:gd name="connsiteX16" fmla="*/ 32505 w 32505"/>
                <a:gd name="connsiteY16" fmla="*/ 52629 h 58466"/>
                <a:gd name="connsiteX17" fmla="*/ 32505 w 32505"/>
                <a:gd name="connsiteY17" fmla="*/ 57516 h 58466"/>
                <a:gd name="connsiteX18" fmla="*/ 31555 w 32505"/>
                <a:gd name="connsiteY18" fmla="*/ 58466 h 58466"/>
                <a:gd name="connsiteX19" fmla="*/ 950 w 32505"/>
                <a:gd name="connsiteY19" fmla="*/ 58466 h 58466"/>
                <a:gd name="connsiteX20" fmla="*/ 0 w 32505"/>
                <a:gd name="connsiteY20" fmla="*/ 57516 h 5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05" h="58466">
                  <a:moveTo>
                    <a:pt x="0" y="57561"/>
                  </a:moveTo>
                  <a:lnTo>
                    <a:pt x="0" y="950"/>
                  </a:lnTo>
                  <a:cubicBezTo>
                    <a:pt x="0" y="385"/>
                    <a:pt x="407" y="0"/>
                    <a:pt x="950" y="0"/>
                  </a:cubicBezTo>
                  <a:lnTo>
                    <a:pt x="31555" y="0"/>
                  </a:lnTo>
                  <a:cubicBezTo>
                    <a:pt x="32121" y="0"/>
                    <a:pt x="32505" y="407"/>
                    <a:pt x="32505" y="950"/>
                  </a:cubicBezTo>
                  <a:lnTo>
                    <a:pt x="32505" y="5838"/>
                  </a:lnTo>
                  <a:cubicBezTo>
                    <a:pt x="32505" y="6403"/>
                    <a:pt x="32098" y="6788"/>
                    <a:pt x="31555" y="6788"/>
                  </a:cubicBezTo>
                  <a:lnTo>
                    <a:pt x="7487" y="6788"/>
                  </a:lnTo>
                  <a:lnTo>
                    <a:pt x="7487" y="25409"/>
                  </a:lnTo>
                  <a:lnTo>
                    <a:pt x="29226" y="25409"/>
                  </a:lnTo>
                  <a:cubicBezTo>
                    <a:pt x="29791" y="25409"/>
                    <a:pt x="30176" y="25817"/>
                    <a:pt x="30176" y="26360"/>
                  </a:cubicBezTo>
                  <a:lnTo>
                    <a:pt x="30176" y="31066"/>
                  </a:lnTo>
                  <a:cubicBezTo>
                    <a:pt x="30176" y="31632"/>
                    <a:pt x="29768" y="32016"/>
                    <a:pt x="29226" y="32016"/>
                  </a:cubicBezTo>
                  <a:lnTo>
                    <a:pt x="7487" y="32016"/>
                  </a:lnTo>
                  <a:lnTo>
                    <a:pt x="7487" y="51678"/>
                  </a:lnTo>
                  <a:lnTo>
                    <a:pt x="31555" y="51678"/>
                  </a:lnTo>
                  <a:cubicBezTo>
                    <a:pt x="32121" y="51678"/>
                    <a:pt x="32505" y="52086"/>
                    <a:pt x="32505" y="52629"/>
                  </a:cubicBezTo>
                  <a:lnTo>
                    <a:pt x="32505" y="57516"/>
                  </a:lnTo>
                  <a:cubicBezTo>
                    <a:pt x="32505" y="58082"/>
                    <a:pt x="32098" y="58466"/>
                    <a:pt x="31555" y="58466"/>
                  </a:cubicBezTo>
                  <a:lnTo>
                    <a:pt x="950" y="58466"/>
                  </a:lnTo>
                  <a:cubicBezTo>
                    <a:pt x="385" y="58466"/>
                    <a:pt x="0" y="58059"/>
                    <a:pt x="0" y="57516"/>
                  </a:cubicBezTo>
                  <a:close/>
                </a:path>
              </a:pathLst>
            </a:custGeom>
            <a:solidFill>
              <a:schemeClr val="bg1"/>
            </a:solidFill>
            <a:ln w="226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C8C78F8-A2B6-1637-6D69-15D28DC7F698}"/>
                </a:ext>
              </a:extLst>
            </p:cNvPr>
            <p:cNvSpPr/>
            <p:nvPr/>
          </p:nvSpPr>
          <p:spPr>
            <a:xfrm>
              <a:off x="6850798" y="2532762"/>
              <a:ext cx="273752" cy="421991"/>
            </a:xfrm>
            <a:custGeom>
              <a:avLst/>
              <a:gdLst>
                <a:gd name="connsiteX0" fmla="*/ 0 w 39102"/>
                <a:gd name="connsiteY0" fmla="*/ 39822 h 60276"/>
                <a:gd name="connsiteX1" fmla="*/ 0 w 39102"/>
                <a:gd name="connsiteY1" fmla="*/ 20477 h 60276"/>
                <a:gd name="connsiteX2" fmla="*/ 19815 w 39102"/>
                <a:gd name="connsiteY2" fmla="*/ 0 h 60276"/>
                <a:gd name="connsiteX3" fmla="*/ 38590 w 39102"/>
                <a:gd name="connsiteY3" fmla="*/ 13825 h 60276"/>
                <a:gd name="connsiteX4" fmla="*/ 37957 w 39102"/>
                <a:gd name="connsiteY4" fmla="*/ 15024 h 60276"/>
                <a:gd name="connsiteX5" fmla="*/ 32845 w 39102"/>
                <a:gd name="connsiteY5" fmla="*/ 16630 h 60276"/>
                <a:gd name="connsiteX6" fmla="*/ 31646 w 39102"/>
                <a:gd name="connsiteY6" fmla="*/ 15997 h 60276"/>
                <a:gd name="connsiteX7" fmla="*/ 19906 w 39102"/>
                <a:gd name="connsiteY7" fmla="*/ 6969 h 60276"/>
                <a:gd name="connsiteX8" fmla="*/ 7510 w 39102"/>
                <a:gd name="connsiteY8" fmla="*/ 20635 h 60276"/>
                <a:gd name="connsiteX9" fmla="*/ 7510 w 39102"/>
                <a:gd name="connsiteY9" fmla="*/ 39664 h 60276"/>
                <a:gd name="connsiteX10" fmla="*/ 19974 w 39102"/>
                <a:gd name="connsiteY10" fmla="*/ 53330 h 60276"/>
                <a:gd name="connsiteX11" fmla="*/ 32121 w 39102"/>
                <a:gd name="connsiteY11" fmla="*/ 43646 h 60276"/>
                <a:gd name="connsiteX12" fmla="*/ 33320 w 39102"/>
                <a:gd name="connsiteY12" fmla="*/ 43012 h 60276"/>
                <a:gd name="connsiteX13" fmla="*/ 38364 w 39102"/>
                <a:gd name="connsiteY13" fmla="*/ 44687 h 60276"/>
                <a:gd name="connsiteX14" fmla="*/ 39088 w 39102"/>
                <a:gd name="connsiteY14" fmla="*/ 45728 h 60276"/>
                <a:gd name="connsiteX15" fmla="*/ 19906 w 39102"/>
                <a:gd name="connsiteY15" fmla="*/ 60276 h 60276"/>
                <a:gd name="connsiteX16" fmla="*/ 0 w 39102"/>
                <a:gd name="connsiteY16" fmla="*/ 39800 h 6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102" h="60276">
                  <a:moveTo>
                    <a:pt x="0" y="39822"/>
                  </a:moveTo>
                  <a:lnTo>
                    <a:pt x="0" y="20477"/>
                  </a:lnTo>
                  <a:cubicBezTo>
                    <a:pt x="0" y="6969"/>
                    <a:pt x="7985" y="0"/>
                    <a:pt x="19815" y="0"/>
                  </a:cubicBezTo>
                  <a:cubicBezTo>
                    <a:pt x="30130" y="0"/>
                    <a:pt x="36125" y="5272"/>
                    <a:pt x="38590" y="13825"/>
                  </a:cubicBezTo>
                  <a:cubicBezTo>
                    <a:pt x="38749" y="14391"/>
                    <a:pt x="38500" y="14866"/>
                    <a:pt x="37957" y="15024"/>
                  </a:cubicBezTo>
                  <a:lnTo>
                    <a:pt x="32845" y="16630"/>
                  </a:lnTo>
                  <a:cubicBezTo>
                    <a:pt x="32279" y="16789"/>
                    <a:pt x="31895" y="16540"/>
                    <a:pt x="31646" y="15997"/>
                  </a:cubicBezTo>
                  <a:cubicBezTo>
                    <a:pt x="29723" y="10408"/>
                    <a:pt x="26760" y="6969"/>
                    <a:pt x="19906" y="6969"/>
                  </a:cubicBezTo>
                  <a:cubicBezTo>
                    <a:pt x="12079" y="6969"/>
                    <a:pt x="7510" y="11449"/>
                    <a:pt x="7510" y="20635"/>
                  </a:cubicBezTo>
                  <a:lnTo>
                    <a:pt x="7510" y="39664"/>
                  </a:lnTo>
                  <a:cubicBezTo>
                    <a:pt x="7510" y="48850"/>
                    <a:pt x="12057" y="53330"/>
                    <a:pt x="19974" y="53330"/>
                  </a:cubicBezTo>
                  <a:cubicBezTo>
                    <a:pt x="27416" y="53330"/>
                    <a:pt x="30515" y="49484"/>
                    <a:pt x="32121" y="43646"/>
                  </a:cubicBezTo>
                  <a:cubicBezTo>
                    <a:pt x="32279" y="43012"/>
                    <a:pt x="32754" y="42854"/>
                    <a:pt x="33320" y="43012"/>
                  </a:cubicBezTo>
                  <a:lnTo>
                    <a:pt x="38364" y="44687"/>
                  </a:lnTo>
                  <a:cubicBezTo>
                    <a:pt x="38997" y="44936"/>
                    <a:pt x="39156" y="45252"/>
                    <a:pt x="39088" y="45728"/>
                  </a:cubicBezTo>
                  <a:cubicBezTo>
                    <a:pt x="36781" y="54281"/>
                    <a:pt x="31012" y="60276"/>
                    <a:pt x="19906" y="60276"/>
                  </a:cubicBezTo>
                  <a:cubicBezTo>
                    <a:pt x="7510" y="60276"/>
                    <a:pt x="0" y="52764"/>
                    <a:pt x="0" y="39800"/>
                  </a:cubicBezTo>
                  <a:close/>
                </a:path>
              </a:pathLst>
            </a:custGeom>
            <a:solidFill>
              <a:schemeClr val="bg1"/>
            </a:solidFill>
            <a:ln w="226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7387C50-18FC-B40F-3D3B-F68115C0E662}"/>
                </a:ext>
              </a:extLst>
            </p:cNvPr>
            <p:cNvSpPr/>
            <p:nvPr/>
          </p:nvSpPr>
          <p:spPr>
            <a:xfrm>
              <a:off x="7187321" y="2538944"/>
              <a:ext cx="285052" cy="409634"/>
            </a:xfrm>
            <a:custGeom>
              <a:avLst/>
              <a:gdLst>
                <a:gd name="connsiteX0" fmla="*/ 33229 w 40716"/>
                <a:gd name="connsiteY0" fmla="*/ 57561 h 58511"/>
                <a:gd name="connsiteX1" fmla="*/ 33229 w 40716"/>
                <a:gd name="connsiteY1" fmla="*/ 32536 h 58511"/>
                <a:gd name="connsiteX2" fmla="*/ 7487 w 40716"/>
                <a:gd name="connsiteY2" fmla="*/ 32536 h 58511"/>
                <a:gd name="connsiteX3" fmla="*/ 7487 w 40716"/>
                <a:gd name="connsiteY3" fmla="*/ 57561 h 58511"/>
                <a:gd name="connsiteX4" fmla="*/ 6537 w 40716"/>
                <a:gd name="connsiteY4" fmla="*/ 58511 h 58511"/>
                <a:gd name="connsiteX5" fmla="*/ 950 w 40716"/>
                <a:gd name="connsiteY5" fmla="*/ 58511 h 58511"/>
                <a:gd name="connsiteX6" fmla="*/ 0 w 40716"/>
                <a:gd name="connsiteY6" fmla="*/ 57561 h 58511"/>
                <a:gd name="connsiteX7" fmla="*/ 0 w 40716"/>
                <a:gd name="connsiteY7" fmla="*/ 950 h 58511"/>
                <a:gd name="connsiteX8" fmla="*/ 950 w 40716"/>
                <a:gd name="connsiteY8" fmla="*/ 0 h 58511"/>
                <a:gd name="connsiteX9" fmla="*/ 6537 w 40716"/>
                <a:gd name="connsiteY9" fmla="*/ 0 h 58511"/>
                <a:gd name="connsiteX10" fmla="*/ 7487 w 40716"/>
                <a:gd name="connsiteY10" fmla="*/ 950 h 58511"/>
                <a:gd name="connsiteX11" fmla="*/ 7487 w 40716"/>
                <a:gd name="connsiteY11" fmla="*/ 25568 h 58511"/>
                <a:gd name="connsiteX12" fmla="*/ 33229 w 40716"/>
                <a:gd name="connsiteY12" fmla="*/ 25568 h 58511"/>
                <a:gd name="connsiteX13" fmla="*/ 33229 w 40716"/>
                <a:gd name="connsiteY13" fmla="*/ 950 h 58511"/>
                <a:gd name="connsiteX14" fmla="*/ 34179 w 40716"/>
                <a:gd name="connsiteY14" fmla="*/ 0 h 58511"/>
                <a:gd name="connsiteX15" fmla="*/ 39766 w 40716"/>
                <a:gd name="connsiteY15" fmla="*/ 0 h 58511"/>
                <a:gd name="connsiteX16" fmla="*/ 40717 w 40716"/>
                <a:gd name="connsiteY16" fmla="*/ 950 h 58511"/>
                <a:gd name="connsiteX17" fmla="*/ 40717 w 40716"/>
                <a:gd name="connsiteY17" fmla="*/ 57561 h 58511"/>
                <a:gd name="connsiteX18" fmla="*/ 39766 w 40716"/>
                <a:gd name="connsiteY18" fmla="*/ 58511 h 58511"/>
                <a:gd name="connsiteX19" fmla="*/ 34179 w 40716"/>
                <a:gd name="connsiteY19" fmla="*/ 58511 h 58511"/>
                <a:gd name="connsiteX20" fmla="*/ 33229 w 40716"/>
                <a:gd name="connsiteY20"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716" h="58511">
                  <a:moveTo>
                    <a:pt x="33229" y="57561"/>
                  </a:moveTo>
                  <a:lnTo>
                    <a:pt x="33229" y="32536"/>
                  </a:lnTo>
                  <a:lnTo>
                    <a:pt x="7487" y="32536"/>
                  </a:lnTo>
                  <a:lnTo>
                    <a:pt x="7487" y="57561"/>
                  </a:lnTo>
                  <a:cubicBezTo>
                    <a:pt x="7487" y="58127"/>
                    <a:pt x="7080" y="58511"/>
                    <a:pt x="6537" y="58511"/>
                  </a:cubicBezTo>
                  <a:lnTo>
                    <a:pt x="950" y="58511"/>
                  </a:lnTo>
                  <a:cubicBezTo>
                    <a:pt x="385" y="58511"/>
                    <a:pt x="0" y="58104"/>
                    <a:pt x="0" y="57561"/>
                  </a:cubicBezTo>
                  <a:lnTo>
                    <a:pt x="0" y="950"/>
                  </a:lnTo>
                  <a:cubicBezTo>
                    <a:pt x="0" y="385"/>
                    <a:pt x="407" y="0"/>
                    <a:pt x="950" y="0"/>
                  </a:cubicBezTo>
                  <a:lnTo>
                    <a:pt x="6537" y="0"/>
                  </a:lnTo>
                  <a:cubicBezTo>
                    <a:pt x="7103" y="0"/>
                    <a:pt x="7487" y="407"/>
                    <a:pt x="7487" y="950"/>
                  </a:cubicBezTo>
                  <a:lnTo>
                    <a:pt x="7487" y="25568"/>
                  </a:lnTo>
                  <a:lnTo>
                    <a:pt x="33229" y="25568"/>
                  </a:lnTo>
                  <a:lnTo>
                    <a:pt x="33229" y="950"/>
                  </a:lnTo>
                  <a:cubicBezTo>
                    <a:pt x="33229" y="385"/>
                    <a:pt x="33636" y="0"/>
                    <a:pt x="34179" y="0"/>
                  </a:cubicBezTo>
                  <a:lnTo>
                    <a:pt x="39766" y="0"/>
                  </a:lnTo>
                  <a:cubicBezTo>
                    <a:pt x="40332" y="0"/>
                    <a:pt x="40717" y="407"/>
                    <a:pt x="40717" y="950"/>
                  </a:cubicBezTo>
                  <a:lnTo>
                    <a:pt x="40717" y="57561"/>
                  </a:lnTo>
                  <a:cubicBezTo>
                    <a:pt x="40717" y="58127"/>
                    <a:pt x="40309" y="58511"/>
                    <a:pt x="39766" y="58511"/>
                  </a:cubicBezTo>
                  <a:lnTo>
                    <a:pt x="34179" y="58511"/>
                  </a:lnTo>
                  <a:cubicBezTo>
                    <a:pt x="33614" y="58511"/>
                    <a:pt x="33229" y="58104"/>
                    <a:pt x="33229" y="57561"/>
                  </a:cubicBezTo>
                  <a:close/>
                </a:path>
              </a:pathLst>
            </a:custGeom>
            <a:solidFill>
              <a:schemeClr val="bg1"/>
            </a:solidFill>
            <a:ln w="2260"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3DFD9475-D4D7-B4F7-624A-82B4B222CD92}"/>
                </a:ext>
              </a:extLst>
            </p:cNvPr>
            <p:cNvSpPr/>
            <p:nvPr/>
          </p:nvSpPr>
          <p:spPr>
            <a:xfrm>
              <a:off x="7544119" y="2538944"/>
              <a:ext cx="291388" cy="409788"/>
            </a:xfrm>
            <a:custGeom>
              <a:avLst/>
              <a:gdLst>
                <a:gd name="connsiteX0" fmla="*/ 0 w 41621"/>
                <a:gd name="connsiteY0" fmla="*/ 57561 h 58533"/>
                <a:gd name="connsiteX1" fmla="*/ 0 w 41621"/>
                <a:gd name="connsiteY1" fmla="*/ 950 h 58533"/>
                <a:gd name="connsiteX2" fmla="*/ 950 w 41621"/>
                <a:gd name="connsiteY2" fmla="*/ 0 h 58533"/>
                <a:gd name="connsiteX3" fmla="*/ 9591 w 41621"/>
                <a:gd name="connsiteY3" fmla="*/ 0 h 58533"/>
                <a:gd name="connsiteX4" fmla="*/ 10699 w 41621"/>
                <a:gd name="connsiteY4" fmla="*/ 724 h 58533"/>
                <a:gd name="connsiteX5" fmla="*/ 27483 w 41621"/>
                <a:gd name="connsiteY5" fmla="*/ 34211 h 58533"/>
                <a:gd name="connsiteX6" fmla="*/ 34767 w 41621"/>
                <a:gd name="connsiteY6" fmla="*/ 50208 h 58533"/>
                <a:gd name="connsiteX7" fmla="*/ 34926 w 41621"/>
                <a:gd name="connsiteY7" fmla="*/ 50208 h 58533"/>
                <a:gd name="connsiteX8" fmla="*/ 34360 w 41621"/>
                <a:gd name="connsiteY8" fmla="*/ 34867 h 58533"/>
                <a:gd name="connsiteX9" fmla="*/ 34360 w 41621"/>
                <a:gd name="connsiteY9" fmla="*/ 973 h 58533"/>
                <a:gd name="connsiteX10" fmla="*/ 35310 w 41621"/>
                <a:gd name="connsiteY10" fmla="*/ 23 h 58533"/>
                <a:gd name="connsiteX11" fmla="*/ 40671 w 41621"/>
                <a:gd name="connsiteY11" fmla="*/ 23 h 58533"/>
                <a:gd name="connsiteX12" fmla="*/ 41621 w 41621"/>
                <a:gd name="connsiteY12" fmla="*/ 973 h 58533"/>
                <a:gd name="connsiteX13" fmla="*/ 41621 w 41621"/>
                <a:gd name="connsiteY13" fmla="*/ 57584 h 58533"/>
                <a:gd name="connsiteX14" fmla="*/ 40671 w 41621"/>
                <a:gd name="connsiteY14" fmla="*/ 58534 h 58533"/>
                <a:gd name="connsiteX15" fmla="*/ 32686 w 41621"/>
                <a:gd name="connsiteY15" fmla="*/ 58534 h 58533"/>
                <a:gd name="connsiteX16" fmla="*/ 31578 w 41621"/>
                <a:gd name="connsiteY16" fmla="*/ 57810 h 58533"/>
                <a:gd name="connsiteX17" fmla="*/ 14477 w 41621"/>
                <a:gd name="connsiteY17" fmla="*/ 24323 h 58533"/>
                <a:gd name="connsiteX18" fmla="*/ 7035 w 41621"/>
                <a:gd name="connsiteY18" fmla="*/ 8010 h 58533"/>
                <a:gd name="connsiteX19" fmla="*/ 6876 w 41621"/>
                <a:gd name="connsiteY19" fmla="*/ 8010 h 58533"/>
                <a:gd name="connsiteX20" fmla="*/ 7284 w 41621"/>
                <a:gd name="connsiteY20" fmla="*/ 23192 h 58533"/>
                <a:gd name="connsiteX21" fmla="*/ 7284 w 41621"/>
                <a:gd name="connsiteY21" fmla="*/ 57561 h 58533"/>
                <a:gd name="connsiteX22" fmla="*/ 6334 w 41621"/>
                <a:gd name="connsiteY22" fmla="*/ 58511 h 58533"/>
                <a:gd name="connsiteX23" fmla="*/ 973 w 41621"/>
                <a:gd name="connsiteY23" fmla="*/ 58511 h 58533"/>
                <a:gd name="connsiteX24" fmla="*/ 23 w 41621"/>
                <a:gd name="connsiteY24" fmla="*/ 57561 h 5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621" h="58533">
                  <a:moveTo>
                    <a:pt x="0" y="57561"/>
                  </a:moveTo>
                  <a:lnTo>
                    <a:pt x="0" y="950"/>
                  </a:lnTo>
                  <a:cubicBezTo>
                    <a:pt x="0" y="385"/>
                    <a:pt x="407" y="0"/>
                    <a:pt x="950" y="0"/>
                  </a:cubicBezTo>
                  <a:lnTo>
                    <a:pt x="9591" y="0"/>
                  </a:lnTo>
                  <a:cubicBezTo>
                    <a:pt x="10066" y="0"/>
                    <a:pt x="10473" y="249"/>
                    <a:pt x="10699" y="724"/>
                  </a:cubicBezTo>
                  <a:lnTo>
                    <a:pt x="27483" y="34211"/>
                  </a:lnTo>
                  <a:cubicBezTo>
                    <a:pt x="30130" y="39641"/>
                    <a:pt x="32596" y="45252"/>
                    <a:pt x="34767" y="50208"/>
                  </a:cubicBezTo>
                  <a:lnTo>
                    <a:pt x="34926" y="50208"/>
                  </a:lnTo>
                  <a:cubicBezTo>
                    <a:pt x="34519" y="45162"/>
                    <a:pt x="34360" y="40207"/>
                    <a:pt x="34360" y="34867"/>
                  </a:cubicBezTo>
                  <a:lnTo>
                    <a:pt x="34360" y="973"/>
                  </a:lnTo>
                  <a:cubicBezTo>
                    <a:pt x="34360" y="407"/>
                    <a:pt x="34767" y="23"/>
                    <a:pt x="35310" y="23"/>
                  </a:cubicBezTo>
                  <a:lnTo>
                    <a:pt x="40671" y="23"/>
                  </a:lnTo>
                  <a:cubicBezTo>
                    <a:pt x="41237" y="23"/>
                    <a:pt x="41621" y="430"/>
                    <a:pt x="41621" y="973"/>
                  </a:cubicBezTo>
                  <a:lnTo>
                    <a:pt x="41621" y="57584"/>
                  </a:lnTo>
                  <a:cubicBezTo>
                    <a:pt x="41621" y="58149"/>
                    <a:pt x="41214" y="58534"/>
                    <a:pt x="40671" y="58534"/>
                  </a:cubicBezTo>
                  <a:lnTo>
                    <a:pt x="32686" y="58534"/>
                  </a:lnTo>
                  <a:cubicBezTo>
                    <a:pt x="32211" y="58534"/>
                    <a:pt x="31804" y="58285"/>
                    <a:pt x="31578" y="57810"/>
                  </a:cubicBezTo>
                  <a:lnTo>
                    <a:pt x="14477" y="24323"/>
                  </a:lnTo>
                  <a:cubicBezTo>
                    <a:pt x="11762" y="18893"/>
                    <a:pt x="9206" y="12965"/>
                    <a:pt x="7035" y="8010"/>
                  </a:cubicBezTo>
                  <a:lnTo>
                    <a:pt x="6876" y="8010"/>
                  </a:lnTo>
                  <a:cubicBezTo>
                    <a:pt x="7125" y="13055"/>
                    <a:pt x="7284" y="17920"/>
                    <a:pt x="7284" y="23192"/>
                  </a:cubicBezTo>
                  <a:lnTo>
                    <a:pt x="7284" y="57561"/>
                  </a:lnTo>
                  <a:cubicBezTo>
                    <a:pt x="7284" y="58127"/>
                    <a:pt x="6876" y="58511"/>
                    <a:pt x="6334" y="58511"/>
                  </a:cubicBezTo>
                  <a:lnTo>
                    <a:pt x="973" y="58511"/>
                  </a:lnTo>
                  <a:cubicBezTo>
                    <a:pt x="407" y="58511"/>
                    <a:pt x="23" y="58104"/>
                    <a:pt x="23" y="57561"/>
                  </a:cubicBezTo>
                  <a:close/>
                </a:path>
              </a:pathLst>
            </a:custGeom>
            <a:solidFill>
              <a:schemeClr val="bg1"/>
            </a:solidFill>
            <a:ln w="2260"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A1F09C8D-2C0A-F0E4-BCD5-9CDA8E063436}"/>
                </a:ext>
              </a:extLst>
            </p:cNvPr>
            <p:cNvSpPr/>
            <p:nvPr/>
          </p:nvSpPr>
          <p:spPr>
            <a:xfrm>
              <a:off x="7911047" y="2532762"/>
              <a:ext cx="295980" cy="422145"/>
            </a:xfrm>
            <a:custGeom>
              <a:avLst/>
              <a:gdLst>
                <a:gd name="connsiteX0" fmla="*/ 0 w 42277"/>
                <a:gd name="connsiteY0" fmla="*/ 39822 h 60298"/>
                <a:gd name="connsiteX1" fmla="*/ 0 w 42277"/>
                <a:gd name="connsiteY1" fmla="*/ 20635 h 60298"/>
                <a:gd name="connsiteX2" fmla="*/ 21105 w 42277"/>
                <a:gd name="connsiteY2" fmla="*/ 0 h 60298"/>
                <a:gd name="connsiteX3" fmla="*/ 42277 w 42277"/>
                <a:gd name="connsiteY3" fmla="*/ 20477 h 60298"/>
                <a:gd name="connsiteX4" fmla="*/ 42277 w 42277"/>
                <a:gd name="connsiteY4" fmla="*/ 39664 h 60298"/>
                <a:gd name="connsiteX5" fmla="*/ 21105 w 42277"/>
                <a:gd name="connsiteY5" fmla="*/ 60299 h 60298"/>
                <a:gd name="connsiteX6" fmla="*/ 0 w 42277"/>
                <a:gd name="connsiteY6" fmla="*/ 39822 h 60298"/>
                <a:gd name="connsiteX7" fmla="*/ 21105 w 42277"/>
                <a:gd name="connsiteY7" fmla="*/ 53330 h 60298"/>
                <a:gd name="connsiteX8" fmla="*/ 34767 w 42277"/>
                <a:gd name="connsiteY8" fmla="*/ 39664 h 60298"/>
                <a:gd name="connsiteX9" fmla="*/ 34767 w 42277"/>
                <a:gd name="connsiteY9" fmla="*/ 20635 h 60298"/>
                <a:gd name="connsiteX10" fmla="*/ 21105 w 42277"/>
                <a:gd name="connsiteY10" fmla="*/ 6969 h 60298"/>
                <a:gd name="connsiteX11" fmla="*/ 7510 w 42277"/>
                <a:gd name="connsiteY11" fmla="*/ 20635 h 60298"/>
                <a:gd name="connsiteX12" fmla="*/ 7510 w 42277"/>
                <a:gd name="connsiteY12" fmla="*/ 39664 h 60298"/>
                <a:gd name="connsiteX13" fmla="*/ 21105 w 42277"/>
                <a:gd name="connsiteY13" fmla="*/ 53330 h 6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277" h="60298">
                  <a:moveTo>
                    <a:pt x="0" y="39822"/>
                  </a:moveTo>
                  <a:lnTo>
                    <a:pt x="0" y="20635"/>
                  </a:lnTo>
                  <a:cubicBezTo>
                    <a:pt x="0" y="7037"/>
                    <a:pt x="8392" y="0"/>
                    <a:pt x="21105" y="0"/>
                  </a:cubicBezTo>
                  <a:cubicBezTo>
                    <a:pt x="34451" y="0"/>
                    <a:pt x="42277" y="7829"/>
                    <a:pt x="42277" y="20477"/>
                  </a:cubicBezTo>
                  <a:lnTo>
                    <a:pt x="42277" y="39664"/>
                  </a:lnTo>
                  <a:cubicBezTo>
                    <a:pt x="42277" y="52448"/>
                    <a:pt x="34451" y="60299"/>
                    <a:pt x="21105" y="60299"/>
                  </a:cubicBezTo>
                  <a:cubicBezTo>
                    <a:pt x="7759" y="60299"/>
                    <a:pt x="0" y="52787"/>
                    <a:pt x="0" y="39822"/>
                  </a:cubicBezTo>
                  <a:close/>
                  <a:moveTo>
                    <a:pt x="21105" y="53330"/>
                  </a:moveTo>
                  <a:cubicBezTo>
                    <a:pt x="29814" y="53330"/>
                    <a:pt x="34767" y="48850"/>
                    <a:pt x="34767" y="39664"/>
                  </a:cubicBezTo>
                  <a:lnTo>
                    <a:pt x="34767" y="20635"/>
                  </a:lnTo>
                  <a:cubicBezTo>
                    <a:pt x="34767" y="11449"/>
                    <a:pt x="29814" y="6969"/>
                    <a:pt x="21105" y="6969"/>
                  </a:cubicBezTo>
                  <a:cubicBezTo>
                    <a:pt x="12396" y="6969"/>
                    <a:pt x="7510" y="11449"/>
                    <a:pt x="7510" y="20635"/>
                  </a:cubicBezTo>
                  <a:lnTo>
                    <a:pt x="7510" y="39664"/>
                  </a:lnTo>
                  <a:cubicBezTo>
                    <a:pt x="7510" y="48850"/>
                    <a:pt x="12464" y="53330"/>
                    <a:pt x="21105" y="53330"/>
                  </a:cubicBezTo>
                  <a:close/>
                </a:path>
              </a:pathLst>
            </a:custGeom>
            <a:solidFill>
              <a:schemeClr val="bg1"/>
            </a:solidFill>
            <a:ln w="226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7E557B44-3BBC-DD4F-5B71-1ADB6CACF3F7}"/>
                </a:ext>
              </a:extLst>
            </p:cNvPr>
            <p:cNvSpPr/>
            <p:nvPr/>
          </p:nvSpPr>
          <p:spPr>
            <a:xfrm>
              <a:off x="8267522" y="2538944"/>
              <a:ext cx="225984" cy="409634"/>
            </a:xfrm>
            <a:custGeom>
              <a:avLst/>
              <a:gdLst>
                <a:gd name="connsiteX0" fmla="*/ 23 w 32279"/>
                <a:gd name="connsiteY0" fmla="*/ 57561 h 58511"/>
                <a:gd name="connsiteX1" fmla="*/ 23 w 32279"/>
                <a:gd name="connsiteY1" fmla="*/ 950 h 58511"/>
                <a:gd name="connsiteX2" fmla="*/ 973 w 32279"/>
                <a:gd name="connsiteY2" fmla="*/ 0 h 58511"/>
                <a:gd name="connsiteX3" fmla="*/ 6560 w 32279"/>
                <a:gd name="connsiteY3" fmla="*/ 0 h 58511"/>
                <a:gd name="connsiteX4" fmla="*/ 7510 w 32279"/>
                <a:gd name="connsiteY4" fmla="*/ 950 h 58511"/>
                <a:gd name="connsiteX5" fmla="*/ 7510 w 32279"/>
                <a:gd name="connsiteY5" fmla="*/ 51565 h 58511"/>
                <a:gd name="connsiteX6" fmla="*/ 31329 w 32279"/>
                <a:gd name="connsiteY6" fmla="*/ 51565 h 58511"/>
                <a:gd name="connsiteX7" fmla="*/ 32279 w 32279"/>
                <a:gd name="connsiteY7" fmla="*/ 52516 h 58511"/>
                <a:gd name="connsiteX8" fmla="*/ 32279 w 32279"/>
                <a:gd name="connsiteY8" fmla="*/ 57561 h 58511"/>
                <a:gd name="connsiteX9" fmla="*/ 31329 w 32279"/>
                <a:gd name="connsiteY9" fmla="*/ 58511 h 58511"/>
                <a:gd name="connsiteX10" fmla="*/ 950 w 32279"/>
                <a:gd name="connsiteY10" fmla="*/ 58511 h 58511"/>
                <a:gd name="connsiteX11" fmla="*/ 0 w 32279"/>
                <a:gd name="connsiteY11"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79" h="58511">
                  <a:moveTo>
                    <a:pt x="23" y="57561"/>
                  </a:moveTo>
                  <a:lnTo>
                    <a:pt x="23" y="950"/>
                  </a:lnTo>
                  <a:cubicBezTo>
                    <a:pt x="23" y="385"/>
                    <a:pt x="430" y="0"/>
                    <a:pt x="973" y="0"/>
                  </a:cubicBezTo>
                  <a:lnTo>
                    <a:pt x="6560" y="0"/>
                  </a:lnTo>
                  <a:cubicBezTo>
                    <a:pt x="7125" y="0"/>
                    <a:pt x="7510" y="407"/>
                    <a:pt x="7510" y="950"/>
                  </a:cubicBezTo>
                  <a:lnTo>
                    <a:pt x="7510" y="51565"/>
                  </a:lnTo>
                  <a:lnTo>
                    <a:pt x="31329" y="51565"/>
                  </a:lnTo>
                  <a:cubicBezTo>
                    <a:pt x="31895" y="51565"/>
                    <a:pt x="32279" y="51973"/>
                    <a:pt x="32279" y="52516"/>
                  </a:cubicBezTo>
                  <a:lnTo>
                    <a:pt x="32279" y="57561"/>
                  </a:lnTo>
                  <a:cubicBezTo>
                    <a:pt x="32279" y="58127"/>
                    <a:pt x="31872" y="58511"/>
                    <a:pt x="31329" y="58511"/>
                  </a:cubicBezTo>
                  <a:lnTo>
                    <a:pt x="950" y="58511"/>
                  </a:lnTo>
                  <a:cubicBezTo>
                    <a:pt x="385" y="58511"/>
                    <a:pt x="0" y="58104"/>
                    <a:pt x="0" y="57561"/>
                  </a:cubicBezTo>
                  <a:close/>
                </a:path>
              </a:pathLst>
            </a:custGeom>
            <a:solidFill>
              <a:schemeClr val="bg1"/>
            </a:solidFill>
            <a:ln w="226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84D5F611-E595-3404-6B2D-68DD279ED0C8}"/>
                </a:ext>
              </a:extLst>
            </p:cNvPr>
            <p:cNvSpPr/>
            <p:nvPr/>
          </p:nvSpPr>
          <p:spPr>
            <a:xfrm>
              <a:off x="8522015" y="2532762"/>
              <a:ext cx="295980" cy="422145"/>
            </a:xfrm>
            <a:custGeom>
              <a:avLst/>
              <a:gdLst>
                <a:gd name="connsiteX0" fmla="*/ 0 w 42277"/>
                <a:gd name="connsiteY0" fmla="*/ 39822 h 60298"/>
                <a:gd name="connsiteX1" fmla="*/ 0 w 42277"/>
                <a:gd name="connsiteY1" fmla="*/ 20635 h 60298"/>
                <a:gd name="connsiteX2" fmla="*/ 21105 w 42277"/>
                <a:gd name="connsiteY2" fmla="*/ 0 h 60298"/>
                <a:gd name="connsiteX3" fmla="*/ 42277 w 42277"/>
                <a:gd name="connsiteY3" fmla="*/ 20477 h 60298"/>
                <a:gd name="connsiteX4" fmla="*/ 42277 w 42277"/>
                <a:gd name="connsiteY4" fmla="*/ 39664 h 60298"/>
                <a:gd name="connsiteX5" fmla="*/ 21105 w 42277"/>
                <a:gd name="connsiteY5" fmla="*/ 60299 h 60298"/>
                <a:gd name="connsiteX6" fmla="*/ 0 w 42277"/>
                <a:gd name="connsiteY6" fmla="*/ 39822 h 60298"/>
                <a:gd name="connsiteX7" fmla="*/ 21105 w 42277"/>
                <a:gd name="connsiteY7" fmla="*/ 53330 h 60298"/>
                <a:gd name="connsiteX8" fmla="*/ 34767 w 42277"/>
                <a:gd name="connsiteY8" fmla="*/ 39664 h 60298"/>
                <a:gd name="connsiteX9" fmla="*/ 34767 w 42277"/>
                <a:gd name="connsiteY9" fmla="*/ 20635 h 60298"/>
                <a:gd name="connsiteX10" fmla="*/ 21105 w 42277"/>
                <a:gd name="connsiteY10" fmla="*/ 6969 h 60298"/>
                <a:gd name="connsiteX11" fmla="*/ 7510 w 42277"/>
                <a:gd name="connsiteY11" fmla="*/ 20635 h 60298"/>
                <a:gd name="connsiteX12" fmla="*/ 7510 w 42277"/>
                <a:gd name="connsiteY12" fmla="*/ 39664 h 60298"/>
                <a:gd name="connsiteX13" fmla="*/ 21105 w 42277"/>
                <a:gd name="connsiteY13" fmla="*/ 53330 h 6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277" h="60298">
                  <a:moveTo>
                    <a:pt x="0" y="39822"/>
                  </a:moveTo>
                  <a:lnTo>
                    <a:pt x="0" y="20635"/>
                  </a:lnTo>
                  <a:cubicBezTo>
                    <a:pt x="0" y="7037"/>
                    <a:pt x="8392" y="0"/>
                    <a:pt x="21105" y="0"/>
                  </a:cubicBezTo>
                  <a:cubicBezTo>
                    <a:pt x="34451" y="0"/>
                    <a:pt x="42277" y="7829"/>
                    <a:pt x="42277" y="20477"/>
                  </a:cubicBezTo>
                  <a:lnTo>
                    <a:pt x="42277" y="39664"/>
                  </a:lnTo>
                  <a:cubicBezTo>
                    <a:pt x="42277" y="52448"/>
                    <a:pt x="34451" y="60299"/>
                    <a:pt x="21105" y="60299"/>
                  </a:cubicBezTo>
                  <a:cubicBezTo>
                    <a:pt x="7759" y="60299"/>
                    <a:pt x="0" y="52787"/>
                    <a:pt x="0" y="39822"/>
                  </a:cubicBezTo>
                  <a:close/>
                  <a:moveTo>
                    <a:pt x="21105" y="53330"/>
                  </a:moveTo>
                  <a:cubicBezTo>
                    <a:pt x="29813" y="53330"/>
                    <a:pt x="34767" y="48850"/>
                    <a:pt x="34767" y="39664"/>
                  </a:cubicBezTo>
                  <a:lnTo>
                    <a:pt x="34767" y="20635"/>
                  </a:lnTo>
                  <a:cubicBezTo>
                    <a:pt x="34767" y="11449"/>
                    <a:pt x="29813" y="6969"/>
                    <a:pt x="21105" y="6969"/>
                  </a:cubicBezTo>
                  <a:cubicBezTo>
                    <a:pt x="12396" y="6969"/>
                    <a:pt x="7510" y="11449"/>
                    <a:pt x="7510" y="20635"/>
                  </a:cubicBezTo>
                  <a:lnTo>
                    <a:pt x="7510" y="39664"/>
                  </a:lnTo>
                  <a:cubicBezTo>
                    <a:pt x="7510" y="48850"/>
                    <a:pt x="12464" y="53330"/>
                    <a:pt x="21105" y="53330"/>
                  </a:cubicBezTo>
                  <a:close/>
                </a:path>
              </a:pathLst>
            </a:custGeom>
            <a:solidFill>
              <a:schemeClr val="bg1"/>
            </a:solidFill>
            <a:ln w="226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DE178AC7-98BF-31C5-0A28-D280FB712324}"/>
                </a:ext>
              </a:extLst>
            </p:cNvPr>
            <p:cNvSpPr/>
            <p:nvPr/>
          </p:nvSpPr>
          <p:spPr>
            <a:xfrm>
              <a:off x="8867562" y="2532762"/>
              <a:ext cx="288853" cy="422306"/>
            </a:xfrm>
            <a:custGeom>
              <a:avLst/>
              <a:gdLst>
                <a:gd name="connsiteX0" fmla="*/ 0 w 41259"/>
                <a:gd name="connsiteY0" fmla="*/ 39822 h 60321"/>
                <a:gd name="connsiteX1" fmla="*/ 0 w 41259"/>
                <a:gd name="connsiteY1" fmla="*/ 20477 h 60321"/>
                <a:gd name="connsiteX2" fmla="*/ 20630 w 41259"/>
                <a:gd name="connsiteY2" fmla="*/ 0 h 60321"/>
                <a:gd name="connsiteX3" fmla="*/ 40128 w 41259"/>
                <a:gd name="connsiteY3" fmla="*/ 13508 h 60321"/>
                <a:gd name="connsiteX4" fmla="*/ 39495 w 41259"/>
                <a:gd name="connsiteY4" fmla="*/ 14707 h 60321"/>
                <a:gd name="connsiteX5" fmla="*/ 34383 w 41259"/>
                <a:gd name="connsiteY5" fmla="*/ 16314 h 60321"/>
                <a:gd name="connsiteX6" fmla="*/ 33184 w 41259"/>
                <a:gd name="connsiteY6" fmla="*/ 15680 h 60321"/>
                <a:gd name="connsiteX7" fmla="*/ 20720 w 41259"/>
                <a:gd name="connsiteY7" fmla="*/ 6969 h 60321"/>
                <a:gd name="connsiteX8" fmla="*/ 7532 w 41259"/>
                <a:gd name="connsiteY8" fmla="*/ 20635 h 60321"/>
                <a:gd name="connsiteX9" fmla="*/ 7532 w 41259"/>
                <a:gd name="connsiteY9" fmla="*/ 39664 h 60321"/>
                <a:gd name="connsiteX10" fmla="*/ 20811 w 41259"/>
                <a:gd name="connsiteY10" fmla="*/ 53330 h 60321"/>
                <a:gd name="connsiteX11" fmla="*/ 34089 w 41259"/>
                <a:gd name="connsiteY11" fmla="*/ 39664 h 60321"/>
                <a:gd name="connsiteX12" fmla="*/ 34089 w 41259"/>
                <a:gd name="connsiteY12" fmla="*/ 34958 h 60321"/>
                <a:gd name="connsiteX13" fmla="*/ 22733 w 41259"/>
                <a:gd name="connsiteY13" fmla="*/ 34958 h 60321"/>
                <a:gd name="connsiteX14" fmla="*/ 21783 w 41259"/>
                <a:gd name="connsiteY14" fmla="*/ 34007 h 60321"/>
                <a:gd name="connsiteX15" fmla="*/ 21783 w 41259"/>
                <a:gd name="connsiteY15" fmla="*/ 29369 h 60321"/>
                <a:gd name="connsiteX16" fmla="*/ 22733 w 41259"/>
                <a:gd name="connsiteY16" fmla="*/ 28419 h 60321"/>
                <a:gd name="connsiteX17" fmla="*/ 40309 w 41259"/>
                <a:gd name="connsiteY17" fmla="*/ 28419 h 60321"/>
                <a:gd name="connsiteX18" fmla="*/ 41259 w 41259"/>
                <a:gd name="connsiteY18" fmla="*/ 29369 h 60321"/>
                <a:gd name="connsiteX19" fmla="*/ 41259 w 41259"/>
                <a:gd name="connsiteY19" fmla="*/ 39686 h 60321"/>
                <a:gd name="connsiteX20" fmla="*/ 20720 w 41259"/>
                <a:gd name="connsiteY20" fmla="*/ 60322 h 60321"/>
                <a:gd name="connsiteX21" fmla="*/ 23 w 41259"/>
                <a:gd name="connsiteY21" fmla="*/ 39845 h 6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259" h="60321">
                  <a:moveTo>
                    <a:pt x="0" y="39822"/>
                  </a:moveTo>
                  <a:lnTo>
                    <a:pt x="0" y="20477"/>
                  </a:lnTo>
                  <a:cubicBezTo>
                    <a:pt x="0" y="6969"/>
                    <a:pt x="8302" y="0"/>
                    <a:pt x="20630" y="0"/>
                  </a:cubicBezTo>
                  <a:cubicBezTo>
                    <a:pt x="31171" y="0"/>
                    <a:pt x="37414" y="5046"/>
                    <a:pt x="40128" y="13508"/>
                  </a:cubicBezTo>
                  <a:cubicBezTo>
                    <a:pt x="40287" y="14074"/>
                    <a:pt x="40038" y="14549"/>
                    <a:pt x="39495" y="14707"/>
                  </a:cubicBezTo>
                  <a:lnTo>
                    <a:pt x="34383" y="16314"/>
                  </a:lnTo>
                  <a:cubicBezTo>
                    <a:pt x="33817" y="16472"/>
                    <a:pt x="33433" y="16223"/>
                    <a:pt x="33184" y="15680"/>
                  </a:cubicBezTo>
                  <a:cubicBezTo>
                    <a:pt x="31193" y="10250"/>
                    <a:pt x="27913" y="6969"/>
                    <a:pt x="20720" y="6969"/>
                  </a:cubicBezTo>
                  <a:cubicBezTo>
                    <a:pt x="12328" y="6969"/>
                    <a:pt x="7532" y="11449"/>
                    <a:pt x="7532" y="20635"/>
                  </a:cubicBezTo>
                  <a:lnTo>
                    <a:pt x="7532" y="39664"/>
                  </a:lnTo>
                  <a:cubicBezTo>
                    <a:pt x="7532" y="48850"/>
                    <a:pt x="12328" y="53330"/>
                    <a:pt x="20811" y="53330"/>
                  </a:cubicBezTo>
                  <a:cubicBezTo>
                    <a:pt x="29293" y="53330"/>
                    <a:pt x="34089" y="48850"/>
                    <a:pt x="34089" y="39664"/>
                  </a:cubicBezTo>
                  <a:lnTo>
                    <a:pt x="34089" y="34958"/>
                  </a:lnTo>
                  <a:lnTo>
                    <a:pt x="22733" y="34958"/>
                  </a:lnTo>
                  <a:cubicBezTo>
                    <a:pt x="22168" y="34958"/>
                    <a:pt x="21783" y="34550"/>
                    <a:pt x="21783" y="34007"/>
                  </a:cubicBezTo>
                  <a:lnTo>
                    <a:pt x="21783" y="29369"/>
                  </a:lnTo>
                  <a:cubicBezTo>
                    <a:pt x="21783" y="28803"/>
                    <a:pt x="22191" y="28419"/>
                    <a:pt x="22733" y="28419"/>
                  </a:cubicBezTo>
                  <a:lnTo>
                    <a:pt x="40309" y="28419"/>
                  </a:lnTo>
                  <a:cubicBezTo>
                    <a:pt x="40875" y="28419"/>
                    <a:pt x="41259" y="28826"/>
                    <a:pt x="41259" y="29369"/>
                  </a:cubicBezTo>
                  <a:lnTo>
                    <a:pt x="41259" y="39686"/>
                  </a:lnTo>
                  <a:cubicBezTo>
                    <a:pt x="41259" y="52470"/>
                    <a:pt x="33750" y="60322"/>
                    <a:pt x="20720" y="60322"/>
                  </a:cubicBezTo>
                  <a:cubicBezTo>
                    <a:pt x="7691" y="60322"/>
                    <a:pt x="23" y="52810"/>
                    <a:pt x="23" y="39845"/>
                  </a:cubicBezTo>
                  <a:close/>
                </a:path>
              </a:pathLst>
            </a:custGeom>
            <a:solidFill>
              <a:schemeClr val="bg1"/>
            </a:solidFill>
            <a:ln w="226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D656C0F9-28E0-11A8-485C-EC46E7F3A9E1}"/>
                </a:ext>
              </a:extLst>
            </p:cNvPr>
            <p:cNvSpPr/>
            <p:nvPr/>
          </p:nvSpPr>
          <p:spPr>
            <a:xfrm>
              <a:off x="9231326" y="2538944"/>
              <a:ext cx="52416" cy="409634"/>
            </a:xfrm>
            <a:custGeom>
              <a:avLst/>
              <a:gdLst>
                <a:gd name="connsiteX0" fmla="*/ 0 w 7487"/>
                <a:gd name="connsiteY0" fmla="*/ 57561 h 58511"/>
                <a:gd name="connsiteX1" fmla="*/ 0 w 7487"/>
                <a:gd name="connsiteY1" fmla="*/ 950 h 58511"/>
                <a:gd name="connsiteX2" fmla="*/ 950 w 7487"/>
                <a:gd name="connsiteY2" fmla="*/ 0 h 58511"/>
                <a:gd name="connsiteX3" fmla="*/ 6537 w 7487"/>
                <a:gd name="connsiteY3" fmla="*/ 0 h 58511"/>
                <a:gd name="connsiteX4" fmla="*/ 7487 w 7487"/>
                <a:gd name="connsiteY4" fmla="*/ 950 h 58511"/>
                <a:gd name="connsiteX5" fmla="*/ 7487 w 7487"/>
                <a:gd name="connsiteY5" fmla="*/ 57561 h 58511"/>
                <a:gd name="connsiteX6" fmla="*/ 6537 w 7487"/>
                <a:gd name="connsiteY6" fmla="*/ 58511 h 58511"/>
                <a:gd name="connsiteX7" fmla="*/ 950 w 7487"/>
                <a:gd name="connsiteY7" fmla="*/ 58511 h 58511"/>
                <a:gd name="connsiteX8" fmla="*/ 0 w 7487"/>
                <a:gd name="connsiteY8"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7" h="58511">
                  <a:moveTo>
                    <a:pt x="0" y="57561"/>
                  </a:moveTo>
                  <a:lnTo>
                    <a:pt x="0" y="950"/>
                  </a:lnTo>
                  <a:cubicBezTo>
                    <a:pt x="0" y="385"/>
                    <a:pt x="407" y="0"/>
                    <a:pt x="950" y="0"/>
                  </a:cubicBezTo>
                  <a:lnTo>
                    <a:pt x="6537" y="0"/>
                  </a:lnTo>
                  <a:cubicBezTo>
                    <a:pt x="7103" y="0"/>
                    <a:pt x="7487" y="407"/>
                    <a:pt x="7487" y="950"/>
                  </a:cubicBezTo>
                  <a:lnTo>
                    <a:pt x="7487" y="57561"/>
                  </a:lnTo>
                  <a:cubicBezTo>
                    <a:pt x="7487" y="58127"/>
                    <a:pt x="7080" y="58511"/>
                    <a:pt x="6537" y="58511"/>
                  </a:cubicBezTo>
                  <a:lnTo>
                    <a:pt x="950" y="58511"/>
                  </a:lnTo>
                  <a:cubicBezTo>
                    <a:pt x="385" y="58511"/>
                    <a:pt x="0" y="58104"/>
                    <a:pt x="0" y="57561"/>
                  </a:cubicBezTo>
                  <a:close/>
                </a:path>
              </a:pathLst>
            </a:custGeom>
            <a:solidFill>
              <a:schemeClr val="bg1"/>
            </a:solidFill>
            <a:ln w="226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662E31E7-078C-31CD-E150-CAD49838CBFB}"/>
                </a:ext>
              </a:extLst>
            </p:cNvPr>
            <p:cNvSpPr/>
            <p:nvPr/>
          </p:nvSpPr>
          <p:spPr>
            <a:xfrm>
              <a:off x="9367522" y="2538944"/>
              <a:ext cx="227567" cy="409319"/>
            </a:xfrm>
            <a:custGeom>
              <a:avLst/>
              <a:gdLst>
                <a:gd name="connsiteX0" fmla="*/ 0 w 32505"/>
                <a:gd name="connsiteY0" fmla="*/ 57561 h 58466"/>
                <a:gd name="connsiteX1" fmla="*/ 0 w 32505"/>
                <a:gd name="connsiteY1" fmla="*/ 950 h 58466"/>
                <a:gd name="connsiteX2" fmla="*/ 950 w 32505"/>
                <a:gd name="connsiteY2" fmla="*/ 0 h 58466"/>
                <a:gd name="connsiteX3" fmla="*/ 31555 w 32505"/>
                <a:gd name="connsiteY3" fmla="*/ 0 h 58466"/>
                <a:gd name="connsiteX4" fmla="*/ 32505 w 32505"/>
                <a:gd name="connsiteY4" fmla="*/ 950 h 58466"/>
                <a:gd name="connsiteX5" fmla="*/ 32505 w 32505"/>
                <a:gd name="connsiteY5" fmla="*/ 5838 h 58466"/>
                <a:gd name="connsiteX6" fmla="*/ 31555 w 32505"/>
                <a:gd name="connsiteY6" fmla="*/ 6788 h 58466"/>
                <a:gd name="connsiteX7" fmla="*/ 7487 w 32505"/>
                <a:gd name="connsiteY7" fmla="*/ 6788 h 58466"/>
                <a:gd name="connsiteX8" fmla="*/ 7487 w 32505"/>
                <a:gd name="connsiteY8" fmla="*/ 25409 h 58466"/>
                <a:gd name="connsiteX9" fmla="*/ 29225 w 32505"/>
                <a:gd name="connsiteY9" fmla="*/ 25409 h 58466"/>
                <a:gd name="connsiteX10" fmla="*/ 30175 w 32505"/>
                <a:gd name="connsiteY10" fmla="*/ 26360 h 58466"/>
                <a:gd name="connsiteX11" fmla="*/ 30175 w 32505"/>
                <a:gd name="connsiteY11" fmla="*/ 31066 h 58466"/>
                <a:gd name="connsiteX12" fmla="*/ 29225 w 32505"/>
                <a:gd name="connsiteY12" fmla="*/ 32016 h 58466"/>
                <a:gd name="connsiteX13" fmla="*/ 7487 w 32505"/>
                <a:gd name="connsiteY13" fmla="*/ 32016 h 58466"/>
                <a:gd name="connsiteX14" fmla="*/ 7487 w 32505"/>
                <a:gd name="connsiteY14" fmla="*/ 51678 h 58466"/>
                <a:gd name="connsiteX15" fmla="*/ 31555 w 32505"/>
                <a:gd name="connsiteY15" fmla="*/ 51678 h 58466"/>
                <a:gd name="connsiteX16" fmla="*/ 32505 w 32505"/>
                <a:gd name="connsiteY16" fmla="*/ 52629 h 58466"/>
                <a:gd name="connsiteX17" fmla="*/ 32505 w 32505"/>
                <a:gd name="connsiteY17" fmla="*/ 57516 h 58466"/>
                <a:gd name="connsiteX18" fmla="*/ 31555 w 32505"/>
                <a:gd name="connsiteY18" fmla="*/ 58466 h 58466"/>
                <a:gd name="connsiteX19" fmla="*/ 950 w 32505"/>
                <a:gd name="connsiteY19" fmla="*/ 58466 h 58466"/>
                <a:gd name="connsiteX20" fmla="*/ 0 w 32505"/>
                <a:gd name="connsiteY20" fmla="*/ 57516 h 5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05" h="58466">
                  <a:moveTo>
                    <a:pt x="0" y="57561"/>
                  </a:moveTo>
                  <a:lnTo>
                    <a:pt x="0" y="950"/>
                  </a:lnTo>
                  <a:cubicBezTo>
                    <a:pt x="0" y="385"/>
                    <a:pt x="407" y="0"/>
                    <a:pt x="950" y="0"/>
                  </a:cubicBezTo>
                  <a:lnTo>
                    <a:pt x="31555" y="0"/>
                  </a:lnTo>
                  <a:cubicBezTo>
                    <a:pt x="32121" y="0"/>
                    <a:pt x="32505" y="407"/>
                    <a:pt x="32505" y="950"/>
                  </a:cubicBezTo>
                  <a:lnTo>
                    <a:pt x="32505" y="5838"/>
                  </a:lnTo>
                  <a:cubicBezTo>
                    <a:pt x="32505" y="6403"/>
                    <a:pt x="32098" y="6788"/>
                    <a:pt x="31555" y="6788"/>
                  </a:cubicBezTo>
                  <a:lnTo>
                    <a:pt x="7487" y="6788"/>
                  </a:lnTo>
                  <a:lnTo>
                    <a:pt x="7487" y="25409"/>
                  </a:lnTo>
                  <a:lnTo>
                    <a:pt x="29225" y="25409"/>
                  </a:lnTo>
                  <a:cubicBezTo>
                    <a:pt x="29791" y="25409"/>
                    <a:pt x="30175" y="25817"/>
                    <a:pt x="30175" y="26360"/>
                  </a:cubicBezTo>
                  <a:lnTo>
                    <a:pt x="30175" y="31066"/>
                  </a:lnTo>
                  <a:cubicBezTo>
                    <a:pt x="30175" y="31632"/>
                    <a:pt x="29768" y="32016"/>
                    <a:pt x="29225" y="32016"/>
                  </a:cubicBezTo>
                  <a:lnTo>
                    <a:pt x="7487" y="32016"/>
                  </a:lnTo>
                  <a:lnTo>
                    <a:pt x="7487" y="51678"/>
                  </a:lnTo>
                  <a:lnTo>
                    <a:pt x="31555" y="51678"/>
                  </a:lnTo>
                  <a:cubicBezTo>
                    <a:pt x="32121" y="51678"/>
                    <a:pt x="32505" y="52086"/>
                    <a:pt x="32505" y="52629"/>
                  </a:cubicBezTo>
                  <a:lnTo>
                    <a:pt x="32505" y="57516"/>
                  </a:lnTo>
                  <a:cubicBezTo>
                    <a:pt x="32505" y="58082"/>
                    <a:pt x="32098" y="58466"/>
                    <a:pt x="31555" y="58466"/>
                  </a:cubicBezTo>
                  <a:lnTo>
                    <a:pt x="950" y="58466"/>
                  </a:lnTo>
                  <a:cubicBezTo>
                    <a:pt x="384" y="58466"/>
                    <a:pt x="0" y="58059"/>
                    <a:pt x="0" y="57516"/>
                  </a:cubicBezTo>
                  <a:close/>
                </a:path>
              </a:pathLst>
            </a:custGeom>
            <a:solidFill>
              <a:schemeClr val="bg1"/>
            </a:solidFill>
            <a:ln w="2260"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3C1FDEDD-31CF-AFC2-C5F1-4BEF77F7C8F0}"/>
                </a:ext>
              </a:extLst>
            </p:cNvPr>
            <p:cNvSpPr/>
            <p:nvPr/>
          </p:nvSpPr>
          <p:spPr>
            <a:xfrm>
              <a:off x="9664007" y="2532923"/>
              <a:ext cx="268389" cy="421991"/>
            </a:xfrm>
            <a:custGeom>
              <a:avLst/>
              <a:gdLst>
                <a:gd name="connsiteX0" fmla="*/ 18 w 38336"/>
                <a:gd name="connsiteY0" fmla="*/ 46497 h 60276"/>
                <a:gd name="connsiteX1" fmla="*/ 742 w 38336"/>
                <a:gd name="connsiteY1" fmla="*/ 45388 h 60276"/>
                <a:gd name="connsiteX2" fmla="*/ 5786 w 38336"/>
                <a:gd name="connsiteY2" fmla="*/ 44031 h 60276"/>
                <a:gd name="connsiteX3" fmla="*/ 6895 w 38336"/>
                <a:gd name="connsiteY3" fmla="*/ 44664 h 60276"/>
                <a:gd name="connsiteX4" fmla="*/ 19449 w 38336"/>
                <a:gd name="connsiteY4" fmla="*/ 53466 h 60276"/>
                <a:gd name="connsiteX5" fmla="*/ 30804 w 38336"/>
                <a:gd name="connsiteY5" fmla="*/ 44438 h 60276"/>
                <a:gd name="connsiteX6" fmla="*/ 17458 w 38336"/>
                <a:gd name="connsiteY6" fmla="*/ 32695 h 60276"/>
                <a:gd name="connsiteX7" fmla="*/ 1556 w 38336"/>
                <a:gd name="connsiteY7" fmla="*/ 15838 h 60276"/>
                <a:gd name="connsiteX8" fmla="*/ 19788 w 38336"/>
                <a:gd name="connsiteY8" fmla="*/ 0 h 60276"/>
                <a:gd name="connsiteX9" fmla="*/ 37862 w 38336"/>
                <a:gd name="connsiteY9" fmla="*/ 12399 h 60276"/>
                <a:gd name="connsiteX10" fmla="*/ 37296 w 38336"/>
                <a:gd name="connsiteY10" fmla="*/ 13598 h 60276"/>
                <a:gd name="connsiteX11" fmla="*/ 32342 w 38336"/>
                <a:gd name="connsiteY11" fmla="*/ 15114 h 60276"/>
                <a:gd name="connsiteX12" fmla="*/ 31144 w 38336"/>
                <a:gd name="connsiteY12" fmla="*/ 14549 h 60276"/>
                <a:gd name="connsiteX13" fmla="*/ 19879 w 38336"/>
                <a:gd name="connsiteY13" fmla="*/ 6788 h 60276"/>
                <a:gd name="connsiteX14" fmla="*/ 8998 w 38336"/>
                <a:gd name="connsiteY14" fmla="*/ 15341 h 60276"/>
                <a:gd name="connsiteX15" fmla="*/ 22276 w 38336"/>
                <a:gd name="connsiteY15" fmla="*/ 26450 h 60276"/>
                <a:gd name="connsiteX16" fmla="*/ 38337 w 38336"/>
                <a:gd name="connsiteY16" fmla="*/ 43805 h 60276"/>
                <a:gd name="connsiteX17" fmla="*/ 19562 w 38336"/>
                <a:gd name="connsiteY17" fmla="*/ 60276 h 60276"/>
                <a:gd name="connsiteX18" fmla="*/ 63 w 38336"/>
                <a:gd name="connsiteY18" fmla="*/ 46520 h 6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336" h="60276">
                  <a:moveTo>
                    <a:pt x="18" y="46497"/>
                  </a:moveTo>
                  <a:cubicBezTo>
                    <a:pt x="-72" y="45931"/>
                    <a:pt x="176" y="45547"/>
                    <a:pt x="742" y="45388"/>
                  </a:cubicBezTo>
                  <a:lnTo>
                    <a:pt x="5786" y="44031"/>
                  </a:lnTo>
                  <a:cubicBezTo>
                    <a:pt x="6352" y="43872"/>
                    <a:pt x="6736" y="44121"/>
                    <a:pt x="6895" y="44664"/>
                  </a:cubicBezTo>
                  <a:cubicBezTo>
                    <a:pt x="8727" y="50343"/>
                    <a:pt x="12889" y="53466"/>
                    <a:pt x="19449" y="53466"/>
                  </a:cubicBezTo>
                  <a:cubicBezTo>
                    <a:pt x="26642" y="53466"/>
                    <a:pt x="30804" y="50027"/>
                    <a:pt x="30804" y="44438"/>
                  </a:cubicBezTo>
                  <a:cubicBezTo>
                    <a:pt x="30804" y="39234"/>
                    <a:pt x="28158" y="36609"/>
                    <a:pt x="17458" y="32695"/>
                  </a:cubicBezTo>
                  <a:cubicBezTo>
                    <a:pt x="5786" y="28373"/>
                    <a:pt x="1556" y="23418"/>
                    <a:pt x="1556" y="15838"/>
                  </a:cubicBezTo>
                  <a:cubicBezTo>
                    <a:pt x="1556" y="6087"/>
                    <a:pt x="8750" y="0"/>
                    <a:pt x="19788" y="0"/>
                  </a:cubicBezTo>
                  <a:cubicBezTo>
                    <a:pt x="28814" y="0"/>
                    <a:pt x="35125" y="4231"/>
                    <a:pt x="37862" y="12399"/>
                  </a:cubicBezTo>
                  <a:cubicBezTo>
                    <a:pt x="38111" y="12965"/>
                    <a:pt x="37952" y="13350"/>
                    <a:pt x="37296" y="13598"/>
                  </a:cubicBezTo>
                  <a:lnTo>
                    <a:pt x="32342" y="15114"/>
                  </a:lnTo>
                  <a:cubicBezTo>
                    <a:pt x="31777" y="15273"/>
                    <a:pt x="31393" y="15114"/>
                    <a:pt x="31144" y="14549"/>
                  </a:cubicBezTo>
                  <a:cubicBezTo>
                    <a:pt x="29063" y="9277"/>
                    <a:pt x="25466" y="6788"/>
                    <a:pt x="19879" y="6788"/>
                  </a:cubicBezTo>
                  <a:cubicBezTo>
                    <a:pt x="13319" y="6788"/>
                    <a:pt x="8998" y="9820"/>
                    <a:pt x="8998" y="15341"/>
                  </a:cubicBezTo>
                  <a:cubicBezTo>
                    <a:pt x="8998" y="19889"/>
                    <a:pt x="11645" y="22626"/>
                    <a:pt x="22276" y="26450"/>
                  </a:cubicBezTo>
                  <a:cubicBezTo>
                    <a:pt x="34265" y="30840"/>
                    <a:pt x="38337" y="35727"/>
                    <a:pt x="38337" y="43805"/>
                  </a:cubicBezTo>
                  <a:cubicBezTo>
                    <a:pt x="38337" y="54031"/>
                    <a:pt x="31144" y="60276"/>
                    <a:pt x="19562" y="60276"/>
                  </a:cubicBezTo>
                  <a:cubicBezTo>
                    <a:pt x="9089" y="60276"/>
                    <a:pt x="2212" y="55389"/>
                    <a:pt x="63" y="46520"/>
                  </a:cubicBezTo>
                  <a:close/>
                </a:path>
              </a:pathLst>
            </a:custGeom>
            <a:solidFill>
              <a:schemeClr val="bg1"/>
            </a:solidFill>
            <a:ln w="2260" cap="flat">
              <a:noFill/>
              <a:prstDash val="solid"/>
              <a:miter/>
            </a:ln>
          </p:spPr>
          <p:txBody>
            <a:bodyPr rtlCol="0" anchor="ctr"/>
            <a:lstStyle/>
            <a:p>
              <a:endParaRPr lang="en-US"/>
            </a:p>
          </p:txBody>
        </p:sp>
      </p:grpSp>
      <p:sp>
        <p:nvSpPr>
          <p:cNvPr id="2" name="Title 1"/>
          <p:cNvSpPr>
            <a:spLocks noGrp="1"/>
          </p:cNvSpPr>
          <p:nvPr>
            <p:ph type="ctrTitle"/>
          </p:nvPr>
        </p:nvSpPr>
        <p:spPr>
          <a:xfrm>
            <a:off x="609600" y="4733375"/>
            <a:ext cx="10972799" cy="873001"/>
          </a:xfrm>
        </p:spPr>
        <p:txBody>
          <a:bodyPr vert="horz"/>
          <a:lstStyle>
            <a:lvl1pPr algn="ctr">
              <a:defRPr b="1">
                <a:solidFill>
                  <a:schemeClr val="accent2"/>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CAE5A5DA-94CB-4F53-8221-91870D4E9703}"/>
              </a:ext>
            </a:extLst>
          </p:cNvPr>
          <p:cNvSpPr>
            <a:spLocks noGrp="1"/>
          </p:cNvSpPr>
          <p:nvPr>
            <p:ph type="sldNum" sz="quarter" idx="12"/>
          </p:nvPr>
        </p:nvSpPr>
        <p:spPr/>
        <p:txBody>
          <a:bodyPr/>
          <a:lstStyle>
            <a:lvl1pPr>
              <a:defRPr/>
            </a:lvl1pPr>
          </a:lstStyle>
          <a:p>
            <a:fld id="{E8D4D524-23D8-4BB6-8761-7CF22E1A744A}" type="slidenum">
              <a:rPr lang="en-US" altLang="en-US"/>
              <a:pPr/>
              <a:t>‹#›</a:t>
            </a:fld>
            <a:endParaRPr lang="en-US" altLang="en-US"/>
          </a:p>
        </p:txBody>
      </p:sp>
      <p:sp>
        <p:nvSpPr>
          <p:cNvPr id="36" name="Rectangle 35">
            <a:extLst>
              <a:ext uri="{FF2B5EF4-FFF2-40B4-BE49-F238E27FC236}">
                <a16:creationId xmlns:a16="http://schemas.microsoft.com/office/drawing/2014/main" id="{F41266E8-C317-140F-69AC-8F0415BFA59D}"/>
              </a:ext>
            </a:extLst>
          </p:cNvPr>
          <p:cNvSpPr/>
          <p:nvPr userDrawn="1"/>
        </p:nvSpPr>
        <p:spPr>
          <a:xfrm>
            <a:off x="0" y="6180326"/>
            <a:ext cx="12192000" cy="677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09601" y="5758464"/>
            <a:ext cx="10972799" cy="677674"/>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grpSp>
        <p:nvGrpSpPr>
          <p:cNvPr id="45" name="Group 44">
            <a:extLst>
              <a:ext uri="{FF2B5EF4-FFF2-40B4-BE49-F238E27FC236}">
                <a16:creationId xmlns:a16="http://schemas.microsoft.com/office/drawing/2014/main" id="{8A3BADAB-5628-1F93-8597-738D9136772E}"/>
              </a:ext>
            </a:extLst>
          </p:cNvPr>
          <p:cNvGrpSpPr/>
          <p:nvPr userDrawn="1"/>
        </p:nvGrpSpPr>
        <p:grpSpPr>
          <a:xfrm>
            <a:off x="-23078" y="3405098"/>
            <a:ext cx="12212394" cy="634629"/>
            <a:chOff x="-23078" y="3405098"/>
            <a:chExt cx="12212394" cy="634629"/>
          </a:xfrm>
        </p:grpSpPr>
        <p:pic>
          <p:nvPicPr>
            <p:cNvPr id="37" name="Picture 36">
              <a:extLst>
                <a:ext uri="{FF2B5EF4-FFF2-40B4-BE49-F238E27FC236}">
                  <a16:creationId xmlns:a16="http://schemas.microsoft.com/office/drawing/2014/main" id="{EAF31A8B-7659-0C65-634F-BA8EF818C8D3}"/>
                </a:ext>
              </a:extLst>
            </p:cNvPr>
            <p:cNvPicPr>
              <a:picLocks noChangeAspect="1"/>
            </p:cNvPicPr>
            <p:nvPr/>
          </p:nvPicPr>
          <p:blipFill>
            <a:blip r:embed="rId5" cstate="screen">
              <a:extLst>
                <a:ext uri="{28A0092B-C50C-407E-A947-70E740481C1C}">
                  <a14:useLocalDpi xmlns:a14="http://schemas.microsoft.com/office/drawing/2010/main"/>
                </a:ext>
              </a:extLst>
            </a:blip>
            <a:srcRect t="3894" b="3894"/>
            <a:stretch/>
          </p:blipFill>
          <p:spPr>
            <a:xfrm>
              <a:off x="-23078" y="3405098"/>
              <a:ext cx="1031086" cy="634629"/>
            </a:xfrm>
            <a:prstGeom prst="rect">
              <a:avLst/>
            </a:prstGeom>
            <a:ln>
              <a:noFill/>
            </a:ln>
            <a:effectLst/>
          </p:spPr>
        </p:pic>
        <p:pic>
          <p:nvPicPr>
            <p:cNvPr id="38" name="Picture 1">
              <a:extLst>
                <a:ext uri="{FF2B5EF4-FFF2-40B4-BE49-F238E27FC236}">
                  <a16:creationId xmlns:a16="http://schemas.microsoft.com/office/drawing/2014/main" id="{D474BE14-6425-7DEE-79C6-B7B125FFDDC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052460" y="3405098"/>
              <a:ext cx="1044013" cy="634629"/>
            </a:xfrm>
            <a:prstGeom prst="rect">
              <a:avLst/>
            </a:prstGeom>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A7A711CF-8F03-4EB7-E972-8DBEA04047D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 r="-4" b="5319"/>
            <a:stretch/>
          </p:blipFill>
          <p:spPr>
            <a:xfrm>
              <a:off x="1009544" y="3405098"/>
              <a:ext cx="1031086" cy="634629"/>
            </a:xfrm>
            <a:prstGeom prst="rect">
              <a:avLst/>
            </a:prstGeom>
            <a:ln>
              <a:noFill/>
            </a:ln>
            <a:effectLst/>
          </p:spPr>
        </p:pic>
        <p:pic>
          <p:nvPicPr>
            <p:cNvPr id="40" name="Picture 39">
              <a:extLst>
                <a:ext uri="{FF2B5EF4-FFF2-40B4-BE49-F238E27FC236}">
                  <a16:creationId xmlns:a16="http://schemas.microsoft.com/office/drawing/2014/main" id="{5531C0EF-8A91-CA11-2898-AE845994769A}"/>
                </a:ext>
              </a:extLst>
            </p:cNvPr>
            <p:cNvPicPr>
              <a:picLocks noChangeAspect="1"/>
            </p:cNvPicPr>
            <p:nvPr/>
          </p:nvPicPr>
          <p:blipFill>
            <a:blip r:embed="rId8" cstate="screen">
              <a:extLst>
                <a:ext uri="{28A0092B-C50C-407E-A947-70E740481C1C}">
                  <a14:useLocalDpi xmlns:a14="http://schemas.microsoft.com/office/drawing/2010/main"/>
                </a:ext>
              </a:extLst>
            </a:blip>
            <a:srcRect t="18126" b="18126"/>
            <a:stretch/>
          </p:blipFill>
          <p:spPr>
            <a:xfrm>
              <a:off x="7098670" y="3405098"/>
              <a:ext cx="1031086" cy="634629"/>
            </a:xfrm>
            <a:prstGeom prst="rect">
              <a:avLst/>
            </a:prstGeom>
            <a:ln>
              <a:noFill/>
            </a:ln>
            <a:effectLst/>
          </p:spPr>
        </p:pic>
        <p:pic>
          <p:nvPicPr>
            <p:cNvPr id="41" name="Picture 40">
              <a:extLst>
                <a:ext uri="{FF2B5EF4-FFF2-40B4-BE49-F238E27FC236}">
                  <a16:creationId xmlns:a16="http://schemas.microsoft.com/office/drawing/2014/main" id="{7E8CEF51-B180-B909-74AE-1D858CF83B2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r="5033" b="10969"/>
            <a:stretch/>
          </p:blipFill>
          <p:spPr>
            <a:xfrm>
              <a:off x="11158230" y="3405098"/>
              <a:ext cx="1031086" cy="634629"/>
            </a:xfrm>
            <a:prstGeom prst="rect">
              <a:avLst/>
            </a:prstGeom>
            <a:ln>
              <a:noFill/>
            </a:ln>
            <a:effectLst/>
          </p:spPr>
        </p:pic>
        <p:grpSp>
          <p:nvGrpSpPr>
            <p:cNvPr id="42" name="Group 41">
              <a:extLst>
                <a:ext uri="{FF2B5EF4-FFF2-40B4-BE49-F238E27FC236}">
                  <a16:creationId xmlns:a16="http://schemas.microsoft.com/office/drawing/2014/main" id="{5609B6C4-DEDE-EF4D-D606-C5712C18B3A6}"/>
                </a:ext>
              </a:extLst>
            </p:cNvPr>
            <p:cNvGrpSpPr/>
            <p:nvPr/>
          </p:nvGrpSpPr>
          <p:grpSpPr>
            <a:xfrm>
              <a:off x="5122253" y="3405098"/>
              <a:ext cx="958123" cy="634629"/>
              <a:chOff x="4515949" y="5793042"/>
              <a:chExt cx="1463040" cy="914400"/>
            </a:xfrm>
            <a:effectLst/>
          </p:grpSpPr>
          <p:sp>
            <p:nvSpPr>
              <p:cNvPr id="55" name="Rectangle 54">
                <a:extLst>
                  <a:ext uri="{FF2B5EF4-FFF2-40B4-BE49-F238E27FC236}">
                    <a16:creationId xmlns:a16="http://schemas.microsoft.com/office/drawing/2014/main" id="{95DF100C-4D6A-4936-C8A7-18B340D67640}"/>
                  </a:ext>
                </a:extLst>
              </p:cNvPr>
              <p:cNvSpPr/>
              <p:nvPr/>
            </p:nvSpPr>
            <p:spPr>
              <a:xfrm>
                <a:off x="4515949" y="5793042"/>
                <a:ext cx="1463040" cy="9144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Picture 55">
                <a:extLst>
                  <a:ext uri="{FF2B5EF4-FFF2-40B4-BE49-F238E27FC236}">
                    <a16:creationId xmlns:a16="http://schemas.microsoft.com/office/drawing/2014/main" id="{72051CAB-E361-EE1A-68C8-877079172BDD}"/>
                  </a:ext>
                </a:extLst>
              </p:cNvPr>
              <p:cNvPicPr>
                <a:picLocks noChangeAspect="1"/>
              </p:cNvPicPr>
              <p:nvPr/>
            </p:nvPicPr>
            <p:blipFill>
              <a:blip r:embed="rId10" cstate="screen">
                <a:extLst>
                  <a:ext uri="{28A0092B-C50C-407E-A947-70E740481C1C}">
                    <a14:useLocalDpi xmlns:a14="http://schemas.microsoft.com/office/drawing/2010/main"/>
                  </a:ext>
                </a:extLst>
              </a:blip>
              <a:srcRect l="5770" r="5770"/>
              <a:stretch/>
            </p:blipFill>
            <p:spPr>
              <a:xfrm>
                <a:off x="4740175" y="5841103"/>
                <a:ext cx="1014587" cy="822960"/>
              </a:xfrm>
              <a:prstGeom prst="rect">
                <a:avLst/>
              </a:prstGeom>
              <a:ln>
                <a:noFill/>
              </a:ln>
            </p:spPr>
          </p:pic>
        </p:grpSp>
        <p:pic>
          <p:nvPicPr>
            <p:cNvPr id="43" name="Picture 42">
              <a:extLst>
                <a:ext uri="{FF2B5EF4-FFF2-40B4-BE49-F238E27FC236}">
                  <a16:creationId xmlns:a16="http://schemas.microsoft.com/office/drawing/2014/main" id="{803EFF56-1B8C-D7FC-06CF-3C3A72076B56}"/>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t="12980" r="3717" b="38659"/>
            <a:stretch/>
          </p:blipFill>
          <p:spPr>
            <a:xfrm>
              <a:off x="8122249" y="3405098"/>
              <a:ext cx="1031086" cy="634629"/>
            </a:xfrm>
            <a:prstGeom prst="rect">
              <a:avLst/>
            </a:prstGeom>
            <a:ln>
              <a:noFill/>
            </a:ln>
            <a:effectLst/>
          </p:spPr>
        </p:pic>
        <p:pic>
          <p:nvPicPr>
            <p:cNvPr id="44" name="Picture 43">
              <a:extLst>
                <a:ext uri="{FF2B5EF4-FFF2-40B4-BE49-F238E27FC236}">
                  <a16:creationId xmlns:a16="http://schemas.microsoft.com/office/drawing/2014/main" id="{414ADA5E-4ECF-2194-A1DD-2A5DA8B9380A}"/>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1105" t="28638" r="-1300" b="28937"/>
            <a:stretch/>
          </p:blipFill>
          <p:spPr>
            <a:xfrm>
              <a:off x="10142100" y="3405098"/>
              <a:ext cx="1031086" cy="634629"/>
            </a:xfrm>
            <a:prstGeom prst="rect">
              <a:avLst/>
            </a:prstGeom>
            <a:ln>
              <a:noFill/>
            </a:ln>
            <a:effectLst/>
          </p:spPr>
        </p:pic>
        <p:pic>
          <p:nvPicPr>
            <p:cNvPr id="51" name="Picture 50">
              <a:extLst>
                <a:ext uri="{FF2B5EF4-FFF2-40B4-BE49-F238E27FC236}">
                  <a16:creationId xmlns:a16="http://schemas.microsoft.com/office/drawing/2014/main" id="{25B045D0-68C3-80AC-3A40-56905531C55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l="1169" t="1237" r="-1169" b="57625"/>
            <a:stretch/>
          </p:blipFill>
          <p:spPr>
            <a:xfrm>
              <a:off x="2038473" y="3405098"/>
              <a:ext cx="1031086" cy="634629"/>
            </a:xfrm>
            <a:prstGeom prst="rect">
              <a:avLst/>
            </a:prstGeom>
            <a:ln>
              <a:noFill/>
            </a:ln>
            <a:effectLst/>
          </p:spPr>
        </p:pic>
        <p:pic>
          <p:nvPicPr>
            <p:cNvPr id="52" name="Picture 51">
              <a:extLst>
                <a:ext uri="{FF2B5EF4-FFF2-40B4-BE49-F238E27FC236}">
                  <a16:creationId xmlns:a16="http://schemas.microsoft.com/office/drawing/2014/main" id="{7A6166FF-8D80-9CF5-2636-782F8FFF80F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6214"/>
            <a:stretch/>
          </p:blipFill>
          <p:spPr>
            <a:xfrm>
              <a:off x="4091104" y="3405098"/>
              <a:ext cx="1031086" cy="634629"/>
            </a:xfrm>
            <a:prstGeom prst="rect">
              <a:avLst/>
            </a:prstGeom>
            <a:ln>
              <a:noFill/>
            </a:ln>
            <a:effectLst/>
          </p:spPr>
        </p:pic>
        <p:pic>
          <p:nvPicPr>
            <p:cNvPr id="53" name="Picture 52">
              <a:extLst>
                <a:ext uri="{FF2B5EF4-FFF2-40B4-BE49-F238E27FC236}">
                  <a16:creationId xmlns:a16="http://schemas.microsoft.com/office/drawing/2014/main" id="{2C11E905-EAA8-9F52-24FF-71934256BBE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1" t="38219" r="45" b="36833"/>
            <a:stretch/>
          </p:blipFill>
          <p:spPr>
            <a:xfrm>
              <a:off x="6072868" y="3405098"/>
              <a:ext cx="1031087" cy="634629"/>
            </a:xfrm>
            <a:prstGeom prst="rect">
              <a:avLst/>
            </a:prstGeom>
            <a:ln>
              <a:noFill/>
            </a:ln>
            <a:effectLst/>
          </p:spPr>
        </p:pic>
        <p:pic>
          <p:nvPicPr>
            <p:cNvPr id="54" name="Picture 53">
              <a:extLst>
                <a:ext uri="{FF2B5EF4-FFF2-40B4-BE49-F238E27FC236}">
                  <a16:creationId xmlns:a16="http://schemas.microsoft.com/office/drawing/2014/main" id="{6255D4EE-EFB3-3D5C-3643-29C889FB725E}"/>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34809" r="878" b="1091"/>
            <a:stretch/>
          </p:blipFill>
          <p:spPr>
            <a:xfrm>
              <a:off x="9122440" y="3405098"/>
              <a:ext cx="1031087" cy="634629"/>
            </a:xfrm>
            <a:prstGeom prst="rect">
              <a:avLst/>
            </a:prstGeom>
            <a:ln>
              <a:noFill/>
            </a:ln>
            <a:effectLst/>
          </p:spPr>
        </p:pic>
      </p:grpSp>
    </p:spTree>
    <p:extLst>
      <p:ext uri="{BB962C8B-B14F-4D97-AF65-F5344CB8AC3E}">
        <p14:creationId xmlns:p14="http://schemas.microsoft.com/office/powerpoint/2010/main" val="32172664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ABE5AB7-348B-62B4-7C08-6D265EE72609}"/>
              </a:ext>
            </a:extLst>
          </p:cNvPr>
          <p:cNvGraphicFramePr>
            <a:graphicFrameLocks noChangeAspect="1"/>
          </p:cNvGraphicFramePr>
          <p:nvPr userDrawn="1">
            <p:custDataLst>
              <p:tags r:id="rId1"/>
            </p:custDataLst>
            <p:extLst>
              <p:ext uri="{D42A27DB-BD31-4B8C-83A1-F6EECF244321}">
                <p14:modId xmlns:p14="http://schemas.microsoft.com/office/powerpoint/2010/main" val="38302392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ABE5AB7-348B-62B4-7C08-6D265EE7260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9C6E41E-C71F-18C1-48EB-AC097DB9ED4A}"/>
              </a:ext>
            </a:extLst>
          </p:cNvPr>
          <p:cNvSpPr/>
          <p:nvPr userDrawn="1"/>
        </p:nvSpPr>
        <p:spPr>
          <a:xfrm>
            <a:off x="0" y="6172200"/>
            <a:ext cx="4630615"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E49AD098-CEEF-96E1-9884-D39AEA443DDB}"/>
              </a:ext>
            </a:extLst>
          </p:cNvPr>
          <p:cNvSpPr/>
          <p:nvPr userDrawn="1"/>
        </p:nvSpPr>
        <p:spPr>
          <a:xfrm>
            <a:off x="0" y="1966050"/>
            <a:ext cx="12192000" cy="2925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09600" y="2635043"/>
            <a:ext cx="10972799" cy="873001"/>
          </a:xfrm>
        </p:spPr>
        <p:txBody>
          <a:bodyPr vert="horz" anchor="b" anchorCtr="0"/>
          <a:lstStyle>
            <a:lvl1pPr algn="ctr">
              <a:defRPr sz="3600" b="1">
                <a:solidFill>
                  <a:schemeClr val="bg1"/>
                </a:solidFill>
              </a:defRPr>
            </a:lvl1pPr>
          </a:lstStyle>
          <a:p>
            <a:r>
              <a:rPr lang="en-US"/>
              <a:t>Speaker Name</a:t>
            </a:r>
          </a:p>
        </p:txBody>
      </p:sp>
      <p:sp>
        <p:nvSpPr>
          <p:cNvPr id="6" name="Slide Number Placeholder 5">
            <a:extLst>
              <a:ext uri="{FF2B5EF4-FFF2-40B4-BE49-F238E27FC236}">
                <a16:creationId xmlns:a16="http://schemas.microsoft.com/office/drawing/2014/main" id="{CAE5A5DA-94CB-4F53-8221-91870D4E9703}"/>
              </a:ext>
            </a:extLst>
          </p:cNvPr>
          <p:cNvSpPr>
            <a:spLocks noGrp="1"/>
          </p:cNvSpPr>
          <p:nvPr>
            <p:ph type="sldNum" sz="quarter" idx="12"/>
          </p:nvPr>
        </p:nvSpPr>
        <p:spPr/>
        <p:txBody>
          <a:bodyPr/>
          <a:lstStyle>
            <a:lvl1pPr>
              <a:defRPr/>
            </a:lvl1pPr>
          </a:lstStyle>
          <a:p>
            <a:fld id="{E8D4D524-23D8-4BB6-8761-7CF22E1A744A}" type="slidenum">
              <a:rPr lang="en-US" altLang="en-US"/>
              <a:pPr/>
              <a:t>‹#›</a:t>
            </a:fld>
            <a:endParaRPr lang="en-US" altLang="en-US"/>
          </a:p>
        </p:txBody>
      </p:sp>
      <p:sp>
        <p:nvSpPr>
          <p:cNvPr id="3" name="Subtitle 2"/>
          <p:cNvSpPr>
            <a:spLocks noGrp="1"/>
          </p:cNvSpPr>
          <p:nvPr>
            <p:ph type="subTitle" idx="1" hasCustomPrompt="1"/>
          </p:nvPr>
        </p:nvSpPr>
        <p:spPr>
          <a:xfrm>
            <a:off x="609601" y="3605253"/>
            <a:ext cx="10972799" cy="677674"/>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title</a:t>
            </a:r>
          </a:p>
        </p:txBody>
      </p:sp>
      <p:grpSp>
        <p:nvGrpSpPr>
          <p:cNvPr id="22" name="Group 21">
            <a:extLst>
              <a:ext uri="{FF2B5EF4-FFF2-40B4-BE49-F238E27FC236}">
                <a16:creationId xmlns:a16="http://schemas.microsoft.com/office/drawing/2014/main" id="{21EA3BCD-5992-6610-837C-1E1F42ACE1B4}"/>
              </a:ext>
            </a:extLst>
          </p:cNvPr>
          <p:cNvGrpSpPr/>
          <p:nvPr userDrawn="1"/>
        </p:nvGrpSpPr>
        <p:grpSpPr>
          <a:xfrm>
            <a:off x="0" y="1331421"/>
            <a:ext cx="12212394" cy="634629"/>
            <a:chOff x="-23078" y="3405098"/>
            <a:chExt cx="12212394" cy="634629"/>
          </a:xfrm>
        </p:grpSpPr>
        <p:pic>
          <p:nvPicPr>
            <p:cNvPr id="23" name="Picture 22">
              <a:extLst>
                <a:ext uri="{FF2B5EF4-FFF2-40B4-BE49-F238E27FC236}">
                  <a16:creationId xmlns:a16="http://schemas.microsoft.com/office/drawing/2014/main" id="{5BEFAF40-56BD-DB17-059B-ADA210A4C33D}"/>
                </a:ext>
              </a:extLst>
            </p:cNvPr>
            <p:cNvPicPr>
              <a:picLocks noChangeAspect="1"/>
            </p:cNvPicPr>
            <p:nvPr/>
          </p:nvPicPr>
          <p:blipFill>
            <a:blip r:embed="rId5" cstate="screen">
              <a:extLst>
                <a:ext uri="{28A0092B-C50C-407E-A947-70E740481C1C}">
                  <a14:useLocalDpi xmlns:a14="http://schemas.microsoft.com/office/drawing/2010/main"/>
                </a:ext>
              </a:extLst>
            </a:blip>
            <a:srcRect t="3894" b="3894"/>
            <a:stretch/>
          </p:blipFill>
          <p:spPr>
            <a:xfrm>
              <a:off x="-23078" y="3405098"/>
              <a:ext cx="1031086" cy="634629"/>
            </a:xfrm>
            <a:prstGeom prst="rect">
              <a:avLst/>
            </a:prstGeom>
            <a:ln>
              <a:noFill/>
            </a:ln>
            <a:effectLst/>
          </p:spPr>
        </p:pic>
        <p:pic>
          <p:nvPicPr>
            <p:cNvPr id="24" name="Picture 1">
              <a:extLst>
                <a:ext uri="{FF2B5EF4-FFF2-40B4-BE49-F238E27FC236}">
                  <a16:creationId xmlns:a16="http://schemas.microsoft.com/office/drawing/2014/main" id="{DAE1B55E-9ACE-295A-8E5F-2AC6CB63F3F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052460" y="3405098"/>
              <a:ext cx="1044013" cy="634629"/>
            </a:xfrm>
            <a:prstGeom prst="rect">
              <a:avLst/>
            </a:prstGeom>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E949F6A9-A1B5-B67A-CC94-D661A157288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 r="-4" b="5319"/>
            <a:stretch/>
          </p:blipFill>
          <p:spPr>
            <a:xfrm>
              <a:off x="1009544" y="3405098"/>
              <a:ext cx="1031086" cy="634629"/>
            </a:xfrm>
            <a:prstGeom prst="rect">
              <a:avLst/>
            </a:prstGeom>
            <a:ln>
              <a:noFill/>
            </a:ln>
            <a:effectLst/>
          </p:spPr>
        </p:pic>
        <p:pic>
          <p:nvPicPr>
            <p:cNvPr id="26" name="Picture 25">
              <a:extLst>
                <a:ext uri="{FF2B5EF4-FFF2-40B4-BE49-F238E27FC236}">
                  <a16:creationId xmlns:a16="http://schemas.microsoft.com/office/drawing/2014/main" id="{56A42064-D80B-CDA4-F6F9-9474CBECF5D7}"/>
                </a:ext>
              </a:extLst>
            </p:cNvPr>
            <p:cNvPicPr>
              <a:picLocks noChangeAspect="1"/>
            </p:cNvPicPr>
            <p:nvPr/>
          </p:nvPicPr>
          <p:blipFill>
            <a:blip r:embed="rId8" cstate="screen">
              <a:extLst>
                <a:ext uri="{28A0092B-C50C-407E-A947-70E740481C1C}">
                  <a14:useLocalDpi xmlns:a14="http://schemas.microsoft.com/office/drawing/2010/main"/>
                </a:ext>
              </a:extLst>
            </a:blip>
            <a:srcRect t="18126" b="18126"/>
            <a:stretch/>
          </p:blipFill>
          <p:spPr>
            <a:xfrm>
              <a:off x="7098670" y="3405098"/>
              <a:ext cx="1031086" cy="634629"/>
            </a:xfrm>
            <a:prstGeom prst="rect">
              <a:avLst/>
            </a:prstGeom>
            <a:ln>
              <a:noFill/>
            </a:ln>
            <a:effectLst/>
          </p:spPr>
        </p:pic>
        <p:pic>
          <p:nvPicPr>
            <p:cNvPr id="27" name="Picture 26">
              <a:extLst>
                <a:ext uri="{FF2B5EF4-FFF2-40B4-BE49-F238E27FC236}">
                  <a16:creationId xmlns:a16="http://schemas.microsoft.com/office/drawing/2014/main" id="{1E02BD4E-7CEE-1813-59A5-103ED593132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r="5033" b="10969"/>
            <a:stretch/>
          </p:blipFill>
          <p:spPr>
            <a:xfrm>
              <a:off x="11158230" y="3405098"/>
              <a:ext cx="1031086" cy="634629"/>
            </a:xfrm>
            <a:prstGeom prst="rect">
              <a:avLst/>
            </a:prstGeom>
            <a:ln>
              <a:noFill/>
            </a:ln>
            <a:effectLst/>
          </p:spPr>
        </p:pic>
        <p:grpSp>
          <p:nvGrpSpPr>
            <p:cNvPr id="28" name="Group 27">
              <a:extLst>
                <a:ext uri="{FF2B5EF4-FFF2-40B4-BE49-F238E27FC236}">
                  <a16:creationId xmlns:a16="http://schemas.microsoft.com/office/drawing/2014/main" id="{3D62E341-DB55-7027-44EF-A00998E30C76}"/>
                </a:ext>
              </a:extLst>
            </p:cNvPr>
            <p:cNvGrpSpPr/>
            <p:nvPr/>
          </p:nvGrpSpPr>
          <p:grpSpPr>
            <a:xfrm>
              <a:off x="5122253" y="3405098"/>
              <a:ext cx="958123" cy="634629"/>
              <a:chOff x="4515949" y="5793042"/>
              <a:chExt cx="1463040" cy="914400"/>
            </a:xfrm>
            <a:effectLst/>
          </p:grpSpPr>
          <p:sp>
            <p:nvSpPr>
              <p:cNvPr id="35" name="Rectangle 34">
                <a:extLst>
                  <a:ext uri="{FF2B5EF4-FFF2-40B4-BE49-F238E27FC236}">
                    <a16:creationId xmlns:a16="http://schemas.microsoft.com/office/drawing/2014/main" id="{296A0562-1844-8175-B0AE-16809F508B03}"/>
                  </a:ext>
                </a:extLst>
              </p:cNvPr>
              <p:cNvSpPr/>
              <p:nvPr/>
            </p:nvSpPr>
            <p:spPr>
              <a:xfrm>
                <a:off x="4515949" y="5793042"/>
                <a:ext cx="1463040" cy="9144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7F5043EC-5189-F689-0CB7-63663D393099}"/>
                  </a:ext>
                </a:extLst>
              </p:cNvPr>
              <p:cNvPicPr>
                <a:picLocks noChangeAspect="1"/>
              </p:cNvPicPr>
              <p:nvPr/>
            </p:nvPicPr>
            <p:blipFill>
              <a:blip r:embed="rId10" cstate="screen">
                <a:extLst>
                  <a:ext uri="{28A0092B-C50C-407E-A947-70E740481C1C}">
                    <a14:useLocalDpi xmlns:a14="http://schemas.microsoft.com/office/drawing/2010/main"/>
                  </a:ext>
                </a:extLst>
              </a:blip>
              <a:srcRect l="5770" r="5770"/>
              <a:stretch/>
            </p:blipFill>
            <p:spPr>
              <a:xfrm>
                <a:off x="4740175" y="5841103"/>
                <a:ext cx="1014587" cy="822960"/>
              </a:xfrm>
              <a:prstGeom prst="rect">
                <a:avLst/>
              </a:prstGeom>
              <a:ln>
                <a:noFill/>
              </a:ln>
            </p:spPr>
          </p:pic>
        </p:grpSp>
        <p:pic>
          <p:nvPicPr>
            <p:cNvPr id="29" name="Picture 28">
              <a:extLst>
                <a:ext uri="{FF2B5EF4-FFF2-40B4-BE49-F238E27FC236}">
                  <a16:creationId xmlns:a16="http://schemas.microsoft.com/office/drawing/2014/main" id="{03421E88-5F11-5912-38CA-0F15F7AE898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t="12980" r="3717" b="38659"/>
            <a:stretch/>
          </p:blipFill>
          <p:spPr>
            <a:xfrm>
              <a:off x="8122249" y="3405098"/>
              <a:ext cx="1031086" cy="634629"/>
            </a:xfrm>
            <a:prstGeom prst="rect">
              <a:avLst/>
            </a:prstGeom>
            <a:ln>
              <a:noFill/>
            </a:ln>
            <a:effectLst/>
          </p:spPr>
        </p:pic>
        <p:pic>
          <p:nvPicPr>
            <p:cNvPr id="30" name="Picture 29">
              <a:extLst>
                <a:ext uri="{FF2B5EF4-FFF2-40B4-BE49-F238E27FC236}">
                  <a16:creationId xmlns:a16="http://schemas.microsoft.com/office/drawing/2014/main" id="{1A095674-328D-9B44-E248-9CAE77B4C837}"/>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1105" t="28638" r="-1300" b="28937"/>
            <a:stretch/>
          </p:blipFill>
          <p:spPr>
            <a:xfrm>
              <a:off x="10142100" y="3405098"/>
              <a:ext cx="1031086" cy="634629"/>
            </a:xfrm>
            <a:prstGeom prst="rect">
              <a:avLst/>
            </a:prstGeom>
            <a:ln>
              <a:noFill/>
            </a:ln>
            <a:effectLst/>
          </p:spPr>
        </p:pic>
        <p:pic>
          <p:nvPicPr>
            <p:cNvPr id="31" name="Picture 30">
              <a:extLst>
                <a:ext uri="{FF2B5EF4-FFF2-40B4-BE49-F238E27FC236}">
                  <a16:creationId xmlns:a16="http://schemas.microsoft.com/office/drawing/2014/main" id="{F1408C2C-A55F-19E5-69D7-11759496EA27}"/>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l="1169" t="1237" r="-1169" b="57625"/>
            <a:stretch/>
          </p:blipFill>
          <p:spPr>
            <a:xfrm>
              <a:off x="2038473" y="3405098"/>
              <a:ext cx="1031086" cy="634629"/>
            </a:xfrm>
            <a:prstGeom prst="rect">
              <a:avLst/>
            </a:prstGeom>
            <a:ln>
              <a:noFill/>
            </a:ln>
            <a:effectLst/>
          </p:spPr>
        </p:pic>
        <p:pic>
          <p:nvPicPr>
            <p:cNvPr id="32" name="Picture 31">
              <a:extLst>
                <a:ext uri="{FF2B5EF4-FFF2-40B4-BE49-F238E27FC236}">
                  <a16:creationId xmlns:a16="http://schemas.microsoft.com/office/drawing/2014/main" id="{00BE28EA-3E66-12A6-9850-175A66161B14}"/>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6214"/>
            <a:stretch/>
          </p:blipFill>
          <p:spPr>
            <a:xfrm>
              <a:off x="4091104" y="3405098"/>
              <a:ext cx="1031086" cy="634629"/>
            </a:xfrm>
            <a:prstGeom prst="rect">
              <a:avLst/>
            </a:prstGeom>
            <a:ln>
              <a:noFill/>
            </a:ln>
            <a:effectLst/>
          </p:spPr>
        </p:pic>
        <p:pic>
          <p:nvPicPr>
            <p:cNvPr id="33" name="Picture 32">
              <a:extLst>
                <a:ext uri="{FF2B5EF4-FFF2-40B4-BE49-F238E27FC236}">
                  <a16:creationId xmlns:a16="http://schemas.microsoft.com/office/drawing/2014/main" id="{5805DD73-4E0F-1C14-A9C2-E39A3906E7CD}"/>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1" t="38219" r="45" b="36833"/>
            <a:stretch/>
          </p:blipFill>
          <p:spPr>
            <a:xfrm>
              <a:off x="6072868" y="3405098"/>
              <a:ext cx="1031087" cy="634629"/>
            </a:xfrm>
            <a:prstGeom prst="rect">
              <a:avLst/>
            </a:prstGeom>
            <a:ln>
              <a:noFill/>
            </a:ln>
            <a:effectLst/>
          </p:spPr>
        </p:pic>
        <p:pic>
          <p:nvPicPr>
            <p:cNvPr id="34" name="Picture 33">
              <a:extLst>
                <a:ext uri="{FF2B5EF4-FFF2-40B4-BE49-F238E27FC236}">
                  <a16:creationId xmlns:a16="http://schemas.microsoft.com/office/drawing/2014/main" id="{9BA109F4-C334-A1DC-EC59-85E1B5709918}"/>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34809" r="878" b="1091"/>
            <a:stretch/>
          </p:blipFill>
          <p:spPr>
            <a:xfrm>
              <a:off x="9122440" y="3405098"/>
              <a:ext cx="1031087" cy="634629"/>
            </a:xfrm>
            <a:prstGeom prst="rect">
              <a:avLst/>
            </a:prstGeom>
            <a:ln>
              <a:noFill/>
            </a:ln>
            <a:effectLst/>
          </p:spPr>
        </p:pic>
      </p:grpSp>
      <p:grpSp>
        <p:nvGrpSpPr>
          <p:cNvPr id="37" name="Group 36">
            <a:extLst>
              <a:ext uri="{FF2B5EF4-FFF2-40B4-BE49-F238E27FC236}">
                <a16:creationId xmlns:a16="http://schemas.microsoft.com/office/drawing/2014/main" id="{466BDC1B-AE0B-249A-161C-D1053626DA95}"/>
              </a:ext>
            </a:extLst>
          </p:cNvPr>
          <p:cNvGrpSpPr/>
          <p:nvPr userDrawn="1"/>
        </p:nvGrpSpPr>
        <p:grpSpPr>
          <a:xfrm>
            <a:off x="609600" y="6333599"/>
            <a:ext cx="2054386" cy="395160"/>
            <a:chOff x="6551323" y="3466582"/>
            <a:chExt cx="726246" cy="139693"/>
          </a:xfrm>
        </p:grpSpPr>
        <p:sp>
          <p:nvSpPr>
            <p:cNvPr id="38" name="Freeform 40">
              <a:extLst>
                <a:ext uri="{FF2B5EF4-FFF2-40B4-BE49-F238E27FC236}">
                  <a16:creationId xmlns:a16="http://schemas.microsoft.com/office/drawing/2014/main" id="{AA277E9A-800E-1449-C593-CCF2516E9F5B}"/>
                </a:ext>
              </a:extLst>
            </p:cNvPr>
            <p:cNvSpPr/>
            <p:nvPr/>
          </p:nvSpPr>
          <p:spPr>
            <a:xfrm>
              <a:off x="6614207" y="3467125"/>
              <a:ext cx="55329" cy="63036"/>
            </a:xfrm>
            <a:custGeom>
              <a:avLst/>
              <a:gdLst>
                <a:gd name="connsiteX0" fmla="*/ 53248 w 55329"/>
                <a:gd name="connsiteY0" fmla="*/ 0 h 63036"/>
                <a:gd name="connsiteX1" fmla="*/ 2104 w 55329"/>
                <a:gd name="connsiteY1" fmla="*/ 0 h 63036"/>
                <a:gd name="connsiteX2" fmla="*/ 0 w 55329"/>
                <a:gd name="connsiteY2" fmla="*/ 0 h 63036"/>
                <a:gd name="connsiteX3" fmla="*/ 1041 w 55329"/>
                <a:gd name="connsiteY3" fmla="*/ 2399 h 63036"/>
                <a:gd name="connsiteX4" fmla="*/ 27665 w 55329"/>
                <a:gd name="connsiteY4" fmla="*/ 63037 h 63036"/>
                <a:gd name="connsiteX5" fmla="*/ 54289 w 55329"/>
                <a:gd name="connsiteY5" fmla="*/ 2399 h 63036"/>
                <a:gd name="connsiteX6" fmla="*/ 55329 w 55329"/>
                <a:gd name="connsiteY6" fmla="*/ 0 h 63036"/>
                <a:gd name="connsiteX7" fmla="*/ 53248 w 55329"/>
                <a:gd name="connsiteY7" fmla="*/ 0 h 6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29" h="63036">
                  <a:moveTo>
                    <a:pt x="53248" y="0"/>
                  </a:moveTo>
                  <a:lnTo>
                    <a:pt x="2104" y="0"/>
                  </a:lnTo>
                  <a:lnTo>
                    <a:pt x="0" y="0"/>
                  </a:lnTo>
                  <a:lnTo>
                    <a:pt x="1041" y="2399"/>
                  </a:lnTo>
                  <a:lnTo>
                    <a:pt x="27665" y="63037"/>
                  </a:lnTo>
                  <a:lnTo>
                    <a:pt x="54289" y="2399"/>
                  </a:lnTo>
                  <a:lnTo>
                    <a:pt x="55329" y="0"/>
                  </a:lnTo>
                  <a:lnTo>
                    <a:pt x="53248" y="0"/>
                  </a:lnTo>
                  <a:close/>
                </a:path>
              </a:pathLst>
            </a:custGeom>
            <a:solidFill>
              <a:srgbClr val="CE4E51"/>
            </a:solidFill>
            <a:ln w="2260" cap="flat">
              <a:noFill/>
              <a:prstDash val="solid"/>
              <a:miter/>
            </a:ln>
          </p:spPr>
          <p:txBody>
            <a:bodyPr rtlCol="0" anchor="ctr"/>
            <a:lstStyle/>
            <a:p>
              <a:endParaRPr lang="en-US"/>
            </a:p>
          </p:txBody>
        </p:sp>
        <p:sp>
          <p:nvSpPr>
            <p:cNvPr id="39" name="Freeform 41">
              <a:extLst>
                <a:ext uri="{FF2B5EF4-FFF2-40B4-BE49-F238E27FC236}">
                  <a16:creationId xmlns:a16="http://schemas.microsoft.com/office/drawing/2014/main" id="{CD8B11AC-ED75-7586-205B-9FCA20B86A7D}"/>
                </a:ext>
              </a:extLst>
            </p:cNvPr>
            <p:cNvSpPr/>
            <p:nvPr/>
          </p:nvSpPr>
          <p:spPr>
            <a:xfrm>
              <a:off x="6587176" y="3475451"/>
              <a:ext cx="50940" cy="58036"/>
            </a:xfrm>
            <a:custGeom>
              <a:avLst/>
              <a:gdLst>
                <a:gd name="connsiteX0" fmla="*/ 0 w 50940"/>
                <a:gd name="connsiteY0" fmla="*/ 58036 h 58036"/>
                <a:gd name="connsiteX1" fmla="*/ 50941 w 50940"/>
                <a:gd name="connsiteY1" fmla="*/ 58036 h 58036"/>
                <a:gd name="connsiteX2" fmla="*/ 25470 w 50940"/>
                <a:gd name="connsiteY2" fmla="*/ 0 h 58036"/>
                <a:gd name="connsiteX3" fmla="*/ 0 w 50940"/>
                <a:gd name="connsiteY3" fmla="*/ 58036 h 58036"/>
              </a:gdLst>
              <a:ahLst/>
              <a:cxnLst>
                <a:cxn ang="0">
                  <a:pos x="connsiteX0" y="connsiteY0"/>
                </a:cxn>
                <a:cxn ang="0">
                  <a:pos x="connsiteX1" y="connsiteY1"/>
                </a:cxn>
                <a:cxn ang="0">
                  <a:pos x="connsiteX2" y="connsiteY2"/>
                </a:cxn>
                <a:cxn ang="0">
                  <a:pos x="connsiteX3" y="connsiteY3"/>
                </a:cxn>
              </a:cxnLst>
              <a:rect l="l" t="t" r="r" b="b"/>
              <a:pathLst>
                <a:path w="50940" h="58036">
                  <a:moveTo>
                    <a:pt x="0" y="58036"/>
                  </a:moveTo>
                  <a:lnTo>
                    <a:pt x="50941" y="58036"/>
                  </a:lnTo>
                  <a:lnTo>
                    <a:pt x="25470" y="0"/>
                  </a:lnTo>
                  <a:lnTo>
                    <a:pt x="0" y="58036"/>
                  </a:lnTo>
                  <a:close/>
                </a:path>
              </a:pathLst>
            </a:custGeom>
            <a:solidFill>
              <a:srgbClr val="B8BABC"/>
            </a:solidFill>
            <a:ln w="2260" cap="flat">
              <a:noFill/>
              <a:prstDash val="solid"/>
              <a:miter/>
            </a:ln>
          </p:spPr>
          <p:txBody>
            <a:bodyPr rtlCol="0" anchor="ctr"/>
            <a:lstStyle/>
            <a:p>
              <a:endParaRPr lang="en-US"/>
            </a:p>
          </p:txBody>
        </p:sp>
        <p:sp>
          <p:nvSpPr>
            <p:cNvPr id="40" name="Freeform 42">
              <a:extLst>
                <a:ext uri="{FF2B5EF4-FFF2-40B4-BE49-F238E27FC236}">
                  <a16:creationId xmlns:a16="http://schemas.microsoft.com/office/drawing/2014/main" id="{B6DF1E1E-EF07-03E5-D80E-21E5EE541A8D}"/>
                </a:ext>
              </a:extLst>
            </p:cNvPr>
            <p:cNvSpPr/>
            <p:nvPr/>
          </p:nvSpPr>
          <p:spPr>
            <a:xfrm>
              <a:off x="6645650" y="3475451"/>
              <a:ext cx="50918" cy="58036"/>
            </a:xfrm>
            <a:custGeom>
              <a:avLst/>
              <a:gdLst>
                <a:gd name="connsiteX0" fmla="*/ 0 w 50918"/>
                <a:gd name="connsiteY0" fmla="*/ 58036 h 58036"/>
                <a:gd name="connsiteX1" fmla="*/ 50918 w 50918"/>
                <a:gd name="connsiteY1" fmla="*/ 58036 h 58036"/>
                <a:gd name="connsiteX2" fmla="*/ 25448 w 50918"/>
                <a:gd name="connsiteY2" fmla="*/ 0 h 58036"/>
                <a:gd name="connsiteX3" fmla="*/ 0 w 50918"/>
                <a:gd name="connsiteY3" fmla="*/ 58036 h 58036"/>
              </a:gdLst>
              <a:ahLst/>
              <a:cxnLst>
                <a:cxn ang="0">
                  <a:pos x="connsiteX0" y="connsiteY0"/>
                </a:cxn>
                <a:cxn ang="0">
                  <a:pos x="connsiteX1" y="connsiteY1"/>
                </a:cxn>
                <a:cxn ang="0">
                  <a:pos x="connsiteX2" y="connsiteY2"/>
                </a:cxn>
                <a:cxn ang="0">
                  <a:pos x="connsiteX3" y="connsiteY3"/>
                </a:cxn>
              </a:cxnLst>
              <a:rect l="l" t="t" r="r" b="b"/>
              <a:pathLst>
                <a:path w="50918" h="58036">
                  <a:moveTo>
                    <a:pt x="0" y="58036"/>
                  </a:moveTo>
                  <a:lnTo>
                    <a:pt x="50918" y="58036"/>
                  </a:lnTo>
                  <a:lnTo>
                    <a:pt x="25448" y="0"/>
                  </a:lnTo>
                  <a:lnTo>
                    <a:pt x="0" y="58036"/>
                  </a:lnTo>
                  <a:close/>
                </a:path>
              </a:pathLst>
            </a:custGeom>
            <a:solidFill>
              <a:srgbClr val="B8BABC"/>
            </a:solidFill>
            <a:ln w="2260" cap="flat">
              <a:noFill/>
              <a:prstDash val="solid"/>
              <a:miter/>
            </a:ln>
          </p:spPr>
          <p:txBody>
            <a:bodyPr rtlCol="0" anchor="ctr"/>
            <a:lstStyle/>
            <a:p>
              <a:endParaRPr lang="en-US"/>
            </a:p>
          </p:txBody>
        </p:sp>
        <p:sp>
          <p:nvSpPr>
            <p:cNvPr id="41" name="Freeform 43">
              <a:extLst>
                <a:ext uri="{FF2B5EF4-FFF2-40B4-BE49-F238E27FC236}">
                  <a16:creationId xmlns:a16="http://schemas.microsoft.com/office/drawing/2014/main" id="{583BA405-DC76-16CA-34FA-1BD51B1ABCF6}"/>
                </a:ext>
              </a:extLst>
            </p:cNvPr>
            <p:cNvSpPr/>
            <p:nvPr/>
          </p:nvSpPr>
          <p:spPr>
            <a:xfrm>
              <a:off x="6582833" y="3538261"/>
              <a:ext cx="56663" cy="67154"/>
            </a:xfrm>
            <a:custGeom>
              <a:avLst/>
              <a:gdLst>
                <a:gd name="connsiteX0" fmla="*/ 55488 w 56663"/>
                <a:gd name="connsiteY0" fmla="*/ 0 h 67154"/>
                <a:gd name="connsiteX1" fmla="*/ 2262 w 56663"/>
                <a:gd name="connsiteY1" fmla="*/ 0 h 67154"/>
                <a:gd name="connsiteX2" fmla="*/ 0 w 56663"/>
                <a:gd name="connsiteY2" fmla="*/ 0 h 67154"/>
                <a:gd name="connsiteX3" fmla="*/ 1493 w 56663"/>
                <a:gd name="connsiteY3" fmla="*/ 1742 h 67154"/>
                <a:gd name="connsiteX4" fmla="*/ 56664 w 56663"/>
                <a:gd name="connsiteY4" fmla="*/ 67154 h 67154"/>
                <a:gd name="connsiteX5" fmla="*/ 56664 w 56663"/>
                <a:gd name="connsiteY5" fmla="*/ 8983 h 67154"/>
                <a:gd name="connsiteX6" fmla="*/ 56664 w 56663"/>
                <a:gd name="connsiteY6" fmla="*/ 0 h 67154"/>
                <a:gd name="connsiteX7" fmla="*/ 55488 w 56663"/>
                <a:gd name="connsiteY7" fmla="*/ 0 h 6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63" h="67154">
                  <a:moveTo>
                    <a:pt x="55488" y="0"/>
                  </a:moveTo>
                  <a:lnTo>
                    <a:pt x="2262" y="0"/>
                  </a:lnTo>
                  <a:lnTo>
                    <a:pt x="0" y="0"/>
                  </a:lnTo>
                  <a:lnTo>
                    <a:pt x="1493" y="1742"/>
                  </a:lnTo>
                  <a:lnTo>
                    <a:pt x="56664" y="67154"/>
                  </a:lnTo>
                  <a:lnTo>
                    <a:pt x="56664" y="8983"/>
                  </a:lnTo>
                  <a:lnTo>
                    <a:pt x="56664" y="0"/>
                  </a:lnTo>
                  <a:lnTo>
                    <a:pt x="55488" y="0"/>
                  </a:lnTo>
                  <a:close/>
                </a:path>
              </a:pathLst>
            </a:custGeom>
            <a:solidFill>
              <a:srgbClr val="B8BABC"/>
            </a:solidFill>
            <a:ln w="2260" cap="flat">
              <a:noFill/>
              <a:prstDash val="solid"/>
              <a:miter/>
            </a:ln>
          </p:spPr>
          <p:txBody>
            <a:bodyPr rtlCol="0" anchor="ctr"/>
            <a:lstStyle/>
            <a:p>
              <a:endParaRPr lang="en-US"/>
            </a:p>
          </p:txBody>
        </p:sp>
        <p:sp>
          <p:nvSpPr>
            <p:cNvPr id="42" name="Freeform 44">
              <a:extLst>
                <a:ext uri="{FF2B5EF4-FFF2-40B4-BE49-F238E27FC236}">
                  <a16:creationId xmlns:a16="http://schemas.microsoft.com/office/drawing/2014/main" id="{884C0C22-BE08-A049-B53F-C85E50BDD105}"/>
                </a:ext>
              </a:extLst>
            </p:cNvPr>
            <p:cNvSpPr/>
            <p:nvPr/>
          </p:nvSpPr>
          <p:spPr>
            <a:xfrm>
              <a:off x="6644270" y="3538261"/>
              <a:ext cx="56776" cy="67154"/>
            </a:xfrm>
            <a:custGeom>
              <a:avLst/>
              <a:gdLst>
                <a:gd name="connsiteX0" fmla="*/ 54402 w 56776"/>
                <a:gd name="connsiteY0" fmla="*/ 0 h 67154"/>
                <a:gd name="connsiteX1" fmla="*/ 1154 w 56776"/>
                <a:gd name="connsiteY1" fmla="*/ 0 h 67154"/>
                <a:gd name="connsiteX2" fmla="*/ 0 w 56776"/>
                <a:gd name="connsiteY2" fmla="*/ 0 h 67154"/>
                <a:gd name="connsiteX3" fmla="*/ 0 w 56776"/>
                <a:gd name="connsiteY3" fmla="*/ 8983 h 67154"/>
                <a:gd name="connsiteX4" fmla="*/ 0 w 56776"/>
                <a:gd name="connsiteY4" fmla="*/ 67154 h 67154"/>
                <a:gd name="connsiteX5" fmla="*/ 55216 w 56776"/>
                <a:gd name="connsiteY5" fmla="*/ 1855 h 67154"/>
                <a:gd name="connsiteX6" fmla="*/ 56777 w 56776"/>
                <a:gd name="connsiteY6" fmla="*/ 0 h 67154"/>
                <a:gd name="connsiteX7" fmla="*/ 54402 w 56776"/>
                <a:gd name="connsiteY7" fmla="*/ 0 h 6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76" h="67154">
                  <a:moveTo>
                    <a:pt x="54402" y="0"/>
                  </a:moveTo>
                  <a:lnTo>
                    <a:pt x="1154" y="0"/>
                  </a:lnTo>
                  <a:lnTo>
                    <a:pt x="0" y="0"/>
                  </a:lnTo>
                  <a:lnTo>
                    <a:pt x="0" y="8983"/>
                  </a:lnTo>
                  <a:lnTo>
                    <a:pt x="0" y="67154"/>
                  </a:lnTo>
                  <a:lnTo>
                    <a:pt x="55216" y="1855"/>
                  </a:lnTo>
                  <a:lnTo>
                    <a:pt x="56777" y="0"/>
                  </a:lnTo>
                  <a:lnTo>
                    <a:pt x="54402" y="0"/>
                  </a:lnTo>
                  <a:close/>
                </a:path>
              </a:pathLst>
            </a:custGeom>
            <a:solidFill>
              <a:srgbClr val="B8BABC"/>
            </a:solidFill>
            <a:ln w="2260" cap="flat">
              <a:noFill/>
              <a:prstDash val="solid"/>
              <a:miter/>
            </a:ln>
          </p:spPr>
          <p:txBody>
            <a:bodyPr rtlCol="0" anchor="ctr"/>
            <a:lstStyle/>
            <a:p>
              <a:endParaRPr lang="en-US"/>
            </a:p>
          </p:txBody>
        </p:sp>
        <p:sp>
          <p:nvSpPr>
            <p:cNvPr id="43" name="Freeform 45">
              <a:extLst>
                <a:ext uri="{FF2B5EF4-FFF2-40B4-BE49-F238E27FC236}">
                  <a16:creationId xmlns:a16="http://schemas.microsoft.com/office/drawing/2014/main" id="{519C4F9D-3260-A6D6-03AE-F6BB1790E2B0}"/>
                </a:ext>
              </a:extLst>
            </p:cNvPr>
            <p:cNvSpPr/>
            <p:nvPr/>
          </p:nvSpPr>
          <p:spPr>
            <a:xfrm>
              <a:off x="6551323" y="3467125"/>
              <a:ext cx="59762" cy="68421"/>
            </a:xfrm>
            <a:custGeom>
              <a:avLst/>
              <a:gdLst>
                <a:gd name="connsiteX0" fmla="*/ 57682 w 59762"/>
                <a:gd name="connsiteY0" fmla="*/ 0 h 68421"/>
                <a:gd name="connsiteX1" fmla="*/ 0 w 59762"/>
                <a:gd name="connsiteY1" fmla="*/ 0 h 68421"/>
                <a:gd name="connsiteX2" fmla="*/ 28841 w 59762"/>
                <a:gd name="connsiteY2" fmla="*/ 66363 h 68421"/>
                <a:gd name="connsiteX3" fmla="*/ 29745 w 59762"/>
                <a:gd name="connsiteY3" fmla="*/ 68422 h 68421"/>
                <a:gd name="connsiteX4" fmla="*/ 30650 w 59762"/>
                <a:gd name="connsiteY4" fmla="*/ 66363 h 68421"/>
                <a:gd name="connsiteX5" fmla="*/ 58722 w 59762"/>
                <a:gd name="connsiteY5" fmla="*/ 2399 h 68421"/>
                <a:gd name="connsiteX6" fmla="*/ 59763 w 59762"/>
                <a:gd name="connsiteY6" fmla="*/ 0 h 68421"/>
                <a:gd name="connsiteX7" fmla="*/ 57682 w 59762"/>
                <a:gd name="connsiteY7" fmla="*/ 0 h 6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62" h="68421">
                  <a:moveTo>
                    <a:pt x="57682" y="0"/>
                  </a:moveTo>
                  <a:lnTo>
                    <a:pt x="0" y="0"/>
                  </a:lnTo>
                  <a:lnTo>
                    <a:pt x="28841" y="66363"/>
                  </a:lnTo>
                  <a:lnTo>
                    <a:pt x="29745" y="68422"/>
                  </a:lnTo>
                  <a:lnTo>
                    <a:pt x="30650" y="66363"/>
                  </a:lnTo>
                  <a:lnTo>
                    <a:pt x="58722" y="2399"/>
                  </a:lnTo>
                  <a:lnTo>
                    <a:pt x="59763" y="0"/>
                  </a:lnTo>
                  <a:lnTo>
                    <a:pt x="57682" y="0"/>
                  </a:lnTo>
                  <a:close/>
                </a:path>
              </a:pathLst>
            </a:custGeom>
            <a:solidFill>
              <a:srgbClr val="B8BABC"/>
            </a:solidFill>
            <a:ln w="2260" cap="flat">
              <a:noFill/>
              <a:prstDash val="solid"/>
              <a:miter/>
            </a:ln>
          </p:spPr>
          <p:txBody>
            <a:bodyPr rtlCol="0" anchor="ctr"/>
            <a:lstStyle/>
            <a:p>
              <a:endParaRPr lang="en-US"/>
            </a:p>
          </p:txBody>
        </p:sp>
        <p:sp>
          <p:nvSpPr>
            <p:cNvPr id="44" name="Freeform 46">
              <a:extLst>
                <a:ext uri="{FF2B5EF4-FFF2-40B4-BE49-F238E27FC236}">
                  <a16:creationId xmlns:a16="http://schemas.microsoft.com/office/drawing/2014/main" id="{AA5DB449-C248-C5DB-3EBB-C4BF38FA90DF}"/>
                </a:ext>
              </a:extLst>
            </p:cNvPr>
            <p:cNvSpPr/>
            <p:nvPr/>
          </p:nvSpPr>
          <p:spPr>
            <a:xfrm>
              <a:off x="6672658" y="3467125"/>
              <a:ext cx="59807" cy="68308"/>
            </a:xfrm>
            <a:custGeom>
              <a:avLst/>
              <a:gdLst>
                <a:gd name="connsiteX0" fmla="*/ 2104 w 59807"/>
                <a:gd name="connsiteY0" fmla="*/ 0 h 68308"/>
                <a:gd name="connsiteX1" fmla="*/ 0 w 59807"/>
                <a:gd name="connsiteY1" fmla="*/ 0 h 68308"/>
                <a:gd name="connsiteX2" fmla="*/ 1063 w 59807"/>
                <a:gd name="connsiteY2" fmla="*/ 2399 h 68308"/>
                <a:gd name="connsiteX3" fmla="*/ 29135 w 59807"/>
                <a:gd name="connsiteY3" fmla="*/ 66363 h 68308"/>
                <a:gd name="connsiteX4" fmla="*/ 29994 w 59807"/>
                <a:gd name="connsiteY4" fmla="*/ 68309 h 68308"/>
                <a:gd name="connsiteX5" fmla="*/ 30831 w 59807"/>
                <a:gd name="connsiteY5" fmla="*/ 66363 h 68308"/>
                <a:gd name="connsiteX6" fmla="*/ 59808 w 59807"/>
                <a:gd name="connsiteY6" fmla="*/ 0 h 68308"/>
                <a:gd name="connsiteX7" fmla="*/ 2104 w 59807"/>
                <a:gd name="connsiteY7" fmla="*/ 0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07" h="68308">
                  <a:moveTo>
                    <a:pt x="2104" y="0"/>
                  </a:moveTo>
                  <a:lnTo>
                    <a:pt x="0" y="0"/>
                  </a:lnTo>
                  <a:lnTo>
                    <a:pt x="1063" y="2399"/>
                  </a:lnTo>
                  <a:lnTo>
                    <a:pt x="29135" y="66363"/>
                  </a:lnTo>
                  <a:lnTo>
                    <a:pt x="29994" y="68309"/>
                  </a:lnTo>
                  <a:lnTo>
                    <a:pt x="30831" y="66363"/>
                  </a:lnTo>
                  <a:lnTo>
                    <a:pt x="59808" y="0"/>
                  </a:lnTo>
                  <a:lnTo>
                    <a:pt x="2104" y="0"/>
                  </a:lnTo>
                  <a:close/>
                </a:path>
              </a:pathLst>
            </a:custGeom>
            <a:solidFill>
              <a:srgbClr val="B8BABC"/>
            </a:solidFill>
            <a:ln w="2260" cap="flat">
              <a:noFill/>
              <a:prstDash val="solid"/>
              <a:miter/>
            </a:ln>
          </p:spPr>
          <p:txBody>
            <a:bodyPr rtlCol="0" anchor="ctr"/>
            <a:lstStyle/>
            <a:p>
              <a:endParaRPr lang="en-US"/>
            </a:p>
          </p:txBody>
        </p:sp>
        <p:sp>
          <p:nvSpPr>
            <p:cNvPr id="45" name="Freeform 47">
              <a:extLst>
                <a:ext uri="{FF2B5EF4-FFF2-40B4-BE49-F238E27FC236}">
                  <a16:creationId xmlns:a16="http://schemas.microsoft.com/office/drawing/2014/main" id="{572BA2AB-2DA8-81F1-E4C9-A06FF02A634E}"/>
                </a:ext>
              </a:extLst>
            </p:cNvPr>
            <p:cNvSpPr/>
            <p:nvPr/>
          </p:nvSpPr>
          <p:spPr>
            <a:xfrm>
              <a:off x="6747509" y="3467419"/>
              <a:ext cx="51370" cy="58511"/>
            </a:xfrm>
            <a:custGeom>
              <a:avLst/>
              <a:gdLst>
                <a:gd name="connsiteX0" fmla="*/ 0 w 51370"/>
                <a:gd name="connsiteY0" fmla="*/ 57561 h 58511"/>
                <a:gd name="connsiteX1" fmla="*/ 0 w 51370"/>
                <a:gd name="connsiteY1" fmla="*/ 950 h 58511"/>
                <a:gd name="connsiteX2" fmla="*/ 950 w 51370"/>
                <a:gd name="connsiteY2" fmla="*/ 0 h 58511"/>
                <a:gd name="connsiteX3" fmla="*/ 10383 w 51370"/>
                <a:gd name="connsiteY3" fmla="*/ 0 h 58511"/>
                <a:gd name="connsiteX4" fmla="*/ 11423 w 51370"/>
                <a:gd name="connsiteY4" fmla="*/ 792 h 58511"/>
                <a:gd name="connsiteX5" fmla="*/ 20698 w 51370"/>
                <a:gd name="connsiteY5" fmla="*/ 31654 h 58511"/>
                <a:gd name="connsiteX6" fmla="*/ 25810 w 51370"/>
                <a:gd name="connsiteY6" fmla="*/ 50049 h 58511"/>
                <a:gd name="connsiteX7" fmla="*/ 25968 w 51370"/>
                <a:gd name="connsiteY7" fmla="*/ 50049 h 58511"/>
                <a:gd name="connsiteX8" fmla="*/ 31012 w 51370"/>
                <a:gd name="connsiteY8" fmla="*/ 31654 h 58511"/>
                <a:gd name="connsiteX9" fmla="*/ 40355 w 51370"/>
                <a:gd name="connsiteY9" fmla="*/ 792 h 58511"/>
                <a:gd name="connsiteX10" fmla="*/ 41395 w 51370"/>
                <a:gd name="connsiteY10" fmla="*/ 0 h 58511"/>
                <a:gd name="connsiteX11" fmla="*/ 50421 w 51370"/>
                <a:gd name="connsiteY11" fmla="*/ 0 h 58511"/>
                <a:gd name="connsiteX12" fmla="*/ 51371 w 51370"/>
                <a:gd name="connsiteY12" fmla="*/ 950 h 58511"/>
                <a:gd name="connsiteX13" fmla="*/ 51371 w 51370"/>
                <a:gd name="connsiteY13" fmla="*/ 57561 h 58511"/>
                <a:gd name="connsiteX14" fmla="*/ 50421 w 51370"/>
                <a:gd name="connsiteY14" fmla="*/ 58511 h 58511"/>
                <a:gd name="connsiteX15" fmla="*/ 45467 w 51370"/>
                <a:gd name="connsiteY15" fmla="*/ 58511 h 58511"/>
                <a:gd name="connsiteX16" fmla="*/ 44517 w 51370"/>
                <a:gd name="connsiteY16" fmla="*/ 57561 h 58511"/>
                <a:gd name="connsiteX17" fmla="*/ 44517 w 51370"/>
                <a:gd name="connsiteY17" fmla="*/ 21585 h 58511"/>
                <a:gd name="connsiteX18" fmla="*/ 44833 w 51370"/>
                <a:gd name="connsiteY18" fmla="*/ 7512 h 58511"/>
                <a:gd name="connsiteX19" fmla="*/ 44584 w 51370"/>
                <a:gd name="connsiteY19" fmla="*/ 7512 h 58511"/>
                <a:gd name="connsiteX20" fmla="*/ 29565 w 51370"/>
                <a:gd name="connsiteY20" fmla="*/ 57719 h 58511"/>
                <a:gd name="connsiteX21" fmla="*/ 28524 w 51370"/>
                <a:gd name="connsiteY21" fmla="*/ 58511 h 58511"/>
                <a:gd name="connsiteX22" fmla="*/ 22937 w 51370"/>
                <a:gd name="connsiteY22" fmla="*/ 58511 h 58511"/>
                <a:gd name="connsiteX23" fmla="*/ 21896 w 51370"/>
                <a:gd name="connsiteY23" fmla="*/ 57719 h 58511"/>
                <a:gd name="connsiteX24" fmla="*/ 6718 w 51370"/>
                <a:gd name="connsiteY24" fmla="*/ 7444 h 58511"/>
                <a:gd name="connsiteX25" fmla="*/ 6469 w 51370"/>
                <a:gd name="connsiteY25" fmla="*/ 7444 h 58511"/>
                <a:gd name="connsiteX26" fmla="*/ 6944 w 51370"/>
                <a:gd name="connsiteY26" fmla="*/ 21585 h 58511"/>
                <a:gd name="connsiteX27" fmla="*/ 6944 w 51370"/>
                <a:gd name="connsiteY27" fmla="*/ 57561 h 58511"/>
                <a:gd name="connsiteX28" fmla="*/ 5994 w 51370"/>
                <a:gd name="connsiteY28" fmla="*/ 58511 h 58511"/>
                <a:gd name="connsiteX29" fmla="*/ 950 w 51370"/>
                <a:gd name="connsiteY29" fmla="*/ 58511 h 58511"/>
                <a:gd name="connsiteX30" fmla="*/ 0 w 51370"/>
                <a:gd name="connsiteY30"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70" h="58511">
                  <a:moveTo>
                    <a:pt x="0" y="57561"/>
                  </a:moveTo>
                  <a:lnTo>
                    <a:pt x="0" y="950"/>
                  </a:lnTo>
                  <a:cubicBezTo>
                    <a:pt x="0" y="385"/>
                    <a:pt x="407" y="0"/>
                    <a:pt x="950" y="0"/>
                  </a:cubicBezTo>
                  <a:lnTo>
                    <a:pt x="10383" y="0"/>
                  </a:lnTo>
                  <a:cubicBezTo>
                    <a:pt x="10948" y="0"/>
                    <a:pt x="11265" y="317"/>
                    <a:pt x="11423" y="792"/>
                  </a:cubicBezTo>
                  <a:lnTo>
                    <a:pt x="20698" y="31654"/>
                  </a:lnTo>
                  <a:cubicBezTo>
                    <a:pt x="22530" y="37967"/>
                    <a:pt x="24294" y="43555"/>
                    <a:pt x="25810" y="50049"/>
                  </a:cubicBezTo>
                  <a:lnTo>
                    <a:pt x="25968" y="50049"/>
                  </a:lnTo>
                  <a:cubicBezTo>
                    <a:pt x="27484" y="43578"/>
                    <a:pt x="28999" y="37967"/>
                    <a:pt x="31012" y="31654"/>
                  </a:cubicBezTo>
                  <a:lnTo>
                    <a:pt x="40355" y="792"/>
                  </a:lnTo>
                  <a:cubicBezTo>
                    <a:pt x="40513" y="317"/>
                    <a:pt x="40829" y="0"/>
                    <a:pt x="41395" y="0"/>
                  </a:cubicBezTo>
                  <a:lnTo>
                    <a:pt x="50421" y="0"/>
                  </a:lnTo>
                  <a:cubicBezTo>
                    <a:pt x="50986" y="0"/>
                    <a:pt x="51371" y="407"/>
                    <a:pt x="51371" y="950"/>
                  </a:cubicBezTo>
                  <a:lnTo>
                    <a:pt x="51371" y="57561"/>
                  </a:lnTo>
                  <a:cubicBezTo>
                    <a:pt x="51371" y="58127"/>
                    <a:pt x="50964" y="58511"/>
                    <a:pt x="50421" y="58511"/>
                  </a:cubicBezTo>
                  <a:lnTo>
                    <a:pt x="45467" y="58511"/>
                  </a:lnTo>
                  <a:cubicBezTo>
                    <a:pt x="44901" y="58511"/>
                    <a:pt x="44517" y="58104"/>
                    <a:pt x="44517" y="57561"/>
                  </a:cubicBezTo>
                  <a:lnTo>
                    <a:pt x="44517" y="21585"/>
                  </a:lnTo>
                  <a:cubicBezTo>
                    <a:pt x="44517" y="17513"/>
                    <a:pt x="44675" y="11517"/>
                    <a:pt x="44833" y="7512"/>
                  </a:cubicBezTo>
                  <a:lnTo>
                    <a:pt x="44584" y="7512"/>
                  </a:lnTo>
                  <a:lnTo>
                    <a:pt x="29565" y="57719"/>
                  </a:lnTo>
                  <a:cubicBezTo>
                    <a:pt x="29406" y="58195"/>
                    <a:pt x="29090" y="58511"/>
                    <a:pt x="28524" y="58511"/>
                  </a:cubicBezTo>
                  <a:lnTo>
                    <a:pt x="22937" y="58511"/>
                  </a:lnTo>
                  <a:cubicBezTo>
                    <a:pt x="22371" y="58511"/>
                    <a:pt x="22055" y="58195"/>
                    <a:pt x="21896" y="57719"/>
                  </a:cubicBezTo>
                  <a:lnTo>
                    <a:pt x="6718" y="7444"/>
                  </a:lnTo>
                  <a:lnTo>
                    <a:pt x="6469" y="7444"/>
                  </a:lnTo>
                  <a:cubicBezTo>
                    <a:pt x="6718" y="11449"/>
                    <a:pt x="6944" y="17445"/>
                    <a:pt x="6944" y="21585"/>
                  </a:cubicBezTo>
                  <a:lnTo>
                    <a:pt x="6944" y="57561"/>
                  </a:lnTo>
                  <a:cubicBezTo>
                    <a:pt x="6944" y="58127"/>
                    <a:pt x="6537" y="58511"/>
                    <a:pt x="5994" y="58511"/>
                  </a:cubicBezTo>
                  <a:lnTo>
                    <a:pt x="950" y="58511"/>
                  </a:lnTo>
                  <a:cubicBezTo>
                    <a:pt x="384" y="58511"/>
                    <a:pt x="0" y="58104"/>
                    <a:pt x="0" y="57561"/>
                  </a:cubicBezTo>
                  <a:close/>
                </a:path>
              </a:pathLst>
            </a:custGeom>
            <a:solidFill>
              <a:srgbClr val="4D4D4D"/>
            </a:solidFill>
            <a:ln w="2260" cap="flat">
              <a:noFill/>
              <a:prstDash val="solid"/>
              <a:miter/>
            </a:ln>
          </p:spPr>
          <p:txBody>
            <a:bodyPr rtlCol="0" anchor="ctr"/>
            <a:lstStyle/>
            <a:p>
              <a:endParaRPr lang="en-US"/>
            </a:p>
          </p:txBody>
        </p:sp>
        <p:sp>
          <p:nvSpPr>
            <p:cNvPr id="46" name="Freeform 48">
              <a:extLst>
                <a:ext uri="{FF2B5EF4-FFF2-40B4-BE49-F238E27FC236}">
                  <a16:creationId xmlns:a16="http://schemas.microsoft.com/office/drawing/2014/main" id="{3D525304-D251-E083-9659-65CE18EB9F0E}"/>
                </a:ext>
              </a:extLst>
            </p:cNvPr>
            <p:cNvSpPr/>
            <p:nvPr/>
          </p:nvSpPr>
          <p:spPr>
            <a:xfrm>
              <a:off x="6814465" y="3467419"/>
              <a:ext cx="7487" cy="58511"/>
            </a:xfrm>
            <a:custGeom>
              <a:avLst/>
              <a:gdLst>
                <a:gd name="connsiteX0" fmla="*/ 0 w 7487"/>
                <a:gd name="connsiteY0" fmla="*/ 57561 h 58511"/>
                <a:gd name="connsiteX1" fmla="*/ 0 w 7487"/>
                <a:gd name="connsiteY1" fmla="*/ 950 h 58511"/>
                <a:gd name="connsiteX2" fmla="*/ 950 w 7487"/>
                <a:gd name="connsiteY2" fmla="*/ 0 h 58511"/>
                <a:gd name="connsiteX3" fmla="*/ 6537 w 7487"/>
                <a:gd name="connsiteY3" fmla="*/ 0 h 58511"/>
                <a:gd name="connsiteX4" fmla="*/ 7487 w 7487"/>
                <a:gd name="connsiteY4" fmla="*/ 950 h 58511"/>
                <a:gd name="connsiteX5" fmla="*/ 7487 w 7487"/>
                <a:gd name="connsiteY5" fmla="*/ 57561 h 58511"/>
                <a:gd name="connsiteX6" fmla="*/ 6537 w 7487"/>
                <a:gd name="connsiteY6" fmla="*/ 58511 h 58511"/>
                <a:gd name="connsiteX7" fmla="*/ 950 w 7487"/>
                <a:gd name="connsiteY7" fmla="*/ 58511 h 58511"/>
                <a:gd name="connsiteX8" fmla="*/ 0 w 7487"/>
                <a:gd name="connsiteY8"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7" h="58511">
                  <a:moveTo>
                    <a:pt x="0" y="57561"/>
                  </a:moveTo>
                  <a:lnTo>
                    <a:pt x="0" y="950"/>
                  </a:lnTo>
                  <a:cubicBezTo>
                    <a:pt x="0" y="385"/>
                    <a:pt x="407" y="0"/>
                    <a:pt x="950" y="0"/>
                  </a:cubicBezTo>
                  <a:lnTo>
                    <a:pt x="6537" y="0"/>
                  </a:lnTo>
                  <a:cubicBezTo>
                    <a:pt x="7103" y="0"/>
                    <a:pt x="7487" y="407"/>
                    <a:pt x="7487" y="950"/>
                  </a:cubicBezTo>
                  <a:lnTo>
                    <a:pt x="7487" y="57561"/>
                  </a:lnTo>
                  <a:cubicBezTo>
                    <a:pt x="7487" y="58127"/>
                    <a:pt x="7080" y="58511"/>
                    <a:pt x="6537" y="58511"/>
                  </a:cubicBezTo>
                  <a:lnTo>
                    <a:pt x="950" y="58511"/>
                  </a:lnTo>
                  <a:cubicBezTo>
                    <a:pt x="385" y="58511"/>
                    <a:pt x="0" y="58104"/>
                    <a:pt x="0" y="57561"/>
                  </a:cubicBezTo>
                  <a:close/>
                </a:path>
              </a:pathLst>
            </a:custGeom>
            <a:solidFill>
              <a:srgbClr val="4D4D4D"/>
            </a:solidFill>
            <a:ln w="2260" cap="flat">
              <a:noFill/>
              <a:prstDash val="solid"/>
              <a:miter/>
            </a:ln>
          </p:spPr>
          <p:txBody>
            <a:bodyPr rtlCol="0" anchor="ctr"/>
            <a:lstStyle/>
            <a:p>
              <a:endParaRPr lang="en-US"/>
            </a:p>
          </p:txBody>
        </p:sp>
        <p:sp>
          <p:nvSpPr>
            <p:cNvPr id="47" name="Freeform 49">
              <a:extLst>
                <a:ext uri="{FF2B5EF4-FFF2-40B4-BE49-F238E27FC236}">
                  <a16:creationId xmlns:a16="http://schemas.microsoft.com/office/drawing/2014/main" id="{AA6B5B53-0E1F-589B-C74A-927B07344800}"/>
                </a:ext>
              </a:extLst>
            </p:cNvPr>
            <p:cNvSpPr/>
            <p:nvPr/>
          </p:nvSpPr>
          <p:spPr>
            <a:xfrm>
              <a:off x="6837560" y="3467419"/>
              <a:ext cx="41621" cy="58533"/>
            </a:xfrm>
            <a:custGeom>
              <a:avLst/>
              <a:gdLst>
                <a:gd name="connsiteX0" fmla="*/ 0 w 41621"/>
                <a:gd name="connsiteY0" fmla="*/ 57561 h 58533"/>
                <a:gd name="connsiteX1" fmla="*/ 0 w 41621"/>
                <a:gd name="connsiteY1" fmla="*/ 950 h 58533"/>
                <a:gd name="connsiteX2" fmla="*/ 950 w 41621"/>
                <a:gd name="connsiteY2" fmla="*/ 0 h 58533"/>
                <a:gd name="connsiteX3" fmla="*/ 9591 w 41621"/>
                <a:gd name="connsiteY3" fmla="*/ 0 h 58533"/>
                <a:gd name="connsiteX4" fmla="*/ 10700 w 41621"/>
                <a:gd name="connsiteY4" fmla="*/ 724 h 58533"/>
                <a:gd name="connsiteX5" fmla="*/ 27484 w 41621"/>
                <a:gd name="connsiteY5" fmla="*/ 34211 h 58533"/>
                <a:gd name="connsiteX6" fmla="*/ 34767 w 41621"/>
                <a:gd name="connsiteY6" fmla="*/ 50208 h 58533"/>
                <a:gd name="connsiteX7" fmla="*/ 34926 w 41621"/>
                <a:gd name="connsiteY7" fmla="*/ 50208 h 58533"/>
                <a:gd name="connsiteX8" fmla="*/ 34360 w 41621"/>
                <a:gd name="connsiteY8" fmla="*/ 34867 h 58533"/>
                <a:gd name="connsiteX9" fmla="*/ 34360 w 41621"/>
                <a:gd name="connsiteY9" fmla="*/ 973 h 58533"/>
                <a:gd name="connsiteX10" fmla="*/ 35310 w 41621"/>
                <a:gd name="connsiteY10" fmla="*/ 23 h 58533"/>
                <a:gd name="connsiteX11" fmla="*/ 40672 w 41621"/>
                <a:gd name="connsiteY11" fmla="*/ 23 h 58533"/>
                <a:gd name="connsiteX12" fmla="*/ 41621 w 41621"/>
                <a:gd name="connsiteY12" fmla="*/ 973 h 58533"/>
                <a:gd name="connsiteX13" fmla="*/ 41621 w 41621"/>
                <a:gd name="connsiteY13" fmla="*/ 57584 h 58533"/>
                <a:gd name="connsiteX14" fmla="*/ 40672 w 41621"/>
                <a:gd name="connsiteY14" fmla="*/ 58534 h 58533"/>
                <a:gd name="connsiteX15" fmla="*/ 32686 w 41621"/>
                <a:gd name="connsiteY15" fmla="*/ 58534 h 58533"/>
                <a:gd name="connsiteX16" fmla="*/ 31578 w 41621"/>
                <a:gd name="connsiteY16" fmla="*/ 57810 h 58533"/>
                <a:gd name="connsiteX17" fmla="*/ 14477 w 41621"/>
                <a:gd name="connsiteY17" fmla="*/ 24323 h 58533"/>
                <a:gd name="connsiteX18" fmla="*/ 7035 w 41621"/>
                <a:gd name="connsiteY18" fmla="*/ 8010 h 58533"/>
                <a:gd name="connsiteX19" fmla="*/ 6877 w 41621"/>
                <a:gd name="connsiteY19" fmla="*/ 8010 h 58533"/>
                <a:gd name="connsiteX20" fmla="*/ 7284 w 41621"/>
                <a:gd name="connsiteY20" fmla="*/ 23192 h 58533"/>
                <a:gd name="connsiteX21" fmla="*/ 7284 w 41621"/>
                <a:gd name="connsiteY21" fmla="*/ 57561 h 58533"/>
                <a:gd name="connsiteX22" fmla="*/ 6334 w 41621"/>
                <a:gd name="connsiteY22" fmla="*/ 58511 h 58533"/>
                <a:gd name="connsiteX23" fmla="*/ 973 w 41621"/>
                <a:gd name="connsiteY23" fmla="*/ 58511 h 58533"/>
                <a:gd name="connsiteX24" fmla="*/ 23 w 41621"/>
                <a:gd name="connsiteY24" fmla="*/ 57561 h 5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621" h="58533">
                  <a:moveTo>
                    <a:pt x="0" y="57561"/>
                  </a:moveTo>
                  <a:lnTo>
                    <a:pt x="0" y="950"/>
                  </a:lnTo>
                  <a:cubicBezTo>
                    <a:pt x="0" y="385"/>
                    <a:pt x="407" y="0"/>
                    <a:pt x="950" y="0"/>
                  </a:cubicBezTo>
                  <a:lnTo>
                    <a:pt x="9591" y="0"/>
                  </a:lnTo>
                  <a:cubicBezTo>
                    <a:pt x="10066" y="0"/>
                    <a:pt x="10473" y="249"/>
                    <a:pt x="10700" y="724"/>
                  </a:cubicBezTo>
                  <a:lnTo>
                    <a:pt x="27484" y="34211"/>
                  </a:lnTo>
                  <a:cubicBezTo>
                    <a:pt x="30130" y="39641"/>
                    <a:pt x="32596" y="45252"/>
                    <a:pt x="34767" y="50208"/>
                  </a:cubicBezTo>
                  <a:lnTo>
                    <a:pt x="34926" y="50208"/>
                  </a:lnTo>
                  <a:cubicBezTo>
                    <a:pt x="34519" y="45162"/>
                    <a:pt x="34360" y="40207"/>
                    <a:pt x="34360" y="34867"/>
                  </a:cubicBezTo>
                  <a:lnTo>
                    <a:pt x="34360" y="973"/>
                  </a:lnTo>
                  <a:cubicBezTo>
                    <a:pt x="34360" y="407"/>
                    <a:pt x="34767" y="23"/>
                    <a:pt x="35310" y="23"/>
                  </a:cubicBezTo>
                  <a:lnTo>
                    <a:pt x="40672" y="23"/>
                  </a:lnTo>
                  <a:cubicBezTo>
                    <a:pt x="41237" y="23"/>
                    <a:pt x="41621" y="430"/>
                    <a:pt x="41621" y="973"/>
                  </a:cubicBezTo>
                  <a:lnTo>
                    <a:pt x="41621" y="57584"/>
                  </a:lnTo>
                  <a:cubicBezTo>
                    <a:pt x="41621" y="58149"/>
                    <a:pt x="41214" y="58534"/>
                    <a:pt x="40672" y="58534"/>
                  </a:cubicBezTo>
                  <a:lnTo>
                    <a:pt x="32686" y="58534"/>
                  </a:lnTo>
                  <a:cubicBezTo>
                    <a:pt x="32211" y="58534"/>
                    <a:pt x="31804" y="58285"/>
                    <a:pt x="31578" y="57810"/>
                  </a:cubicBezTo>
                  <a:lnTo>
                    <a:pt x="14477" y="24323"/>
                  </a:lnTo>
                  <a:cubicBezTo>
                    <a:pt x="11763" y="18893"/>
                    <a:pt x="9207" y="12965"/>
                    <a:pt x="7035" y="8010"/>
                  </a:cubicBezTo>
                  <a:lnTo>
                    <a:pt x="6877" y="8010"/>
                  </a:lnTo>
                  <a:cubicBezTo>
                    <a:pt x="7125" y="13055"/>
                    <a:pt x="7284" y="17920"/>
                    <a:pt x="7284" y="23192"/>
                  </a:cubicBezTo>
                  <a:lnTo>
                    <a:pt x="7284" y="57561"/>
                  </a:lnTo>
                  <a:cubicBezTo>
                    <a:pt x="7284" y="58127"/>
                    <a:pt x="6877" y="58511"/>
                    <a:pt x="6334" y="58511"/>
                  </a:cubicBezTo>
                  <a:lnTo>
                    <a:pt x="973" y="58511"/>
                  </a:lnTo>
                  <a:cubicBezTo>
                    <a:pt x="407" y="58511"/>
                    <a:pt x="23" y="58104"/>
                    <a:pt x="23" y="57561"/>
                  </a:cubicBezTo>
                  <a:close/>
                </a:path>
              </a:pathLst>
            </a:custGeom>
            <a:solidFill>
              <a:srgbClr val="4D4D4D"/>
            </a:solidFill>
            <a:ln w="2260" cap="flat">
              <a:noFill/>
              <a:prstDash val="solid"/>
              <a:miter/>
            </a:ln>
          </p:spPr>
          <p:txBody>
            <a:bodyPr rtlCol="0" anchor="ctr"/>
            <a:lstStyle/>
            <a:p>
              <a:endParaRPr lang="en-US"/>
            </a:p>
          </p:txBody>
        </p:sp>
        <p:sp>
          <p:nvSpPr>
            <p:cNvPr id="48" name="Freeform 50">
              <a:extLst>
                <a:ext uri="{FF2B5EF4-FFF2-40B4-BE49-F238E27FC236}">
                  <a16:creationId xmlns:a16="http://schemas.microsoft.com/office/drawing/2014/main" id="{41CF68F2-4654-F284-4EC8-3C2340AEB6CB}"/>
                </a:ext>
              </a:extLst>
            </p:cNvPr>
            <p:cNvSpPr/>
            <p:nvPr/>
          </p:nvSpPr>
          <p:spPr>
            <a:xfrm>
              <a:off x="6894722" y="3467419"/>
              <a:ext cx="32505" cy="58466"/>
            </a:xfrm>
            <a:custGeom>
              <a:avLst/>
              <a:gdLst>
                <a:gd name="connsiteX0" fmla="*/ 0 w 32505"/>
                <a:gd name="connsiteY0" fmla="*/ 57561 h 58466"/>
                <a:gd name="connsiteX1" fmla="*/ 0 w 32505"/>
                <a:gd name="connsiteY1" fmla="*/ 950 h 58466"/>
                <a:gd name="connsiteX2" fmla="*/ 950 w 32505"/>
                <a:gd name="connsiteY2" fmla="*/ 0 h 58466"/>
                <a:gd name="connsiteX3" fmla="*/ 31555 w 32505"/>
                <a:gd name="connsiteY3" fmla="*/ 0 h 58466"/>
                <a:gd name="connsiteX4" fmla="*/ 32505 w 32505"/>
                <a:gd name="connsiteY4" fmla="*/ 950 h 58466"/>
                <a:gd name="connsiteX5" fmla="*/ 32505 w 32505"/>
                <a:gd name="connsiteY5" fmla="*/ 5838 h 58466"/>
                <a:gd name="connsiteX6" fmla="*/ 31555 w 32505"/>
                <a:gd name="connsiteY6" fmla="*/ 6788 h 58466"/>
                <a:gd name="connsiteX7" fmla="*/ 7487 w 32505"/>
                <a:gd name="connsiteY7" fmla="*/ 6788 h 58466"/>
                <a:gd name="connsiteX8" fmla="*/ 7487 w 32505"/>
                <a:gd name="connsiteY8" fmla="*/ 25409 h 58466"/>
                <a:gd name="connsiteX9" fmla="*/ 29226 w 32505"/>
                <a:gd name="connsiteY9" fmla="*/ 25409 h 58466"/>
                <a:gd name="connsiteX10" fmla="*/ 30175 w 32505"/>
                <a:gd name="connsiteY10" fmla="*/ 26360 h 58466"/>
                <a:gd name="connsiteX11" fmla="*/ 30175 w 32505"/>
                <a:gd name="connsiteY11" fmla="*/ 31066 h 58466"/>
                <a:gd name="connsiteX12" fmla="*/ 29226 w 32505"/>
                <a:gd name="connsiteY12" fmla="*/ 32016 h 58466"/>
                <a:gd name="connsiteX13" fmla="*/ 7487 w 32505"/>
                <a:gd name="connsiteY13" fmla="*/ 32016 h 58466"/>
                <a:gd name="connsiteX14" fmla="*/ 7487 w 32505"/>
                <a:gd name="connsiteY14" fmla="*/ 51678 h 58466"/>
                <a:gd name="connsiteX15" fmla="*/ 31555 w 32505"/>
                <a:gd name="connsiteY15" fmla="*/ 51678 h 58466"/>
                <a:gd name="connsiteX16" fmla="*/ 32505 w 32505"/>
                <a:gd name="connsiteY16" fmla="*/ 52629 h 58466"/>
                <a:gd name="connsiteX17" fmla="*/ 32505 w 32505"/>
                <a:gd name="connsiteY17" fmla="*/ 57516 h 58466"/>
                <a:gd name="connsiteX18" fmla="*/ 31555 w 32505"/>
                <a:gd name="connsiteY18" fmla="*/ 58466 h 58466"/>
                <a:gd name="connsiteX19" fmla="*/ 950 w 32505"/>
                <a:gd name="connsiteY19" fmla="*/ 58466 h 58466"/>
                <a:gd name="connsiteX20" fmla="*/ 0 w 32505"/>
                <a:gd name="connsiteY20" fmla="*/ 57516 h 5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05" h="58466">
                  <a:moveTo>
                    <a:pt x="0" y="57561"/>
                  </a:moveTo>
                  <a:lnTo>
                    <a:pt x="0" y="950"/>
                  </a:lnTo>
                  <a:cubicBezTo>
                    <a:pt x="0" y="385"/>
                    <a:pt x="407" y="0"/>
                    <a:pt x="950" y="0"/>
                  </a:cubicBezTo>
                  <a:lnTo>
                    <a:pt x="31555" y="0"/>
                  </a:lnTo>
                  <a:cubicBezTo>
                    <a:pt x="32121" y="0"/>
                    <a:pt x="32505" y="407"/>
                    <a:pt x="32505" y="950"/>
                  </a:cubicBezTo>
                  <a:lnTo>
                    <a:pt x="32505" y="5838"/>
                  </a:lnTo>
                  <a:cubicBezTo>
                    <a:pt x="32505" y="6403"/>
                    <a:pt x="32098" y="6788"/>
                    <a:pt x="31555" y="6788"/>
                  </a:cubicBezTo>
                  <a:lnTo>
                    <a:pt x="7487" y="6788"/>
                  </a:lnTo>
                  <a:lnTo>
                    <a:pt x="7487" y="25409"/>
                  </a:lnTo>
                  <a:lnTo>
                    <a:pt x="29226" y="25409"/>
                  </a:lnTo>
                  <a:cubicBezTo>
                    <a:pt x="29791" y="25409"/>
                    <a:pt x="30175" y="25817"/>
                    <a:pt x="30175" y="26360"/>
                  </a:cubicBezTo>
                  <a:lnTo>
                    <a:pt x="30175" y="31066"/>
                  </a:lnTo>
                  <a:cubicBezTo>
                    <a:pt x="30175" y="31631"/>
                    <a:pt x="29768" y="32016"/>
                    <a:pt x="29226" y="32016"/>
                  </a:cubicBezTo>
                  <a:lnTo>
                    <a:pt x="7487" y="32016"/>
                  </a:lnTo>
                  <a:lnTo>
                    <a:pt x="7487" y="51678"/>
                  </a:lnTo>
                  <a:lnTo>
                    <a:pt x="31555" y="51678"/>
                  </a:lnTo>
                  <a:cubicBezTo>
                    <a:pt x="32121" y="51678"/>
                    <a:pt x="32505" y="52086"/>
                    <a:pt x="32505" y="52629"/>
                  </a:cubicBezTo>
                  <a:lnTo>
                    <a:pt x="32505" y="57516"/>
                  </a:lnTo>
                  <a:cubicBezTo>
                    <a:pt x="32505" y="58082"/>
                    <a:pt x="32098" y="58466"/>
                    <a:pt x="31555" y="58466"/>
                  </a:cubicBezTo>
                  <a:lnTo>
                    <a:pt x="950" y="58466"/>
                  </a:lnTo>
                  <a:cubicBezTo>
                    <a:pt x="385" y="58466"/>
                    <a:pt x="0" y="58059"/>
                    <a:pt x="0" y="57516"/>
                  </a:cubicBezTo>
                  <a:close/>
                </a:path>
              </a:pathLst>
            </a:custGeom>
            <a:solidFill>
              <a:srgbClr val="4D4D4D"/>
            </a:solidFill>
            <a:ln w="2260" cap="flat">
              <a:noFill/>
              <a:prstDash val="solid"/>
              <a:miter/>
            </a:ln>
          </p:spPr>
          <p:txBody>
            <a:bodyPr rtlCol="0" anchor="ctr"/>
            <a:lstStyle/>
            <a:p>
              <a:endParaRPr lang="en-US"/>
            </a:p>
          </p:txBody>
        </p:sp>
        <p:sp>
          <p:nvSpPr>
            <p:cNvPr id="49" name="Freeform 51">
              <a:extLst>
                <a:ext uri="{FF2B5EF4-FFF2-40B4-BE49-F238E27FC236}">
                  <a16:creationId xmlns:a16="http://schemas.microsoft.com/office/drawing/2014/main" id="{7DB02202-3E72-C04F-DF96-FE1DC0117E60}"/>
                </a:ext>
              </a:extLst>
            </p:cNvPr>
            <p:cNvSpPr/>
            <p:nvPr/>
          </p:nvSpPr>
          <p:spPr>
            <a:xfrm>
              <a:off x="6940664" y="3467419"/>
              <a:ext cx="38525" cy="58511"/>
            </a:xfrm>
            <a:custGeom>
              <a:avLst/>
              <a:gdLst>
                <a:gd name="connsiteX0" fmla="*/ 0 w 38525"/>
                <a:gd name="connsiteY0" fmla="*/ 57561 h 58511"/>
                <a:gd name="connsiteX1" fmla="*/ 0 w 38525"/>
                <a:gd name="connsiteY1" fmla="*/ 950 h 58511"/>
                <a:gd name="connsiteX2" fmla="*/ 950 w 38525"/>
                <a:gd name="connsiteY2" fmla="*/ 0 h 58511"/>
                <a:gd name="connsiteX3" fmla="*/ 18616 w 38525"/>
                <a:gd name="connsiteY3" fmla="*/ 0 h 58511"/>
                <a:gd name="connsiteX4" fmla="*/ 36848 w 38525"/>
                <a:gd name="connsiteY4" fmla="*/ 16630 h 58511"/>
                <a:gd name="connsiteX5" fmla="*/ 36848 w 38525"/>
                <a:gd name="connsiteY5" fmla="*/ 18305 h 58511"/>
                <a:gd name="connsiteX6" fmla="*/ 25018 w 38525"/>
                <a:gd name="connsiteY6" fmla="*/ 34369 h 58511"/>
                <a:gd name="connsiteX7" fmla="*/ 38364 w 38525"/>
                <a:gd name="connsiteY7" fmla="*/ 57403 h 58511"/>
                <a:gd name="connsiteX8" fmla="*/ 37640 w 38525"/>
                <a:gd name="connsiteY8" fmla="*/ 58511 h 58511"/>
                <a:gd name="connsiteX9" fmla="*/ 31329 w 38525"/>
                <a:gd name="connsiteY9" fmla="*/ 58511 h 58511"/>
                <a:gd name="connsiteX10" fmla="*/ 30130 w 38525"/>
                <a:gd name="connsiteY10" fmla="*/ 57878 h 58511"/>
                <a:gd name="connsiteX11" fmla="*/ 17350 w 38525"/>
                <a:gd name="connsiteY11" fmla="*/ 35184 h 58511"/>
                <a:gd name="connsiteX12" fmla="*/ 7510 w 38525"/>
                <a:gd name="connsiteY12" fmla="*/ 35184 h 58511"/>
                <a:gd name="connsiteX13" fmla="*/ 7510 w 38525"/>
                <a:gd name="connsiteY13" fmla="*/ 57561 h 58511"/>
                <a:gd name="connsiteX14" fmla="*/ 6560 w 38525"/>
                <a:gd name="connsiteY14" fmla="*/ 58511 h 58511"/>
                <a:gd name="connsiteX15" fmla="*/ 973 w 38525"/>
                <a:gd name="connsiteY15" fmla="*/ 58511 h 58511"/>
                <a:gd name="connsiteX16" fmla="*/ 23 w 38525"/>
                <a:gd name="connsiteY16" fmla="*/ 57561 h 58511"/>
                <a:gd name="connsiteX17" fmla="*/ 18074 w 38525"/>
                <a:gd name="connsiteY17" fmla="*/ 28622 h 58511"/>
                <a:gd name="connsiteX18" fmla="*/ 29338 w 38525"/>
                <a:gd name="connsiteY18" fmla="*/ 18237 h 58511"/>
                <a:gd name="connsiteX19" fmla="*/ 29338 w 38525"/>
                <a:gd name="connsiteY19" fmla="*/ 17038 h 58511"/>
                <a:gd name="connsiteX20" fmla="*/ 18074 w 38525"/>
                <a:gd name="connsiteY20" fmla="*/ 6811 h 58511"/>
                <a:gd name="connsiteX21" fmla="*/ 7532 w 38525"/>
                <a:gd name="connsiteY21" fmla="*/ 6811 h 58511"/>
                <a:gd name="connsiteX22" fmla="*/ 7532 w 38525"/>
                <a:gd name="connsiteY22" fmla="*/ 28645 h 58511"/>
                <a:gd name="connsiteX23" fmla="*/ 18074 w 38525"/>
                <a:gd name="connsiteY23" fmla="*/ 28645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525" h="58511">
                  <a:moveTo>
                    <a:pt x="0" y="57561"/>
                  </a:moveTo>
                  <a:lnTo>
                    <a:pt x="0" y="950"/>
                  </a:lnTo>
                  <a:cubicBezTo>
                    <a:pt x="0" y="385"/>
                    <a:pt x="407" y="0"/>
                    <a:pt x="950" y="0"/>
                  </a:cubicBezTo>
                  <a:lnTo>
                    <a:pt x="18616" y="0"/>
                  </a:lnTo>
                  <a:cubicBezTo>
                    <a:pt x="31171" y="0"/>
                    <a:pt x="36848" y="6878"/>
                    <a:pt x="36848" y="16630"/>
                  </a:cubicBezTo>
                  <a:lnTo>
                    <a:pt x="36848" y="18305"/>
                  </a:lnTo>
                  <a:cubicBezTo>
                    <a:pt x="36848" y="26450"/>
                    <a:pt x="32935" y="32378"/>
                    <a:pt x="25018" y="34369"/>
                  </a:cubicBezTo>
                  <a:lnTo>
                    <a:pt x="38364" y="57403"/>
                  </a:lnTo>
                  <a:cubicBezTo>
                    <a:pt x="38771" y="58127"/>
                    <a:pt x="38364" y="58511"/>
                    <a:pt x="37640" y="58511"/>
                  </a:cubicBezTo>
                  <a:lnTo>
                    <a:pt x="31329" y="58511"/>
                  </a:lnTo>
                  <a:cubicBezTo>
                    <a:pt x="30854" y="58511"/>
                    <a:pt x="30379" y="58262"/>
                    <a:pt x="30130" y="57878"/>
                  </a:cubicBezTo>
                  <a:lnTo>
                    <a:pt x="17350" y="35184"/>
                  </a:lnTo>
                  <a:lnTo>
                    <a:pt x="7510" y="35184"/>
                  </a:lnTo>
                  <a:lnTo>
                    <a:pt x="7510" y="57561"/>
                  </a:lnTo>
                  <a:cubicBezTo>
                    <a:pt x="7510" y="58127"/>
                    <a:pt x="7103" y="58511"/>
                    <a:pt x="6560" y="58511"/>
                  </a:cubicBezTo>
                  <a:lnTo>
                    <a:pt x="973" y="58511"/>
                  </a:lnTo>
                  <a:cubicBezTo>
                    <a:pt x="407" y="58511"/>
                    <a:pt x="23" y="58104"/>
                    <a:pt x="23" y="57561"/>
                  </a:cubicBezTo>
                  <a:close/>
                  <a:moveTo>
                    <a:pt x="18074" y="28622"/>
                  </a:moveTo>
                  <a:cubicBezTo>
                    <a:pt x="26217" y="28622"/>
                    <a:pt x="29338" y="24866"/>
                    <a:pt x="29338" y="18237"/>
                  </a:cubicBezTo>
                  <a:lnTo>
                    <a:pt x="29338" y="17038"/>
                  </a:lnTo>
                  <a:cubicBezTo>
                    <a:pt x="29338" y="10725"/>
                    <a:pt x="26217" y="6811"/>
                    <a:pt x="18074" y="6811"/>
                  </a:cubicBezTo>
                  <a:lnTo>
                    <a:pt x="7532" y="6811"/>
                  </a:lnTo>
                  <a:lnTo>
                    <a:pt x="7532" y="28645"/>
                  </a:lnTo>
                  <a:lnTo>
                    <a:pt x="18074" y="28645"/>
                  </a:lnTo>
                  <a:close/>
                </a:path>
              </a:pathLst>
            </a:custGeom>
            <a:solidFill>
              <a:srgbClr val="4D4D4D"/>
            </a:solidFill>
            <a:ln w="2260" cap="flat">
              <a:noFill/>
              <a:prstDash val="solid"/>
              <a:miter/>
            </a:ln>
          </p:spPr>
          <p:txBody>
            <a:bodyPr rtlCol="0" anchor="ctr"/>
            <a:lstStyle/>
            <a:p>
              <a:endParaRPr lang="en-US"/>
            </a:p>
          </p:txBody>
        </p:sp>
        <p:sp>
          <p:nvSpPr>
            <p:cNvPr id="50" name="Freeform 52">
              <a:extLst>
                <a:ext uri="{FF2B5EF4-FFF2-40B4-BE49-F238E27FC236}">
                  <a16:creationId xmlns:a16="http://schemas.microsoft.com/office/drawing/2014/main" id="{BE4968C0-121C-9731-0DD9-1388D0A34842}"/>
                </a:ext>
              </a:extLst>
            </p:cNvPr>
            <p:cNvSpPr/>
            <p:nvPr/>
          </p:nvSpPr>
          <p:spPr>
            <a:xfrm>
              <a:off x="6985604" y="3467419"/>
              <a:ext cx="46406" cy="58511"/>
            </a:xfrm>
            <a:custGeom>
              <a:avLst/>
              <a:gdLst>
                <a:gd name="connsiteX0" fmla="*/ 51 w 46406"/>
                <a:gd name="connsiteY0" fmla="*/ 57403 h 58511"/>
                <a:gd name="connsiteX1" fmla="*/ 18193 w 46406"/>
                <a:gd name="connsiteY1" fmla="*/ 792 h 58511"/>
                <a:gd name="connsiteX2" fmla="*/ 19233 w 46406"/>
                <a:gd name="connsiteY2" fmla="*/ 0 h 58511"/>
                <a:gd name="connsiteX3" fmla="*/ 26992 w 46406"/>
                <a:gd name="connsiteY3" fmla="*/ 0 h 58511"/>
                <a:gd name="connsiteX4" fmla="*/ 28033 w 46406"/>
                <a:gd name="connsiteY4" fmla="*/ 792 h 58511"/>
                <a:gd name="connsiteX5" fmla="*/ 46333 w 46406"/>
                <a:gd name="connsiteY5" fmla="*/ 57403 h 58511"/>
                <a:gd name="connsiteX6" fmla="*/ 45541 w 46406"/>
                <a:gd name="connsiteY6" fmla="*/ 58511 h 58511"/>
                <a:gd name="connsiteX7" fmla="*/ 39705 w 46406"/>
                <a:gd name="connsiteY7" fmla="*/ 58511 h 58511"/>
                <a:gd name="connsiteX8" fmla="*/ 38664 w 46406"/>
                <a:gd name="connsiteY8" fmla="*/ 57719 h 58511"/>
                <a:gd name="connsiteX9" fmla="*/ 33710 w 46406"/>
                <a:gd name="connsiteY9" fmla="*/ 42130 h 58511"/>
                <a:gd name="connsiteX10" fmla="*/ 12447 w 46406"/>
                <a:gd name="connsiteY10" fmla="*/ 42130 h 58511"/>
                <a:gd name="connsiteX11" fmla="*/ 7493 w 46406"/>
                <a:gd name="connsiteY11" fmla="*/ 57719 h 58511"/>
                <a:gd name="connsiteX12" fmla="*/ 6453 w 46406"/>
                <a:gd name="connsiteY12" fmla="*/ 58511 h 58511"/>
                <a:gd name="connsiteX13" fmla="*/ 866 w 46406"/>
                <a:gd name="connsiteY13" fmla="*/ 58511 h 58511"/>
                <a:gd name="connsiteX14" fmla="*/ 74 w 46406"/>
                <a:gd name="connsiteY14" fmla="*/ 57403 h 58511"/>
                <a:gd name="connsiteX15" fmla="*/ 31539 w 46406"/>
                <a:gd name="connsiteY15" fmla="*/ 35342 h 58511"/>
                <a:gd name="connsiteX16" fmla="*/ 28100 w 46406"/>
                <a:gd name="connsiteY16" fmla="*/ 24640 h 58511"/>
                <a:gd name="connsiteX17" fmla="*/ 23215 w 46406"/>
                <a:gd name="connsiteY17" fmla="*/ 7851 h 58511"/>
                <a:gd name="connsiteX18" fmla="*/ 22966 w 46406"/>
                <a:gd name="connsiteY18" fmla="*/ 7851 h 58511"/>
                <a:gd name="connsiteX19" fmla="*/ 17921 w 46406"/>
                <a:gd name="connsiteY19" fmla="*/ 24798 h 58511"/>
                <a:gd name="connsiteX20" fmla="*/ 14574 w 46406"/>
                <a:gd name="connsiteY20" fmla="*/ 35342 h 58511"/>
                <a:gd name="connsiteX21" fmla="*/ 31516 w 46406"/>
                <a:gd name="connsiteY21" fmla="*/ 35342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406" h="58511">
                  <a:moveTo>
                    <a:pt x="51" y="57403"/>
                  </a:moveTo>
                  <a:lnTo>
                    <a:pt x="18193" y="792"/>
                  </a:lnTo>
                  <a:cubicBezTo>
                    <a:pt x="18351" y="317"/>
                    <a:pt x="18668" y="0"/>
                    <a:pt x="19233" y="0"/>
                  </a:cubicBezTo>
                  <a:lnTo>
                    <a:pt x="26992" y="0"/>
                  </a:lnTo>
                  <a:cubicBezTo>
                    <a:pt x="27558" y="0"/>
                    <a:pt x="27874" y="317"/>
                    <a:pt x="28033" y="792"/>
                  </a:cubicBezTo>
                  <a:lnTo>
                    <a:pt x="46333" y="57403"/>
                  </a:lnTo>
                  <a:cubicBezTo>
                    <a:pt x="46581" y="58127"/>
                    <a:pt x="46174" y="58511"/>
                    <a:pt x="45541" y="58511"/>
                  </a:cubicBezTo>
                  <a:lnTo>
                    <a:pt x="39705" y="58511"/>
                  </a:lnTo>
                  <a:cubicBezTo>
                    <a:pt x="39139" y="58511"/>
                    <a:pt x="38822" y="58195"/>
                    <a:pt x="38664" y="57719"/>
                  </a:cubicBezTo>
                  <a:lnTo>
                    <a:pt x="33710" y="42130"/>
                  </a:lnTo>
                  <a:lnTo>
                    <a:pt x="12447" y="42130"/>
                  </a:lnTo>
                  <a:lnTo>
                    <a:pt x="7493" y="57719"/>
                  </a:lnTo>
                  <a:cubicBezTo>
                    <a:pt x="7335" y="58195"/>
                    <a:pt x="7018" y="58511"/>
                    <a:pt x="6453" y="58511"/>
                  </a:cubicBezTo>
                  <a:lnTo>
                    <a:pt x="866" y="58511"/>
                  </a:lnTo>
                  <a:cubicBezTo>
                    <a:pt x="232" y="58511"/>
                    <a:pt x="-175" y="58104"/>
                    <a:pt x="74" y="57403"/>
                  </a:cubicBezTo>
                  <a:close/>
                  <a:moveTo>
                    <a:pt x="31539" y="35342"/>
                  </a:moveTo>
                  <a:lnTo>
                    <a:pt x="28100" y="24640"/>
                  </a:lnTo>
                  <a:cubicBezTo>
                    <a:pt x="25386" y="16087"/>
                    <a:pt x="25612" y="16155"/>
                    <a:pt x="23215" y="7851"/>
                  </a:cubicBezTo>
                  <a:lnTo>
                    <a:pt x="22966" y="7851"/>
                  </a:lnTo>
                  <a:cubicBezTo>
                    <a:pt x="21608" y="12807"/>
                    <a:pt x="19686" y="19210"/>
                    <a:pt x="17921" y="24798"/>
                  </a:cubicBezTo>
                  <a:lnTo>
                    <a:pt x="14574" y="35342"/>
                  </a:lnTo>
                  <a:lnTo>
                    <a:pt x="31516" y="35342"/>
                  </a:lnTo>
                  <a:close/>
                </a:path>
              </a:pathLst>
            </a:custGeom>
            <a:solidFill>
              <a:srgbClr val="4D4D4D"/>
            </a:solidFill>
            <a:ln w="2260" cap="flat">
              <a:noFill/>
              <a:prstDash val="solid"/>
              <a:miter/>
            </a:ln>
          </p:spPr>
          <p:txBody>
            <a:bodyPr rtlCol="0" anchor="ctr"/>
            <a:lstStyle/>
            <a:p>
              <a:endParaRPr lang="en-US"/>
            </a:p>
          </p:txBody>
        </p:sp>
        <p:sp>
          <p:nvSpPr>
            <p:cNvPr id="51" name="Freeform 53">
              <a:extLst>
                <a:ext uri="{FF2B5EF4-FFF2-40B4-BE49-F238E27FC236}">
                  <a16:creationId xmlns:a16="http://schemas.microsoft.com/office/drawing/2014/main" id="{653AB83E-C7F0-5D39-0CE6-0997D0ABFA4A}"/>
                </a:ext>
              </a:extLst>
            </p:cNvPr>
            <p:cNvSpPr/>
            <p:nvPr/>
          </p:nvSpPr>
          <p:spPr>
            <a:xfrm>
              <a:off x="7042138" y="3467419"/>
              <a:ext cx="32279" cy="58511"/>
            </a:xfrm>
            <a:custGeom>
              <a:avLst/>
              <a:gdLst>
                <a:gd name="connsiteX0" fmla="*/ 23 w 32279"/>
                <a:gd name="connsiteY0" fmla="*/ 57561 h 58511"/>
                <a:gd name="connsiteX1" fmla="*/ 23 w 32279"/>
                <a:gd name="connsiteY1" fmla="*/ 950 h 58511"/>
                <a:gd name="connsiteX2" fmla="*/ 973 w 32279"/>
                <a:gd name="connsiteY2" fmla="*/ 0 h 58511"/>
                <a:gd name="connsiteX3" fmla="*/ 6560 w 32279"/>
                <a:gd name="connsiteY3" fmla="*/ 0 h 58511"/>
                <a:gd name="connsiteX4" fmla="*/ 7510 w 32279"/>
                <a:gd name="connsiteY4" fmla="*/ 950 h 58511"/>
                <a:gd name="connsiteX5" fmla="*/ 7510 w 32279"/>
                <a:gd name="connsiteY5" fmla="*/ 51565 h 58511"/>
                <a:gd name="connsiteX6" fmla="*/ 31329 w 32279"/>
                <a:gd name="connsiteY6" fmla="*/ 51565 h 58511"/>
                <a:gd name="connsiteX7" fmla="*/ 32279 w 32279"/>
                <a:gd name="connsiteY7" fmla="*/ 52515 h 58511"/>
                <a:gd name="connsiteX8" fmla="*/ 32279 w 32279"/>
                <a:gd name="connsiteY8" fmla="*/ 57561 h 58511"/>
                <a:gd name="connsiteX9" fmla="*/ 31329 w 32279"/>
                <a:gd name="connsiteY9" fmla="*/ 58511 h 58511"/>
                <a:gd name="connsiteX10" fmla="*/ 950 w 32279"/>
                <a:gd name="connsiteY10" fmla="*/ 58511 h 58511"/>
                <a:gd name="connsiteX11" fmla="*/ 0 w 32279"/>
                <a:gd name="connsiteY11"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79" h="58511">
                  <a:moveTo>
                    <a:pt x="23" y="57561"/>
                  </a:moveTo>
                  <a:lnTo>
                    <a:pt x="23" y="950"/>
                  </a:lnTo>
                  <a:cubicBezTo>
                    <a:pt x="23" y="385"/>
                    <a:pt x="430" y="0"/>
                    <a:pt x="973" y="0"/>
                  </a:cubicBezTo>
                  <a:lnTo>
                    <a:pt x="6560" y="0"/>
                  </a:lnTo>
                  <a:cubicBezTo>
                    <a:pt x="7125" y="0"/>
                    <a:pt x="7510" y="407"/>
                    <a:pt x="7510" y="950"/>
                  </a:cubicBezTo>
                  <a:lnTo>
                    <a:pt x="7510" y="51565"/>
                  </a:lnTo>
                  <a:lnTo>
                    <a:pt x="31329" y="51565"/>
                  </a:lnTo>
                  <a:cubicBezTo>
                    <a:pt x="31895" y="51565"/>
                    <a:pt x="32279" y="51972"/>
                    <a:pt x="32279" y="52515"/>
                  </a:cubicBezTo>
                  <a:lnTo>
                    <a:pt x="32279" y="57561"/>
                  </a:lnTo>
                  <a:cubicBezTo>
                    <a:pt x="32279" y="58127"/>
                    <a:pt x="31872" y="58511"/>
                    <a:pt x="31329" y="58511"/>
                  </a:cubicBezTo>
                  <a:lnTo>
                    <a:pt x="950" y="58511"/>
                  </a:lnTo>
                  <a:cubicBezTo>
                    <a:pt x="384" y="58511"/>
                    <a:pt x="0" y="58104"/>
                    <a:pt x="0" y="57561"/>
                  </a:cubicBezTo>
                  <a:close/>
                </a:path>
              </a:pathLst>
            </a:custGeom>
            <a:solidFill>
              <a:srgbClr val="4D4D4D"/>
            </a:solidFill>
            <a:ln w="2260" cap="flat">
              <a:noFill/>
              <a:prstDash val="solid"/>
              <a:miter/>
            </a:ln>
          </p:spPr>
          <p:txBody>
            <a:bodyPr rtlCol="0" anchor="ctr"/>
            <a:lstStyle/>
            <a:p>
              <a:endParaRPr lang="en-US"/>
            </a:p>
          </p:txBody>
        </p:sp>
        <p:sp>
          <p:nvSpPr>
            <p:cNvPr id="52" name="Freeform 54">
              <a:extLst>
                <a:ext uri="{FF2B5EF4-FFF2-40B4-BE49-F238E27FC236}">
                  <a16:creationId xmlns:a16="http://schemas.microsoft.com/office/drawing/2014/main" id="{1AC642FC-9ED2-95C5-9E88-D6BCA0DF477A}"/>
                </a:ext>
              </a:extLst>
            </p:cNvPr>
            <p:cNvSpPr/>
            <p:nvPr/>
          </p:nvSpPr>
          <p:spPr>
            <a:xfrm>
              <a:off x="7080665" y="3466582"/>
              <a:ext cx="38336" cy="60276"/>
            </a:xfrm>
            <a:custGeom>
              <a:avLst/>
              <a:gdLst>
                <a:gd name="connsiteX0" fmla="*/ 18 w 38336"/>
                <a:gd name="connsiteY0" fmla="*/ 46497 h 60276"/>
                <a:gd name="connsiteX1" fmla="*/ 742 w 38336"/>
                <a:gd name="connsiteY1" fmla="*/ 45388 h 60276"/>
                <a:gd name="connsiteX2" fmla="*/ 5786 w 38336"/>
                <a:gd name="connsiteY2" fmla="*/ 44030 h 60276"/>
                <a:gd name="connsiteX3" fmla="*/ 6895 w 38336"/>
                <a:gd name="connsiteY3" fmla="*/ 44664 h 60276"/>
                <a:gd name="connsiteX4" fmla="*/ 19449 w 38336"/>
                <a:gd name="connsiteY4" fmla="*/ 53466 h 60276"/>
                <a:gd name="connsiteX5" fmla="*/ 30804 w 38336"/>
                <a:gd name="connsiteY5" fmla="*/ 44438 h 60276"/>
                <a:gd name="connsiteX6" fmla="*/ 17458 w 38336"/>
                <a:gd name="connsiteY6" fmla="*/ 32695 h 60276"/>
                <a:gd name="connsiteX7" fmla="*/ 1556 w 38336"/>
                <a:gd name="connsiteY7" fmla="*/ 15838 h 60276"/>
                <a:gd name="connsiteX8" fmla="*/ 19788 w 38336"/>
                <a:gd name="connsiteY8" fmla="*/ 0 h 60276"/>
                <a:gd name="connsiteX9" fmla="*/ 37862 w 38336"/>
                <a:gd name="connsiteY9" fmla="*/ 12399 h 60276"/>
                <a:gd name="connsiteX10" fmla="*/ 37296 w 38336"/>
                <a:gd name="connsiteY10" fmla="*/ 13598 h 60276"/>
                <a:gd name="connsiteX11" fmla="*/ 32342 w 38336"/>
                <a:gd name="connsiteY11" fmla="*/ 15114 h 60276"/>
                <a:gd name="connsiteX12" fmla="*/ 31143 w 38336"/>
                <a:gd name="connsiteY12" fmla="*/ 14549 h 60276"/>
                <a:gd name="connsiteX13" fmla="*/ 19879 w 38336"/>
                <a:gd name="connsiteY13" fmla="*/ 6788 h 60276"/>
                <a:gd name="connsiteX14" fmla="*/ 8998 w 38336"/>
                <a:gd name="connsiteY14" fmla="*/ 15341 h 60276"/>
                <a:gd name="connsiteX15" fmla="*/ 22276 w 38336"/>
                <a:gd name="connsiteY15" fmla="*/ 26450 h 60276"/>
                <a:gd name="connsiteX16" fmla="*/ 38337 w 38336"/>
                <a:gd name="connsiteY16" fmla="*/ 43804 h 60276"/>
                <a:gd name="connsiteX17" fmla="*/ 19562 w 38336"/>
                <a:gd name="connsiteY17" fmla="*/ 60276 h 60276"/>
                <a:gd name="connsiteX18" fmla="*/ 63 w 38336"/>
                <a:gd name="connsiteY18" fmla="*/ 46520 h 6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336" h="60276">
                  <a:moveTo>
                    <a:pt x="18" y="46497"/>
                  </a:moveTo>
                  <a:cubicBezTo>
                    <a:pt x="-72" y="45931"/>
                    <a:pt x="176" y="45547"/>
                    <a:pt x="742" y="45388"/>
                  </a:cubicBezTo>
                  <a:lnTo>
                    <a:pt x="5786" y="44030"/>
                  </a:lnTo>
                  <a:cubicBezTo>
                    <a:pt x="6352" y="43872"/>
                    <a:pt x="6736" y="44121"/>
                    <a:pt x="6895" y="44664"/>
                  </a:cubicBezTo>
                  <a:cubicBezTo>
                    <a:pt x="8727" y="50343"/>
                    <a:pt x="12889" y="53466"/>
                    <a:pt x="19449" y="53466"/>
                  </a:cubicBezTo>
                  <a:cubicBezTo>
                    <a:pt x="26642" y="53466"/>
                    <a:pt x="30804" y="50026"/>
                    <a:pt x="30804" y="44438"/>
                  </a:cubicBezTo>
                  <a:cubicBezTo>
                    <a:pt x="30804" y="39234"/>
                    <a:pt x="28158" y="36609"/>
                    <a:pt x="17458" y="32695"/>
                  </a:cubicBezTo>
                  <a:cubicBezTo>
                    <a:pt x="5786" y="28373"/>
                    <a:pt x="1556" y="23418"/>
                    <a:pt x="1556" y="15838"/>
                  </a:cubicBezTo>
                  <a:cubicBezTo>
                    <a:pt x="1556" y="6087"/>
                    <a:pt x="8750" y="0"/>
                    <a:pt x="19788" y="0"/>
                  </a:cubicBezTo>
                  <a:cubicBezTo>
                    <a:pt x="28814" y="0"/>
                    <a:pt x="35125" y="4231"/>
                    <a:pt x="37862" y="12399"/>
                  </a:cubicBezTo>
                  <a:cubicBezTo>
                    <a:pt x="38111" y="12965"/>
                    <a:pt x="37952" y="13350"/>
                    <a:pt x="37296" y="13598"/>
                  </a:cubicBezTo>
                  <a:lnTo>
                    <a:pt x="32342" y="15114"/>
                  </a:lnTo>
                  <a:cubicBezTo>
                    <a:pt x="31777" y="15273"/>
                    <a:pt x="31393" y="15114"/>
                    <a:pt x="31143" y="14549"/>
                  </a:cubicBezTo>
                  <a:cubicBezTo>
                    <a:pt x="29063" y="9277"/>
                    <a:pt x="25466" y="6788"/>
                    <a:pt x="19879" y="6788"/>
                  </a:cubicBezTo>
                  <a:cubicBezTo>
                    <a:pt x="13319" y="6788"/>
                    <a:pt x="8998" y="9820"/>
                    <a:pt x="8998" y="15341"/>
                  </a:cubicBezTo>
                  <a:cubicBezTo>
                    <a:pt x="8998" y="19889"/>
                    <a:pt x="11645" y="22626"/>
                    <a:pt x="22276" y="26450"/>
                  </a:cubicBezTo>
                  <a:cubicBezTo>
                    <a:pt x="34265" y="30840"/>
                    <a:pt x="38337" y="35727"/>
                    <a:pt x="38337" y="43804"/>
                  </a:cubicBezTo>
                  <a:cubicBezTo>
                    <a:pt x="38337" y="54031"/>
                    <a:pt x="31143" y="60276"/>
                    <a:pt x="19562" y="60276"/>
                  </a:cubicBezTo>
                  <a:cubicBezTo>
                    <a:pt x="9089" y="60276"/>
                    <a:pt x="2212" y="55389"/>
                    <a:pt x="63" y="46520"/>
                  </a:cubicBezTo>
                  <a:close/>
                </a:path>
              </a:pathLst>
            </a:custGeom>
            <a:solidFill>
              <a:srgbClr val="4D4D4D"/>
            </a:solidFill>
            <a:ln w="2260" cap="flat">
              <a:noFill/>
              <a:prstDash val="solid"/>
              <a:miter/>
            </a:ln>
          </p:spPr>
          <p:txBody>
            <a:bodyPr rtlCol="0" anchor="ctr"/>
            <a:lstStyle/>
            <a:p>
              <a:endParaRPr lang="en-US"/>
            </a:p>
          </p:txBody>
        </p:sp>
        <p:sp>
          <p:nvSpPr>
            <p:cNvPr id="53" name="Freeform 55">
              <a:extLst>
                <a:ext uri="{FF2B5EF4-FFF2-40B4-BE49-F238E27FC236}">
                  <a16:creationId xmlns:a16="http://schemas.microsoft.com/office/drawing/2014/main" id="{90092359-1124-A27A-5248-33550EDC320A}"/>
                </a:ext>
              </a:extLst>
            </p:cNvPr>
            <p:cNvSpPr/>
            <p:nvPr/>
          </p:nvSpPr>
          <p:spPr>
            <a:xfrm>
              <a:off x="6742080" y="3546837"/>
              <a:ext cx="41304" cy="58511"/>
            </a:xfrm>
            <a:custGeom>
              <a:avLst/>
              <a:gdLst>
                <a:gd name="connsiteX0" fmla="*/ 16852 w 41304"/>
                <a:gd name="connsiteY0" fmla="*/ 57561 h 58511"/>
                <a:gd name="connsiteX1" fmla="*/ 16852 w 41304"/>
                <a:gd name="connsiteY1" fmla="*/ 6946 h 58511"/>
                <a:gd name="connsiteX2" fmla="*/ 950 w 41304"/>
                <a:gd name="connsiteY2" fmla="*/ 6946 h 58511"/>
                <a:gd name="connsiteX3" fmla="*/ 0 w 41304"/>
                <a:gd name="connsiteY3" fmla="*/ 5996 h 58511"/>
                <a:gd name="connsiteX4" fmla="*/ 0 w 41304"/>
                <a:gd name="connsiteY4" fmla="*/ 950 h 58511"/>
                <a:gd name="connsiteX5" fmla="*/ 950 w 41304"/>
                <a:gd name="connsiteY5" fmla="*/ 0 h 58511"/>
                <a:gd name="connsiteX6" fmla="*/ 40355 w 41304"/>
                <a:gd name="connsiteY6" fmla="*/ 0 h 58511"/>
                <a:gd name="connsiteX7" fmla="*/ 41305 w 41304"/>
                <a:gd name="connsiteY7" fmla="*/ 950 h 58511"/>
                <a:gd name="connsiteX8" fmla="*/ 41305 w 41304"/>
                <a:gd name="connsiteY8" fmla="*/ 5996 h 58511"/>
                <a:gd name="connsiteX9" fmla="*/ 40355 w 41304"/>
                <a:gd name="connsiteY9" fmla="*/ 6946 h 58511"/>
                <a:gd name="connsiteX10" fmla="*/ 24362 w 41304"/>
                <a:gd name="connsiteY10" fmla="*/ 6946 h 58511"/>
                <a:gd name="connsiteX11" fmla="*/ 24362 w 41304"/>
                <a:gd name="connsiteY11" fmla="*/ 57561 h 58511"/>
                <a:gd name="connsiteX12" fmla="*/ 23412 w 41304"/>
                <a:gd name="connsiteY12" fmla="*/ 58511 h 58511"/>
                <a:gd name="connsiteX13" fmla="*/ 17825 w 41304"/>
                <a:gd name="connsiteY13" fmla="*/ 58511 h 58511"/>
                <a:gd name="connsiteX14" fmla="*/ 16875 w 41304"/>
                <a:gd name="connsiteY14"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304" h="58511">
                  <a:moveTo>
                    <a:pt x="16852" y="57561"/>
                  </a:moveTo>
                  <a:lnTo>
                    <a:pt x="16852" y="6946"/>
                  </a:lnTo>
                  <a:lnTo>
                    <a:pt x="950" y="6946"/>
                  </a:lnTo>
                  <a:cubicBezTo>
                    <a:pt x="385" y="6946"/>
                    <a:pt x="0" y="6539"/>
                    <a:pt x="0" y="5996"/>
                  </a:cubicBezTo>
                  <a:lnTo>
                    <a:pt x="0" y="950"/>
                  </a:lnTo>
                  <a:cubicBezTo>
                    <a:pt x="0" y="385"/>
                    <a:pt x="407" y="0"/>
                    <a:pt x="950" y="0"/>
                  </a:cubicBezTo>
                  <a:lnTo>
                    <a:pt x="40355" y="0"/>
                  </a:lnTo>
                  <a:cubicBezTo>
                    <a:pt x="40920" y="0"/>
                    <a:pt x="41305" y="407"/>
                    <a:pt x="41305" y="950"/>
                  </a:cubicBezTo>
                  <a:lnTo>
                    <a:pt x="41305" y="5996"/>
                  </a:lnTo>
                  <a:cubicBezTo>
                    <a:pt x="41305" y="6562"/>
                    <a:pt x="40897" y="6946"/>
                    <a:pt x="40355" y="6946"/>
                  </a:cubicBezTo>
                  <a:lnTo>
                    <a:pt x="24362" y="6946"/>
                  </a:lnTo>
                  <a:lnTo>
                    <a:pt x="24362" y="57561"/>
                  </a:lnTo>
                  <a:cubicBezTo>
                    <a:pt x="24362" y="58127"/>
                    <a:pt x="23955" y="58511"/>
                    <a:pt x="23412" y="58511"/>
                  </a:cubicBezTo>
                  <a:lnTo>
                    <a:pt x="17825" y="58511"/>
                  </a:lnTo>
                  <a:cubicBezTo>
                    <a:pt x="17259" y="58511"/>
                    <a:pt x="16875" y="58104"/>
                    <a:pt x="16875" y="57561"/>
                  </a:cubicBezTo>
                  <a:close/>
                </a:path>
              </a:pathLst>
            </a:custGeom>
            <a:solidFill>
              <a:srgbClr val="4D4D4D"/>
            </a:solidFill>
            <a:ln w="2260" cap="flat">
              <a:noFill/>
              <a:prstDash val="solid"/>
              <a:miter/>
            </a:ln>
          </p:spPr>
          <p:txBody>
            <a:bodyPr rtlCol="0" anchor="ctr"/>
            <a:lstStyle/>
            <a:p>
              <a:endParaRPr lang="en-US"/>
            </a:p>
          </p:txBody>
        </p:sp>
        <p:sp>
          <p:nvSpPr>
            <p:cNvPr id="54" name="Freeform 56">
              <a:extLst>
                <a:ext uri="{FF2B5EF4-FFF2-40B4-BE49-F238E27FC236}">
                  <a16:creationId xmlns:a16="http://schemas.microsoft.com/office/drawing/2014/main" id="{A19F0087-C392-2B94-94D1-5FED214D15E3}"/>
                </a:ext>
              </a:extLst>
            </p:cNvPr>
            <p:cNvSpPr/>
            <p:nvPr/>
          </p:nvSpPr>
          <p:spPr>
            <a:xfrm>
              <a:off x="6793451" y="3546837"/>
              <a:ext cx="32505" cy="58466"/>
            </a:xfrm>
            <a:custGeom>
              <a:avLst/>
              <a:gdLst>
                <a:gd name="connsiteX0" fmla="*/ 0 w 32505"/>
                <a:gd name="connsiteY0" fmla="*/ 57561 h 58466"/>
                <a:gd name="connsiteX1" fmla="*/ 0 w 32505"/>
                <a:gd name="connsiteY1" fmla="*/ 950 h 58466"/>
                <a:gd name="connsiteX2" fmla="*/ 950 w 32505"/>
                <a:gd name="connsiteY2" fmla="*/ 0 h 58466"/>
                <a:gd name="connsiteX3" fmla="*/ 31555 w 32505"/>
                <a:gd name="connsiteY3" fmla="*/ 0 h 58466"/>
                <a:gd name="connsiteX4" fmla="*/ 32505 w 32505"/>
                <a:gd name="connsiteY4" fmla="*/ 950 h 58466"/>
                <a:gd name="connsiteX5" fmla="*/ 32505 w 32505"/>
                <a:gd name="connsiteY5" fmla="*/ 5838 h 58466"/>
                <a:gd name="connsiteX6" fmla="*/ 31555 w 32505"/>
                <a:gd name="connsiteY6" fmla="*/ 6788 h 58466"/>
                <a:gd name="connsiteX7" fmla="*/ 7487 w 32505"/>
                <a:gd name="connsiteY7" fmla="*/ 6788 h 58466"/>
                <a:gd name="connsiteX8" fmla="*/ 7487 w 32505"/>
                <a:gd name="connsiteY8" fmla="*/ 25409 h 58466"/>
                <a:gd name="connsiteX9" fmla="*/ 29226 w 32505"/>
                <a:gd name="connsiteY9" fmla="*/ 25409 h 58466"/>
                <a:gd name="connsiteX10" fmla="*/ 30176 w 32505"/>
                <a:gd name="connsiteY10" fmla="*/ 26360 h 58466"/>
                <a:gd name="connsiteX11" fmla="*/ 30176 w 32505"/>
                <a:gd name="connsiteY11" fmla="*/ 31066 h 58466"/>
                <a:gd name="connsiteX12" fmla="*/ 29226 w 32505"/>
                <a:gd name="connsiteY12" fmla="*/ 32016 h 58466"/>
                <a:gd name="connsiteX13" fmla="*/ 7487 w 32505"/>
                <a:gd name="connsiteY13" fmla="*/ 32016 h 58466"/>
                <a:gd name="connsiteX14" fmla="*/ 7487 w 32505"/>
                <a:gd name="connsiteY14" fmla="*/ 51678 h 58466"/>
                <a:gd name="connsiteX15" fmla="*/ 31555 w 32505"/>
                <a:gd name="connsiteY15" fmla="*/ 51678 h 58466"/>
                <a:gd name="connsiteX16" fmla="*/ 32505 w 32505"/>
                <a:gd name="connsiteY16" fmla="*/ 52629 h 58466"/>
                <a:gd name="connsiteX17" fmla="*/ 32505 w 32505"/>
                <a:gd name="connsiteY17" fmla="*/ 57516 h 58466"/>
                <a:gd name="connsiteX18" fmla="*/ 31555 w 32505"/>
                <a:gd name="connsiteY18" fmla="*/ 58466 h 58466"/>
                <a:gd name="connsiteX19" fmla="*/ 950 w 32505"/>
                <a:gd name="connsiteY19" fmla="*/ 58466 h 58466"/>
                <a:gd name="connsiteX20" fmla="*/ 0 w 32505"/>
                <a:gd name="connsiteY20" fmla="*/ 57516 h 5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05" h="58466">
                  <a:moveTo>
                    <a:pt x="0" y="57561"/>
                  </a:moveTo>
                  <a:lnTo>
                    <a:pt x="0" y="950"/>
                  </a:lnTo>
                  <a:cubicBezTo>
                    <a:pt x="0" y="385"/>
                    <a:pt x="407" y="0"/>
                    <a:pt x="950" y="0"/>
                  </a:cubicBezTo>
                  <a:lnTo>
                    <a:pt x="31555" y="0"/>
                  </a:lnTo>
                  <a:cubicBezTo>
                    <a:pt x="32121" y="0"/>
                    <a:pt x="32505" y="407"/>
                    <a:pt x="32505" y="950"/>
                  </a:cubicBezTo>
                  <a:lnTo>
                    <a:pt x="32505" y="5838"/>
                  </a:lnTo>
                  <a:cubicBezTo>
                    <a:pt x="32505" y="6403"/>
                    <a:pt x="32098" y="6788"/>
                    <a:pt x="31555" y="6788"/>
                  </a:cubicBezTo>
                  <a:lnTo>
                    <a:pt x="7487" y="6788"/>
                  </a:lnTo>
                  <a:lnTo>
                    <a:pt x="7487" y="25409"/>
                  </a:lnTo>
                  <a:lnTo>
                    <a:pt x="29226" y="25409"/>
                  </a:lnTo>
                  <a:cubicBezTo>
                    <a:pt x="29791" y="25409"/>
                    <a:pt x="30176" y="25817"/>
                    <a:pt x="30176" y="26360"/>
                  </a:cubicBezTo>
                  <a:lnTo>
                    <a:pt x="30176" y="31066"/>
                  </a:lnTo>
                  <a:cubicBezTo>
                    <a:pt x="30176" y="31632"/>
                    <a:pt x="29768" y="32016"/>
                    <a:pt x="29226" y="32016"/>
                  </a:cubicBezTo>
                  <a:lnTo>
                    <a:pt x="7487" y="32016"/>
                  </a:lnTo>
                  <a:lnTo>
                    <a:pt x="7487" y="51678"/>
                  </a:lnTo>
                  <a:lnTo>
                    <a:pt x="31555" y="51678"/>
                  </a:lnTo>
                  <a:cubicBezTo>
                    <a:pt x="32121" y="51678"/>
                    <a:pt x="32505" y="52086"/>
                    <a:pt x="32505" y="52629"/>
                  </a:cubicBezTo>
                  <a:lnTo>
                    <a:pt x="32505" y="57516"/>
                  </a:lnTo>
                  <a:cubicBezTo>
                    <a:pt x="32505" y="58082"/>
                    <a:pt x="32098" y="58466"/>
                    <a:pt x="31555" y="58466"/>
                  </a:cubicBezTo>
                  <a:lnTo>
                    <a:pt x="950" y="58466"/>
                  </a:lnTo>
                  <a:cubicBezTo>
                    <a:pt x="385" y="58466"/>
                    <a:pt x="0" y="58059"/>
                    <a:pt x="0" y="57516"/>
                  </a:cubicBezTo>
                  <a:close/>
                </a:path>
              </a:pathLst>
            </a:custGeom>
            <a:solidFill>
              <a:srgbClr val="4D4D4D"/>
            </a:solidFill>
            <a:ln w="2260" cap="flat">
              <a:noFill/>
              <a:prstDash val="solid"/>
              <a:miter/>
            </a:ln>
          </p:spPr>
          <p:txBody>
            <a:bodyPr rtlCol="0" anchor="ctr"/>
            <a:lstStyle/>
            <a:p>
              <a:endParaRPr lang="en-US"/>
            </a:p>
          </p:txBody>
        </p:sp>
        <p:sp>
          <p:nvSpPr>
            <p:cNvPr id="55" name="Freeform 57">
              <a:extLst>
                <a:ext uri="{FF2B5EF4-FFF2-40B4-BE49-F238E27FC236}">
                  <a16:creationId xmlns:a16="http://schemas.microsoft.com/office/drawing/2014/main" id="{B9C902B0-6AD6-A314-8D9C-FF317265380E}"/>
                </a:ext>
              </a:extLst>
            </p:cNvPr>
            <p:cNvSpPr/>
            <p:nvPr/>
          </p:nvSpPr>
          <p:spPr>
            <a:xfrm>
              <a:off x="6837402" y="3545954"/>
              <a:ext cx="39102" cy="60276"/>
            </a:xfrm>
            <a:custGeom>
              <a:avLst/>
              <a:gdLst>
                <a:gd name="connsiteX0" fmla="*/ 0 w 39102"/>
                <a:gd name="connsiteY0" fmla="*/ 39822 h 60276"/>
                <a:gd name="connsiteX1" fmla="*/ 0 w 39102"/>
                <a:gd name="connsiteY1" fmla="*/ 20477 h 60276"/>
                <a:gd name="connsiteX2" fmla="*/ 19815 w 39102"/>
                <a:gd name="connsiteY2" fmla="*/ 0 h 60276"/>
                <a:gd name="connsiteX3" fmla="*/ 38590 w 39102"/>
                <a:gd name="connsiteY3" fmla="*/ 13825 h 60276"/>
                <a:gd name="connsiteX4" fmla="*/ 37957 w 39102"/>
                <a:gd name="connsiteY4" fmla="*/ 15024 h 60276"/>
                <a:gd name="connsiteX5" fmla="*/ 32845 w 39102"/>
                <a:gd name="connsiteY5" fmla="*/ 16630 h 60276"/>
                <a:gd name="connsiteX6" fmla="*/ 31646 w 39102"/>
                <a:gd name="connsiteY6" fmla="*/ 15997 h 60276"/>
                <a:gd name="connsiteX7" fmla="*/ 19906 w 39102"/>
                <a:gd name="connsiteY7" fmla="*/ 6969 h 60276"/>
                <a:gd name="connsiteX8" fmla="*/ 7510 w 39102"/>
                <a:gd name="connsiteY8" fmla="*/ 20635 h 60276"/>
                <a:gd name="connsiteX9" fmla="*/ 7510 w 39102"/>
                <a:gd name="connsiteY9" fmla="*/ 39664 h 60276"/>
                <a:gd name="connsiteX10" fmla="*/ 19974 w 39102"/>
                <a:gd name="connsiteY10" fmla="*/ 53330 h 60276"/>
                <a:gd name="connsiteX11" fmla="*/ 32121 w 39102"/>
                <a:gd name="connsiteY11" fmla="*/ 43646 h 60276"/>
                <a:gd name="connsiteX12" fmla="*/ 33320 w 39102"/>
                <a:gd name="connsiteY12" fmla="*/ 43012 h 60276"/>
                <a:gd name="connsiteX13" fmla="*/ 38364 w 39102"/>
                <a:gd name="connsiteY13" fmla="*/ 44687 h 60276"/>
                <a:gd name="connsiteX14" fmla="*/ 39088 w 39102"/>
                <a:gd name="connsiteY14" fmla="*/ 45728 h 60276"/>
                <a:gd name="connsiteX15" fmla="*/ 19906 w 39102"/>
                <a:gd name="connsiteY15" fmla="*/ 60276 h 60276"/>
                <a:gd name="connsiteX16" fmla="*/ 0 w 39102"/>
                <a:gd name="connsiteY16" fmla="*/ 39800 h 6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102" h="60276">
                  <a:moveTo>
                    <a:pt x="0" y="39822"/>
                  </a:moveTo>
                  <a:lnTo>
                    <a:pt x="0" y="20477"/>
                  </a:lnTo>
                  <a:cubicBezTo>
                    <a:pt x="0" y="6969"/>
                    <a:pt x="7985" y="0"/>
                    <a:pt x="19815" y="0"/>
                  </a:cubicBezTo>
                  <a:cubicBezTo>
                    <a:pt x="30130" y="0"/>
                    <a:pt x="36125" y="5272"/>
                    <a:pt x="38590" y="13825"/>
                  </a:cubicBezTo>
                  <a:cubicBezTo>
                    <a:pt x="38749" y="14391"/>
                    <a:pt x="38500" y="14866"/>
                    <a:pt x="37957" y="15024"/>
                  </a:cubicBezTo>
                  <a:lnTo>
                    <a:pt x="32845" y="16630"/>
                  </a:lnTo>
                  <a:cubicBezTo>
                    <a:pt x="32279" y="16789"/>
                    <a:pt x="31895" y="16540"/>
                    <a:pt x="31646" y="15997"/>
                  </a:cubicBezTo>
                  <a:cubicBezTo>
                    <a:pt x="29723" y="10408"/>
                    <a:pt x="26760" y="6969"/>
                    <a:pt x="19906" y="6969"/>
                  </a:cubicBezTo>
                  <a:cubicBezTo>
                    <a:pt x="12079" y="6969"/>
                    <a:pt x="7510" y="11449"/>
                    <a:pt x="7510" y="20635"/>
                  </a:cubicBezTo>
                  <a:lnTo>
                    <a:pt x="7510" y="39664"/>
                  </a:lnTo>
                  <a:cubicBezTo>
                    <a:pt x="7510" y="48850"/>
                    <a:pt x="12057" y="53330"/>
                    <a:pt x="19974" y="53330"/>
                  </a:cubicBezTo>
                  <a:cubicBezTo>
                    <a:pt x="27416" y="53330"/>
                    <a:pt x="30515" y="49484"/>
                    <a:pt x="32121" y="43646"/>
                  </a:cubicBezTo>
                  <a:cubicBezTo>
                    <a:pt x="32279" y="43012"/>
                    <a:pt x="32754" y="42854"/>
                    <a:pt x="33320" y="43012"/>
                  </a:cubicBezTo>
                  <a:lnTo>
                    <a:pt x="38364" y="44687"/>
                  </a:lnTo>
                  <a:cubicBezTo>
                    <a:pt x="38997" y="44936"/>
                    <a:pt x="39156" y="45252"/>
                    <a:pt x="39088" y="45728"/>
                  </a:cubicBezTo>
                  <a:cubicBezTo>
                    <a:pt x="36781" y="54281"/>
                    <a:pt x="31012" y="60276"/>
                    <a:pt x="19906" y="60276"/>
                  </a:cubicBezTo>
                  <a:cubicBezTo>
                    <a:pt x="7510" y="60276"/>
                    <a:pt x="0" y="52764"/>
                    <a:pt x="0" y="39800"/>
                  </a:cubicBezTo>
                  <a:close/>
                </a:path>
              </a:pathLst>
            </a:custGeom>
            <a:solidFill>
              <a:srgbClr val="4D4D4D"/>
            </a:solidFill>
            <a:ln w="2260" cap="flat">
              <a:noFill/>
              <a:prstDash val="solid"/>
              <a:miter/>
            </a:ln>
          </p:spPr>
          <p:txBody>
            <a:bodyPr rtlCol="0" anchor="ctr"/>
            <a:lstStyle/>
            <a:p>
              <a:endParaRPr lang="en-US"/>
            </a:p>
          </p:txBody>
        </p:sp>
        <p:sp>
          <p:nvSpPr>
            <p:cNvPr id="56" name="Freeform 58">
              <a:extLst>
                <a:ext uri="{FF2B5EF4-FFF2-40B4-BE49-F238E27FC236}">
                  <a16:creationId xmlns:a16="http://schemas.microsoft.com/office/drawing/2014/main" id="{89CBB902-F11D-853D-53CF-F0BA13998A00}"/>
                </a:ext>
              </a:extLst>
            </p:cNvPr>
            <p:cNvSpPr/>
            <p:nvPr/>
          </p:nvSpPr>
          <p:spPr>
            <a:xfrm>
              <a:off x="6885470" y="3546837"/>
              <a:ext cx="40716" cy="58511"/>
            </a:xfrm>
            <a:custGeom>
              <a:avLst/>
              <a:gdLst>
                <a:gd name="connsiteX0" fmla="*/ 33229 w 40716"/>
                <a:gd name="connsiteY0" fmla="*/ 57561 h 58511"/>
                <a:gd name="connsiteX1" fmla="*/ 33229 w 40716"/>
                <a:gd name="connsiteY1" fmla="*/ 32536 h 58511"/>
                <a:gd name="connsiteX2" fmla="*/ 7487 w 40716"/>
                <a:gd name="connsiteY2" fmla="*/ 32536 h 58511"/>
                <a:gd name="connsiteX3" fmla="*/ 7487 w 40716"/>
                <a:gd name="connsiteY3" fmla="*/ 57561 h 58511"/>
                <a:gd name="connsiteX4" fmla="*/ 6537 w 40716"/>
                <a:gd name="connsiteY4" fmla="*/ 58511 h 58511"/>
                <a:gd name="connsiteX5" fmla="*/ 950 w 40716"/>
                <a:gd name="connsiteY5" fmla="*/ 58511 h 58511"/>
                <a:gd name="connsiteX6" fmla="*/ 0 w 40716"/>
                <a:gd name="connsiteY6" fmla="*/ 57561 h 58511"/>
                <a:gd name="connsiteX7" fmla="*/ 0 w 40716"/>
                <a:gd name="connsiteY7" fmla="*/ 950 h 58511"/>
                <a:gd name="connsiteX8" fmla="*/ 950 w 40716"/>
                <a:gd name="connsiteY8" fmla="*/ 0 h 58511"/>
                <a:gd name="connsiteX9" fmla="*/ 6537 w 40716"/>
                <a:gd name="connsiteY9" fmla="*/ 0 h 58511"/>
                <a:gd name="connsiteX10" fmla="*/ 7487 w 40716"/>
                <a:gd name="connsiteY10" fmla="*/ 950 h 58511"/>
                <a:gd name="connsiteX11" fmla="*/ 7487 w 40716"/>
                <a:gd name="connsiteY11" fmla="*/ 25568 h 58511"/>
                <a:gd name="connsiteX12" fmla="*/ 33229 w 40716"/>
                <a:gd name="connsiteY12" fmla="*/ 25568 h 58511"/>
                <a:gd name="connsiteX13" fmla="*/ 33229 w 40716"/>
                <a:gd name="connsiteY13" fmla="*/ 950 h 58511"/>
                <a:gd name="connsiteX14" fmla="*/ 34179 w 40716"/>
                <a:gd name="connsiteY14" fmla="*/ 0 h 58511"/>
                <a:gd name="connsiteX15" fmla="*/ 39766 w 40716"/>
                <a:gd name="connsiteY15" fmla="*/ 0 h 58511"/>
                <a:gd name="connsiteX16" fmla="*/ 40717 w 40716"/>
                <a:gd name="connsiteY16" fmla="*/ 950 h 58511"/>
                <a:gd name="connsiteX17" fmla="*/ 40717 w 40716"/>
                <a:gd name="connsiteY17" fmla="*/ 57561 h 58511"/>
                <a:gd name="connsiteX18" fmla="*/ 39766 w 40716"/>
                <a:gd name="connsiteY18" fmla="*/ 58511 h 58511"/>
                <a:gd name="connsiteX19" fmla="*/ 34179 w 40716"/>
                <a:gd name="connsiteY19" fmla="*/ 58511 h 58511"/>
                <a:gd name="connsiteX20" fmla="*/ 33229 w 40716"/>
                <a:gd name="connsiteY20"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716" h="58511">
                  <a:moveTo>
                    <a:pt x="33229" y="57561"/>
                  </a:moveTo>
                  <a:lnTo>
                    <a:pt x="33229" y="32536"/>
                  </a:lnTo>
                  <a:lnTo>
                    <a:pt x="7487" y="32536"/>
                  </a:lnTo>
                  <a:lnTo>
                    <a:pt x="7487" y="57561"/>
                  </a:lnTo>
                  <a:cubicBezTo>
                    <a:pt x="7487" y="58127"/>
                    <a:pt x="7080" y="58511"/>
                    <a:pt x="6537" y="58511"/>
                  </a:cubicBezTo>
                  <a:lnTo>
                    <a:pt x="950" y="58511"/>
                  </a:lnTo>
                  <a:cubicBezTo>
                    <a:pt x="385" y="58511"/>
                    <a:pt x="0" y="58104"/>
                    <a:pt x="0" y="57561"/>
                  </a:cubicBezTo>
                  <a:lnTo>
                    <a:pt x="0" y="950"/>
                  </a:lnTo>
                  <a:cubicBezTo>
                    <a:pt x="0" y="385"/>
                    <a:pt x="407" y="0"/>
                    <a:pt x="950" y="0"/>
                  </a:cubicBezTo>
                  <a:lnTo>
                    <a:pt x="6537" y="0"/>
                  </a:lnTo>
                  <a:cubicBezTo>
                    <a:pt x="7103" y="0"/>
                    <a:pt x="7487" y="407"/>
                    <a:pt x="7487" y="950"/>
                  </a:cubicBezTo>
                  <a:lnTo>
                    <a:pt x="7487" y="25568"/>
                  </a:lnTo>
                  <a:lnTo>
                    <a:pt x="33229" y="25568"/>
                  </a:lnTo>
                  <a:lnTo>
                    <a:pt x="33229" y="950"/>
                  </a:lnTo>
                  <a:cubicBezTo>
                    <a:pt x="33229" y="385"/>
                    <a:pt x="33636" y="0"/>
                    <a:pt x="34179" y="0"/>
                  </a:cubicBezTo>
                  <a:lnTo>
                    <a:pt x="39766" y="0"/>
                  </a:lnTo>
                  <a:cubicBezTo>
                    <a:pt x="40332" y="0"/>
                    <a:pt x="40717" y="407"/>
                    <a:pt x="40717" y="950"/>
                  </a:cubicBezTo>
                  <a:lnTo>
                    <a:pt x="40717" y="57561"/>
                  </a:lnTo>
                  <a:cubicBezTo>
                    <a:pt x="40717" y="58127"/>
                    <a:pt x="40309" y="58511"/>
                    <a:pt x="39766" y="58511"/>
                  </a:cubicBezTo>
                  <a:lnTo>
                    <a:pt x="34179" y="58511"/>
                  </a:lnTo>
                  <a:cubicBezTo>
                    <a:pt x="33614" y="58511"/>
                    <a:pt x="33229" y="58104"/>
                    <a:pt x="33229" y="57561"/>
                  </a:cubicBezTo>
                  <a:close/>
                </a:path>
              </a:pathLst>
            </a:custGeom>
            <a:solidFill>
              <a:srgbClr val="4D4D4D"/>
            </a:solidFill>
            <a:ln w="2260" cap="flat">
              <a:noFill/>
              <a:prstDash val="solid"/>
              <a:miter/>
            </a:ln>
          </p:spPr>
          <p:txBody>
            <a:bodyPr rtlCol="0" anchor="ctr"/>
            <a:lstStyle/>
            <a:p>
              <a:endParaRPr lang="en-US"/>
            </a:p>
          </p:txBody>
        </p:sp>
        <p:sp>
          <p:nvSpPr>
            <p:cNvPr id="57" name="Freeform 59">
              <a:extLst>
                <a:ext uri="{FF2B5EF4-FFF2-40B4-BE49-F238E27FC236}">
                  <a16:creationId xmlns:a16="http://schemas.microsoft.com/office/drawing/2014/main" id="{F894FE67-7DA5-39EC-379F-F70E0D43CD07}"/>
                </a:ext>
              </a:extLst>
            </p:cNvPr>
            <p:cNvSpPr/>
            <p:nvPr/>
          </p:nvSpPr>
          <p:spPr>
            <a:xfrm>
              <a:off x="6936434" y="3546837"/>
              <a:ext cx="41621" cy="58533"/>
            </a:xfrm>
            <a:custGeom>
              <a:avLst/>
              <a:gdLst>
                <a:gd name="connsiteX0" fmla="*/ 0 w 41621"/>
                <a:gd name="connsiteY0" fmla="*/ 57561 h 58533"/>
                <a:gd name="connsiteX1" fmla="*/ 0 w 41621"/>
                <a:gd name="connsiteY1" fmla="*/ 950 h 58533"/>
                <a:gd name="connsiteX2" fmla="*/ 950 w 41621"/>
                <a:gd name="connsiteY2" fmla="*/ 0 h 58533"/>
                <a:gd name="connsiteX3" fmla="*/ 9591 w 41621"/>
                <a:gd name="connsiteY3" fmla="*/ 0 h 58533"/>
                <a:gd name="connsiteX4" fmla="*/ 10699 w 41621"/>
                <a:gd name="connsiteY4" fmla="*/ 724 h 58533"/>
                <a:gd name="connsiteX5" fmla="*/ 27483 w 41621"/>
                <a:gd name="connsiteY5" fmla="*/ 34211 h 58533"/>
                <a:gd name="connsiteX6" fmla="*/ 34767 w 41621"/>
                <a:gd name="connsiteY6" fmla="*/ 50208 h 58533"/>
                <a:gd name="connsiteX7" fmla="*/ 34926 w 41621"/>
                <a:gd name="connsiteY7" fmla="*/ 50208 h 58533"/>
                <a:gd name="connsiteX8" fmla="*/ 34360 w 41621"/>
                <a:gd name="connsiteY8" fmla="*/ 34867 h 58533"/>
                <a:gd name="connsiteX9" fmla="*/ 34360 w 41621"/>
                <a:gd name="connsiteY9" fmla="*/ 973 h 58533"/>
                <a:gd name="connsiteX10" fmla="*/ 35310 w 41621"/>
                <a:gd name="connsiteY10" fmla="*/ 23 h 58533"/>
                <a:gd name="connsiteX11" fmla="*/ 40671 w 41621"/>
                <a:gd name="connsiteY11" fmla="*/ 23 h 58533"/>
                <a:gd name="connsiteX12" fmla="*/ 41621 w 41621"/>
                <a:gd name="connsiteY12" fmla="*/ 973 h 58533"/>
                <a:gd name="connsiteX13" fmla="*/ 41621 w 41621"/>
                <a:gd name="connsiteY13" fmla="*/ 57584 h 58533"/>
                <a:gd name="connsiteX14" fmla="*/ 40671 w 41621"/>
                <a:gd name="connsiteY14" fmla="*/ 58534 h 58533"/>
                <a:gd name="connsiteX15" fmla="*/ 32686 w 41621"/>
                <a:gd name="connsiteY15" fmla="*/ 58534 h 58533"/>
                <a:gd name="connsiteX16" fmla="*/ 31578 w 41621"/>
                <a:gd name="connsiteY16" fmla="*/ 57810 h 58533"/>
                <a:gd name="connsiteX17" fmla="*/ 14477 w 41621"/>
                <a:gd name="connsiteY17" fmla="*/ 24323 h 58533"/>
                <a:gd name="connsiteX18" fmla="*/ 7035 w 41621"/>
                <a:gd name="connsiteY18" fmla="*/ 8010 h 58533"/>
                <a:gd name="connsiteX19" fmla="*/ 6876 w 41621"/>
                <a:gd name="connsiteY19" fmla="*/ 8010 h 58533"/>
                <a:gd name="connsiteX20" fmla="*/ 7284 w 41621"/>
                <a:gd name="connsiteY20" fmla="*/ 23192 h 58533"/>
                <a:gd name="connsiteX21" fmla="*/ 7284 w 41621"/>
                <a:gd name="connsiteY21" fmla="*/ 57561 h 58533"/>
                <a:gd name="connsiteX22" fmla="*/ 6334 w 41621"/>
                <a:gd name="connsiteY22" fmla="*/ 58511 h 58533"/>
                <a:gd name="connsiteX23" fmla="*/ 973 w 41621"/>
                <a:gd name="connsiteY23" fmla="*/ 58511 h 58533"/>
                <a:gd name="connsiteX24" fmla="*/ 23 w 41621"/>
                <a:gd name="connsiteY24" fmla="*/ 57561 h 5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621" h="58533">
                  <a:moveTo>
                    <a:pt x="0" y="57561"/>
                  </a:moveTo>
                  <a:lnTo>
                    <a:pt x="0" y="950"/>
                  </a:lnTo>
                  <a:cubicBezTo>
                    <a:pt x="0" y="385"/>
                    <a:pt x="407" y="0"/>
                    <a:pt x="950" y="0"/>
                  </a:cubicBezTo>
                  <a:lnTo>
                    <a:pt x="9591" y="0"/>
                  </a:lnTo>
                  <a:cubicBezTo>
                    <a:pt x="10066" y="0"/>
                    <a:pt x="10473" y="249"/>
                    <a:pt x="10699" y="724"/>
                  </a:cubicBezTo>
                  <a:lnTo>
                    <a:pt x="27483" y="34211"/>
                  </a:lnTo>
                  <a:cubicBezTo>
                    <a:pt x="30130" y="39641"/>
                    <a:pt x="32596" y="45252"/>
                    <a:pt x="34767" y="50208"/>
                  </a:cubicBezTo>
                  <a:lnTo>
                    <a:pt x="34926" y="50208"/>
                  </a:lnTo>
                  <a:cubicBezTo>
                    <a:pt x="34519" y="45162"/>
                    <a:pt x="34360" y="40207"/>
                    <a:pt x="34360" y="34867"/>
                  </a:cubicBezTo>
                  <a:lnTo>
                    <a:pt x="34360" y="973"/>
                  </a:lnTo>
                  <a:cubicBezTo>
                    <a:pt x="34360" y="407"/>
                    <a:pt x="34767" y="23"/>
                    <a:pt x="35310" y="23"/>
                  </a:cubicBezTo>
                  <a:lnTo>
                    <a:pt x="40671" y="23"/>
                  </a:lnTo>
                  <a:cubicBezTo>
                    <a:pt x="41237" y="23"/>
                    <a:pt x="41621" y="430"/>
                    <a:pt x="41621" y="973"/>
                  </a:cubicBezTo>
                  <a:lnTo>
                    <a:pt x="41621" y="57584"/>
                  </a:lnTo>
                  <a:cubicBezTo>
                    <a:pt x="41621" y="58149"/>
                    <a:pt x="41214" y="58534"/>
                    <a:pt x="40671" y="58534"/>
                  </a:cubicBezTo>
                  <a:lnTo>
                    <a:pt x="32686" y="58534"/>
                  </a:lnTo>
                  <a:cubicBezTo>
                    <a:pt x="32211" y="58534"/>
                    <a:pt x="31804" y="58285"/>
                    <a:pt x="31578" y="57810"/>
                  </a:cubicBezTo>
                  <a:lnTo>
                    <a:pt x="14477" y="24323"/>
                  </a:lnTo>
                  <a:cubicBezTo>
                    <a:pt x="11762" y="18893"/>
                    <a:pt x="9206" y="12965"/>
                    <a:pt x="7035" y="8010"/>
                  </a:cubicBezTo>
                  <a:lnTo>
                    <a:pt x="6876" y="8010"/>
                  </a:lnTo>
                  <a:cubicBezTo>
                    <a:pt x="7125" y="13055"/>
                    <a:pt x="7284" y="17920"/>
                    <a:pt x="7284" y="23192"/>
                  </a:cubicBezTo>
                  <a:lnTo>
                    <a:pt x="7284" y="57561"/>
                  </a:lnTo>
                  <a:cubicBezTo>
                    <a:pt x="7284" y="58127"/>
                    <a:pt x="6876" y="58511"/>
                    <a:pt x="6334" y="58511"/>
                  </a:cubicBezTo>
                  <a:lnTo>
                    <a:pt x="973" y="58511"/>
                  </a:lnTo>
                  <a:cubicBezTo>
                    <a:pt x="407" y="58511"/>
                    <a:pt x="23" y="58104"/>
                    <a:pt x="23" y="57561"/>
                  </a:cubicBezTo>
                  <a:close/>
                </a:path>
              </a:pathLst>
            </a:custGeom>
            <a:solidFill>
              <a:srgbClr val="4D4D4D"/>
            </a:solidFill>
            <a:ln w="2260" cap="flat">
              <a:noFill/>
              <a:prstDash val="solid"/>
              <a:miter/>
            </a:ln>
          </p:spPr>
          <p:txBody>
            <a:bodyPr rtlCol="0" anchor="ctr"/>
            <a:lstStyle/>
            <a:p>
              <a:endParaRPr lang="en-US"/>
            </a:p>
          </p:txBody>
        </p:sp>
        <p:sp>
          <p:nvSpPr>
            <p:cNvPr id="58" name="Freeform 60">
              <a:extLst>
                <a:ext uri="{FF2B5EF4-FFF2-40B4-BE49-F238E27FC236}">
                  <a16:creationId xmlns:a16="http://schemas.microsoft.com/office/drawing/2014/main" id="{22B7F39A-4CD5-1E7C-6D64-DE7764F8439C}"/>
                </a:ext>
              </a:extLst>
            </p:cNvPr>
            <p:cNvSpPr/>
            <p:nvPr/>
          </p:nvSpPr>
          <p:spPr>
            <a:xfrm>
              <a:off x="6988845" y="3545954"/>
              <a:ext cx="42277" cy="60298"/>
            </a:xfrm>
            <a:custGeom>
              <a:avLst/>
              <a:gdLst>
                <a:gd name="connsiteX0" fmla="*/ 0 w 42277"/>
                <a:gd name="connsiteY0" fmla="*/ 39822 h 60298"/>
                <a:gd name="connsiteX1" fmla="*/ 0 w 42277"/>
                <a:gd name="connsiteY1" fmla="*/ 20635 h 60298"/>
                <a:gd name="connsiteX2" fmla="*/ 21105 w 42277"/>
                <a:gd name="connsiteY2" fmla="*/ 0 h 60298"/>
                <a:gd name="connsiteX3" fmla="*/ 42277 w 42277"/>
                <a:gd name="connsiteY3" fmla="*/ 20477 h 60298"/>
                <a:gd name="connsiteX4" fmla="*/ 42277 w 42277"/>
                <a:gd name="connsiteY4" fmla="*/ 39664 h 60298"/>
                <a:gd name="connsiteX5" fmla="*/ 21105 w 42277"/>
                <a:gd name="connsiteY5" fmla="*/ 60299 h 60298"/>
                <a:gd name="connsiteX6" fmla="*/ 0 w 42277"/>
                <a:gd name="connsiteY6" fmla="*/ 39822 h 60298"/>
                <a:gd name="connsiteX7" fmla="*/ 21105 w 42277"/>
                <a:gd name="connsiteY7" fmla="*/ 53330 h 60298"/>
                <a:gd name="connsiteX8" fmla="*/ 34767 w 42277"/>
                <a:gd name="connsiteY8" fmla="*/ 39664 h 60298"/>
                <a:gd name="connsiteX9" fmla="*/ 34767 w 42277"/>
                <a:gd name="connsiteY9" fmla="*/ 20635 h 60298"/>
                <a:gd name="connsiteX10" fmla="*/ 21105 w 42277"/>
                <a:gd name="connsiteY10" fmla="*/ 6969 h 60298"/>
                <a:gd name="connsiteX11" fmla="*/ 7510 w 42277"/>
                <a:gd name="connsiteY11" fmla="*/ 20635 h 60298"/>
                <a:gd name="connsiteX12" fmla="*/ 7510 w 42277"/>
                <a:gd name="connsiteY12" fmla="*/ 39664 h 60298"/>
                <a:gd name="connsiteX13" fmla="*/ 21105 w 42277"/>
                <a:gd name="connsiteY13" fmla="*/ 53330 h 6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277" h="60298">
                  <a:moveTo>
                    <a:pt x="0" y="39822"/>
                  </a:moveTo>
                  <a:lnTo>
                    <a:pt x="0" y="20635"/>
                  </a:lnTo>
                  <a:cubicBezTo>
                    <a:pt x="0" y="7037"/>
                    <a:pt x="8392" y="0"/>
                    <a:pt x="21105" y="0"/>
                  </a:cubicBezTo>
                  <a:cubicBezTo>
                    <a:pt x="34451" y="0"/>
                    <a:pt x="42277" y="7829"/>
                    <a:pt x="42277" y="20477"/>
                  </a:cubicBezTo>
                  <a:lnTo>
                    <a:pt x="42277" y="39664"/>
                  </a:lnTo>
                  <a:cubicBezTo>
                    <a:pt x="42277" y="52448"/>
                    <a:pt x="34451" y="60299"/>
                    <a:pt x="21105" y="60299"/>
                  </a:cubicBezTo>
                  <a:cubicBezTo>
                    <a:pt x="7759" y="60299"/>
                    <a:pt x="0" y="52787"/>
                    <a:pt x="0" y="39822"/>
                  </a:cubicBezTo>
                  <a:close/>
                  <a:moveTo>
                    <a:pt x="21105" y="53330"/>
                  </a:moveTo>
                  <a:cubicBezTo>
                    <a:pt x="29814" y="53330"/>
                    <a:pt x="34767" y="48850"/>
                    <a:pt x="34767" y="39664"/>
                  </a:cubicBezTo>
                  <a:lnTo>
                    <a:pt x="34767" y="20635"/>
                  </a:lnTo>
                  <a:cubicBezTo>
                    <a:pt x="34767" y="11449"/>
                    <a:pt x="29814" y="6969"/>
                    <a:pt x="21105" y="6969"/>
                  </a:cubicBezTo>
                  <a:cubicBezTo>
                    <a:pt x="12396" y="6969"/>
                    <a:pt x="7510" y="11449"/>
                    <a:pt x="7510" y="20635"/>
                  </a:cubicBezTo>
                  <a:lnTo>
                    <a:pt x="7510" y="39664"/>
                  </a:lnTo>
                  <a:cubicBezTo>
                    <a:pt x="7510" y="48850"/>
                    <a:pt x="12464" y="53330"/>
                    <a:pt x="21105" y="53330"/>
                  </a:cubicBezTo>
                  <a:close/>
                </a:path>
              </a:pathLst>
            </a:custGeom>
            <a:solidFill>
              <a:srgbClr val="4D4D4D"/>
            </a:solidFill>
            <a:ln w="2260" cap="flat">
              <a:noFill/>
              <a:prstDash val="solid"/>
              <a:miter/>
            </a:ln>
          </p:spPr>
          <p:txBody>
            <a:bodyPr rtlCol="0" anchor="ctr"/>
            <a:lstStyle/>
            <a:p>
              <a:endParaRPr lang="en-US"/>
            </a:p>
          </p:txBody>
        </p:sp>
        <p:sp>
          <p:nvSpPr>
            <p:cNvPr id="59" name="Freeform 61">
              <a:extLst>
                <a:ext uri="{FF2B5EF4-FFF2-40B4-BE49-F238E27FC236}">
                  <a16:creationId xmlns:a16="http://schemas.microsoft.com/office/drawing/2014/main" id="{DD272868-D2A6-EB6E-29FD-14C43307BC11}"/>
                </a:ext>
              </a:extLst>
            </p:cNvPr>
            <p:cNvSpPr/>
            <p:nvPr/>
          </p:nvSpPr>
          <p:spPr>
            <a:xfrm>
              <a:off x="7039763" y="3546837"/>
              <a:ext cx="32279" cy="58511"/>
            </a:xfrm>
            <a:custGeom>
              <a:avLst/>
              <a:gdLst>
                <a:gd name="connsiteX0" fmla="*/ 23 w 32279"/>
                <a:gd name="connsiteY0" fmla="*/ 57561 h 58511"/>
                <a:gd name="connsiteX1" fmla="*/ 23 w 32279"/>
                <a:gd name="connsiteY1" fmla="*/ 950 h 58511"/>
                <a:gd name="connsiteX2" fmla="*/ 973 w 32279"/>
                <a:gd name="connsiteY2" fmla="*/ 0 h 58511"/>
                <a:gd name="connsiteX3" fmla="*/ 6560 w 32279"/>
                <a:gd name="connsiteY3" fmla="*/ 0 h 58511"/>
                <a:gd name="connsiteX4" fmla="*/ 7510 w 32279"/>
                <a:gd name="connsiteY4" fmla="*/ 950 h 58511"/>
                <a:gd name="connsiteX5" fmla="*/ 7510 w 32279"/>
                <a:gd name="connsiteY5" fmla="*/ 51565 h 58511"/>
                <a:gd name="connsiteX6" fmla="*/ 31329 w 32279"/>
                <a:gd name="connsiteY6" fmla="*/ 51565 h 58511"/>
                <a:gd name="connsiteX7" fmla="*/ 32279 w 32279"/>
                <a:gd name="connsiteY7" fmla="*/ 52516 h 58511"/>
                <a:gd name="connsiteX8" fmla="*/ 32279 w 32279"/>
                <a:gd name="connsiteY8" fmla="*/ 57561 h 58511"/>
                <a:gd name="connsiteX9" fmla="*/ 31329 w 32279"/>
                <a:gd name="connsiteY9" fmla="*/ 58511 h 58511"/>
                <a:gd name="connsiteX10" fmla="*/ 950 w 32279"/>
                <a:gd name="connsiteY10" fmla="*/ 58511 h 58511"/>
                <a:gd name="connsiteX11" fmla="*/ 0 w 32279"/>
                <a:gd name="connsiteY11"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79" h="58511">
                  <a:moveTo>
                    <a:pt x="23" y="57561"/>
                  </a:moveTo>
                  <a:lnTo>
                    <a:pt x="23" y="950"/>
                  </a:lnTo>
                  <a:cubicBezTo>
                    <a:pt x="23" y="385"/>
                    <a:pt x="430" y="0"/>
                    <a:pt x="973" y="0"/>
                  </a:cubicBezTo>
                  <a:lnTo>
                    <a:pt x="6560" y="0"/>
                  </a:lnTo>
                  <a:cubicBezTo>
                    <a:pt x="7125" y="0"/>
                    <a:pt x="7510" y="407"/>
                    <a:pt x="7510" y="950"/>
                  </a:cubicBezTo>
                  <a:lnTo>
                    <a:pt x="7510" y="51565"/>
                  </a:lnTo>
                  <a:lnTo>
                    <a:pt x="31329" y="51565"/>
                  </a:lnTo>
                  <a:cubicBezTo>
                    <a:pt x="31895" y="51565"/>
                    <a:pt x="32279" y="51973"/>
                    <a:pt x="32279" y="52516"/>
                  </a:cubicBezTo>
                  <a:lnTo>
                    <a:pt x="32279" y="57561"/>
                  </a:lnTo>
                  <a:cubicBezTo>
                    <a:pt x="32279" y="58127"/>
                    <a:pt x="31872" y="58511"/>
                    <a:pt x="31329" y="58511"/>
                  </a:cubicBezTo>
                  <a:lnTo>
                    <a:pt x="950" y="58511"/>
                  </a:lnTo>
                  <a:cubicBezTo>
                    <a:pt x="385" y="58511"/>
                    <a:pt x="0" y="58104"/>
                    <a:pt x="0" y="57561"/>
                  </a:cubicBezTo>
                  <a:close/>
                </a:path>
              </a:pathLst>
            </a:custGeom>
            <a:solidFill>
              <a:srgbClr val="4D4D4D"/>
            </a:solidFill>
            <a:ln w="2260" cap="flat">
              <a:noFill/>
              <a:prstDash val="solid"/>
              <a:miter/>
            </a:ln>
          </p:spPr>
          <p:txBody>
            <a:bodyPr rtlCol="0" anchor="ctr"/>
            <a:lstStyle/>
            <a:p>
              <a:endParaRPr lang="en-US"/>
            </a:p>
          </p:txBody>
        </p:sp>
        <p:sp>
          <p:nvSpPr>
            <p:cNvPr id="60" name="Freeform 62">
              <a:extLst>
                <a:ext uri="{FF2B5EF4-FFF2-40B4-BE49-F238E27FC236}">
                  <a16:creationId xmlns:a16="http://schemas.microsoft.com/office/drawing/2014/main" id="{14CFEDE7-77F3-214E-B590-99C7640EB30C}"/>
                </a:ext>
              </a:extLst>
            </p:cNvPr>
            <p:cNvSpPr/>
            <p:nvPr/>
          </p:nvSpPr>
          <p:spPr>
            <a:xfrm>
              <a:off x="7076114" y="3545954"/>
              <a:ext cx="42277" cy="60298"/>
            </a:xfrm>
            <a:custGeom>
              <a:avLst/>
              <a:gdLst>
                <a:gd name="connsiteX0" fmla="*/ 0 w 42277"/>
                <a:gd name="connsiteY0" fmla="*/ 39822 h 60298"/>
                <a:gd name="connsiteX1" fmla="*/ 0 w 42277"/>
                <a:gd name="connsiteY1" fmla="*/ 20635 h 60298"/>
                <a:gd name="connsiteX2" fmla="*/ 21105 w 42277"/>
                <a:gd name="connsiteY2" fmla="*/ 0 h 60298"/>
                <a:gd name="connsiteX3" fmla="*/ 42277 w 42277"/>
                <a:gd name="connsiteY3" fmla="*/ 20477 h 60298"/>
                <a:gd name="connsiteX4" fmla="*/ 42277 w 42277"/>
                <a:gd name="connsiteY4" fmla="*/ 39664 h 60298"/>
                <a:gd name="connsiteX5" fmla="*/ 21105 w 42277"/>
                <a:gd name="connsiteY5" fmla="*/ 60299 h 60298"/>
                <a:gd name="connsiteX6" fmla="*/ 0 w 42277"/>
                <a:gd name="connsiteY6" fmla="*/ 39822 h 60298"/>
                <a:gd name="connsiteX7" fmla="*/ 21105 w 42277"/>
                <a:gd name="connsiteY7" fmla="*/ 53330 h 60298"/>
                <a:gd name="connsiteX8" fmla="*/ 34767 w 42277"/>
                <a:gd name="connsiteY8" fmla="*/ 39664 h 60298"/>
                <a:gd name="connsiteX9" fmla="*/ 34767 w 42277"/>
                <a:gd name="connsiteY9" fmla="*/ 20635 h 60298"/>
                <a:gd name="connsiteX10" fmla="*/ 21105 w 42277"/>
                <a:gd name="connsiteY10" fmla="*/ 6969 h 60298"/>
                <a:gd name="connsiteX11" fmla="*/ 7510 w 42277"/>
                <a:gd name="connsiteY11" fmla="*/ 20635 h 60298"/>
                <a:gd name="connsiteX12" fmla="*/ 7510 w 42277"/>
                <a:gd name="connsiteY12" fmla="*/ 39664 h 60298"/>
                <a:gd name="connsiteX13" fmla="*/ 21105 w 42277"/>
                <a:gd name="connsiteY13" fmla="*/ 53330 h 6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277" h="60298">
                  <a:moveTo>
                    <a:pt x="0" y="39822"/>
                  </a:moveTo>
                  <a:lnTo>
                    <a:pt x="0" y="20635"/>
                  </a:lnTo>
                  <a:cubicBezTo>
                    <a:pt x="0" y="7037"/>
                    <a:pt x="8392" y="0"/>
                    <a:pt x="21105" y="0"/>
                  </a:cubicBezTo>
                  <a:cubicBezTo>
                    <a:pt x="34451" y="0"/>
                    <a:pt x="42277" y="7829"/>
                    <a:pt x="42277" y="20477"/>
                  </a:cubicBezTo>
                  <a:lnTo>
                    <a:pt x="42277" y="39664"/>
                  </a:lnTo>
                  <a:cubicBezTo>
                    <a:pt x="42277" y="52448"/>
                    <a:pt x="34451" y="60299"/>
                    <a:pt x="21105" y="60299"/>
                  </a:cubicBezTo>
                  <a:cubicBezTo>
                    <a:pt x="7759" y="60299"/>
                    <a:pt x="0" y="52787"/>
                    <a:pt x="0" y="39822"/>
                  </a:cubicBezTo>
                  <a:close/>
                  <a:moveTo>
                    <a:pt x="21105" y="53330"/>
                  </a:moveTo>
                  <a:cubicBezTo>
                    <a:pt x="29813" y="53330"/>
                    <a:pt x="34767" y="48850"/>
                    <a:pt x="34767" y="39664"/>
                  </a:cubicBezTo>
                  <a:lnTo>
                    <a:pt x="34767" y="20635"/>
                  </a:lnTo>
                  <a:cubicBezTo>
                    <a:pt x="34767" y="11449"/>
                    <a:pt x="29813" y="6969"/>
                    <a:pt x="21105" y="6969"/>
                  </a:cubicBezTo>
                  <a:cubicBezTo>
                    <a:pt x="12396" y="6969"/>
                    <a:pt x="7510" y="11449"/>
                    <a:pt x="7510" y="20635"/>
                  </a:cubicBezTo>
                  <a:lnTo>
                    <a:pt x="7510" y="39664"/>
                  </a:lnTo>
                  <a:cubicBezTo>
                    <a:pt x="7510" y="48850"/>
                    <a:pt x="12464" y="53330"/>
                    <a:pt x="21105" y="53330"/>
                  </a:cubicBezTo>
                  <a:close/>
                </a:path>
              </a:pathLst>
            </a:custGeom>
            <a:solidFill>
              <a:srgbClr val="4D4D4D"/>
            </a:solidFill>
            <a:ln w="2260" cap="flat">
              <a:noFill/>
              <a:prstDash val="solid"/>
              <a:miter/>
            </a:ln>
          </p:spPr>
          <p:txBody>
            <a:bodyPr rtlCol="0" anchor="ctr"/>
            <a:lstStyle/>
            <a:p>
              <a:endParaRPr lang="en-US"/>
            </a:p>
          </p:txBody>
        </p:sp>
        <p:sp>
          <p:nvSpPr>
            <p:cNvPr id="61" name="Freeform 1023">
              <a:extLst>
                <a:ext uri="{FF2B5EF4-FFF2-40B4-BE49-F238E27FC236}">
                  <a16:creationId xmlns:a16="http://schemas.microsoft.com/office/drawing/2014/main" id="{7DFF7FF3-8344-3FEF-EFC1-02FE54E5E71C}"/>
                </a:ext>
              </a:extLst>
            </p:cNvPr>
            <p:cNvSpPr/>
            <p:nvPr/>
          </p:nvSpPr>
          <p:spPr>
            <a:xfrm>
              <a:off x="7125471" y="3545954"/>
              <a:ext cx="41259" cy="60321"/>
            </a:xfrm>
            <a:custGeom>
              <a:avLst/>
              <a:gdLst>
                <a:gd name="connsiteX0" fmla="*/ 0 w 41259"/>
                <a:gd name="connsiteY0" fmla="*/ 39822 h 60321"/>
                <a:gd name="connsiteX1" fmla="*/ 0 w 41259"/>
                <a:gd name="connsiteY1" fmla="*/ 20477 h 60321"/>
                <a:gd name="connsiteX2" fmla="*/ 20630 w 41259"/>
                <a:gd name="connsiteY2" fmla="*/ 0 h 60321"/>
                <a:gd name="connsiteX3" fmla="*/ 40128 w 41259"/>
                <a:gd name="connsiteY3" fmla="*/ 13508 h 60321"/>
                <a:gd name="connsiteX4" fmla="*/ 39495 w 41259"/>
                <a:gd name="connsiteY4" fmla="*/ 14707 h 60321"/>
                <a:gd name="connsiteX5" fmla="*/ 34383 w 41259"/>
                <a:gd name="connsiteY5" fmla="*/ 16314 h 60321"/>
                <a:gd name="connsiteX6" fmla="*/ 33184 w 41259"/>
                <a:gd name="connsiteY6" fmla="*/ 15680 h 60321"/>
                <a:gd name="connsiteX7" fmla="*/ 20720 w 41259"/>
                <a:gd name="connsiteY7" fmla="*/ 6969 h 60321"/>
                <a:gd name="connsiteX8" fmla="*/ 7532 w 41259"/>
                <a:gd name="connsiteY8" fmla="*/ 20635 h 60321"/>
                <a:gd name="connsiteX9" fmla="*/ 7532 w 41259"/>
                <a:gd name="connsiteY9" fmla="*/ 39664 h 60321"/>
                <a:gd name="connsiteX10" fmla="*/ 20811 w 41259"/>
                <a:gd name="connsiteY10" fmla="*/ 53330 h 60321"/>
                <a:gd name="connsiteX11" fmla="*/ 34089 w 41259"/>
                <a:gd name="connsiteY11" fmla="*/ 39664 h 60321"/>
                <a:gd name="connsiteX12" fmla="*/ 34089 w 41259"/>
                <a:gd name="connsiteY12" fmla="*/ 34958 h 60321"/>
                <a:gd name="connsiteX13" fmla="*/ 22733 w 41259"/>
                <a:gd name="connsiteY13" fmla="*/ 34958 h 60321"/>
                <a:gd name="connsiteX14" fmla="*/ 21783 w 41259"/>
                <a:gd name="connsiteY14" fmla="*/ 34007 h 60321"/>
                <a:gd name="connsiteX15" fmla="*/ 21783 w 41259"/>
                <a:gd name="connsiteY15" fmla="*/ 29369 h 60321"/>
                <a:gd name="connsiteX16" fmla="*/ 22733 w 41259"/>
                <a:gd name="connsiteY16" fmla="*/ 28419 h 60321"/>
                <a:gd name="connsiteX17" fmla="*/ 40309 w 41259"/>
                <a:gd name="connsiteY17" fmla="*/ 28419 h 60321"/>
                <a:gd name="connsiteX18" fmla="*/ 41259 w 41259"/>
                <a:gd name="connsiteY18" fmla="*/ 29369 h 60321"/>
                <a:gd name="connsiteX19" fmla="*/ 41259 w 41259"/>
                <a:gd name="connsiteY19" fmla="*/ 39686 h 60321"/>
                <a:gd name="connsiteX20" fmla="*/ 20720 w 41259"/>
                <a:gd name="connsiteY20" fmla="*/ 60322 h 60321"/>
                <a:gd name="connsiteX21" fmla="*/ 23 w 41259"/>
                <a:gd name="connsiteY21" fmla="*/ 39845 h 60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259" h="60321">
                  <a:moveTo>
                    <a:pt x="0" y="39822"/>
                  </a:moveTo>
                  <a:lnTo>
                    <a:pt x="0" y="20477"/>
                  </a:lnTo>
                  <a:cubicBezTo>
                    <a:pt x="0" y="6969"/>
                    <a:pt x="8302" y="0"/>
                    <a:pt x="20630" y="0"/>
                  </a:cubicBezTo>
                  <a:cubicBezTo>
                    <a:pt x="31171" y="0"/>
                    <a:pt x="37414" y="5046"/>
                    <a:pt x="40128" y="13508"/>
                  </a:cubicBezTo>
                  <a:cubicBezTo>
                    <a:pt x="40287" y="14074"/>
                    <a:pt x="40038" y="14549"/>
                    <a:pt x="39495" y="14707"/>
                  </a:cubicBezTo>
                  <a:lnTo>
                    <a:pt x="34383" y="16314"/>
                  </a:lnTo>
                  <a:cubicBezTo>
                    <a:pt x="33817" y="16472"/>
                    <a:pt x="33433" y="16223"/>
                    <a:pt x="33184" y="15680"/>
                  </a:cubicBezTo>
                  <a:cubicBezTo>
                    <a:pt x="31193" y="10250"/>
                    <a:pt x="27913" y="6969"/>
                    <a:pt x="20720" y="6969"/>
                  </a:cubicBezTo>
                  <a:cubicBezTo>
                    <a:pt x="12328" y="6969"/>
                    <a:pt x="7532" y="11449"/>
                    <a:pt x="7532" y="20635"/>
                  </a:cubicBezTo>
                  <a:lnTo>
                    <a:pt x="7532" y="39664"/>
                  </a:lnTo>
                  <a:cubicBezTo>
                    <a:pt x="7532" y="48850"/>
                    <a:pt x="12328" y="53330"/>
                    <a:pt x="20811" y="53330"/>
                  </a:cubicBezTo>
                  <a:cubicBezTo>
                    <a:pt x="29293" y="53330"/>
                    <a:pt x="34089" y="48850"/>
                    <a:pt x="34089" y="39664"/>
                  </a:cubicBezTo>
                  <a:lnTo>
                    <a:pt x="34089" y="34958"/>
                  </a:lnTo>
                  <a:lnTo>
                    <a:pt x="22733" y="34958"/>
                  </a:lnTo>
                  <a:cubicBezTo>
                    <a:pt x="22168" y="34958"/>
                    <a:pt x="21783" y="34550"/>
                    <a:pt x="21783" y="34007"/>
                  </a:cubicBezTo>
                  <a:lnTo>
                    <a:pt x="21783" y="29369"/>
                  </a:lnTo>
                  <a:cubicBezTo>
                    <a:pt x="21783" y="28803"/>
                    <a:pt x="22191" y="28419"/>
                    <a:pt x="22733" y="28419"/>
                  </a:cubicBezTo>
                  <a:lnTo>
                    <a:pt x="40309" y="28419"/>
                  </a:lnTo>
                  <a:cubicBezTo>
                    <a:pt x="40875" y="28419"/>
                    <a:pt x="41259" y="28826"/>
                    <a:pt x="41259" y="29369"/>
                  </a:cubicBezTo>
                  <a:lnTo>
                    <a:pt x="41259" y="39686"/>
                  </a:lnTo>
                  <a:cubicBezTo>
                    <a:pt x="41259" y="52470"/>
                    <a:pt x="33750" y="60322"/>
                    <a:pt x="20720" y="60322"/>
                  </a:cubicBezTo>
                  <a:cubicBezTo>
                    <a:pt x="7691" y="60322"/>
                    <a:pt x="23" y="52810"/>
                    <a:pt x="23" y="39845"/>
                  </a:cubicBezTo>
                  <a:close/>
                </a:path>
              </a:pathLst>
            </a:custGeom>
            <a:solidFill>
              <a:srgbClr val="4D4D4D"/>
            </a:solidFill>
            <a:ln w="2260" cap="flat">
              <a:noFill/>
              <a:prstDash val="solid"/>
              <a:miter/>
            </a:ln>
          </p:spPr>
          <p:txBody>
            <a:bodyPr rtlCol="0" anchor="ctr"/>
            <a:lstStyle/>
            <a:p>
              <a:endParaRPr lang="en-US"/>
            </a:p>
          </p:txBody>
        </p:sp>
        <p:sp>
          <p:nvSpPr>
            <p:cNvPr id="62" name="Freeform 1024">
              <a:extLst>
                <a:ext uri="{FF2B5EF4-FFF2-40B4-BE49-F238E27FC236}">
                  <a16:creationId xmlns:a16="http://schemas.microsoft.com/office/drawing/2014/main" id="{904648C9-4614-E3E0-758F-0D4AD5C37046}"/>
                </a:ext>
              </a:extLst>
            </p:cNvPr>
            <p:cNvSpPr/>
            <p:nvPr/>
          </p:nvSpPr>
          <p:spPr>
            <a:xfrm>
              <a:off x="7177430" y="3546837"/>
              <a:ext cx="7487" cy="58511"/>
            </a:xfrm>
            <a:custGeom>
              <a:avLst/>
              <a:gdLst>
                <a:gd name="connsiteX0" fmla="*/ 0 w 7487"/>
                <a:gd name="connsiteY0" fmla="*/ 57561 h 58511"/>
                <a:gd name="connsiteX1" fmla="*/ 0 w 7487"/>
                <a:gd name="connsiteY1" fmla="*/ 950 h 58511"/>
                <a:gd name="connsiteX2" fmla="*/ 950 w 7487"/>
                <a:gd name="connsiteY2" fmla="*/ 0 h 58511"/>
                <a:gd name="connsiteX3" fmla="*/ 6537 w 7487"/>
                <a:gd name="connsiteY3" fmla="*/ 0 h 58511"/>
                <a:gd name="connsiteX4" fmla="*/ 7487 w 7487"/>
                <a:gd name="connsiteY4" fmla="*/ 950 h 58511"/>
                <a:gd name="connsiteX5" fmla="*/ 7487 w 7487"/>
                <a:gd name="connsiteY5" fmla="*/ 57561 h 58511"/>
                <a:gd name="connsiteX6" fmla="*/ 6537 w 7487"/>
                <a:gd name="connsiteY6" fmla="*/ 58511 h 58511"/>
                <a:gd name="connsiteX7" fmla="*/ 950 w 7487"/>
                <a:gd name="connsiteY7" fmla="*/ 58511 h 58511"/>
                <a:gd name="connsiteX8" fmla="*/ 0 w 7487"/>
                <a:gd name="connsiteY8" fmla="*/ 57561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7" h="58511">
                  <a:moveTo>
                    <a:pt x="0" y="57561"/>
                  </a:moveTo>
                  <a:lnTo>
                    <a:pt x="0" y="950"/>
                  </a:lnTo>
                  <a:cubicBezTo>
                    <a:pt x="0" y="385"/>
                    <a:pt x="407" y="0"/>
                    <a:pt x="950" y="0"/>
                  </a:cubicBezTo>
                  <a:lnTo>
                    <a:pt x="6537" y="0"/>
                  </a:lnTo>
                  <a:cubicBezTo>
                    <a:pt x="7103" y="0"/>
                    <a:pt x="7487" y="407"/>
                    <a:pt x="7487" y="950"/>
                  </a:cubicBezTo>
                  <a:lnTo>
                    <a:pt x="7487" y="57561"/>
                  </a:lnTo>
                  <a:cubicBezTo>
                    <a:pt x="7487" y="58127"/>
                    <a:pt x="7080" y="58511"/>
                    <a:pt x="6537" y="58511"/>
                  </a:cubicBezTo>
                  <a:lnTo>
                    <a:pt x="950" y="58511"/>
                  </a:lnTo>
                  <a:cubicBezTo>
                    <a:pt x="385" y="58511"/>
                    <a:pt x="0" y="58104"/>
                    <a:pt x="0" y="57561"/>
                  </a:cubicBezTo>
                  <a:close/>
                </a:path>
              </a:pathLst>
            </a:custGeom>
            <a:solidFill>
              <a:srgbClr val="4D4D4D"/>
            </a:solidFill>
            <a:ln w="2260" cap="flat">
              <a:noFill/>
              <a:prstDash val="solid"/>
              <a:miter/>
            </a:ln>
          </p:spPr>
          <p:txBody>
            <a:bodyPr rtlCol="0" anchor="ctr"/>
            <a:lstStyle/>
            <a:p>
              <a:endParaRPr lang="en-US"/>
            </a:p>
          </p:txBody>
        </p:sp>
        <p:sp>
          <p:nvSpPr>
            <p:cNvPr id="63" name="Freeform 1027">
              <a:extLst>
                <a:ext uri="{FF2B5EF4-FFF2-40B4-BE49-F238E27FC236}">
                  <a16:creationId xmlns:a16="http://schemas.microsoft.com/office/drawing/2014/main" id="{AB4074AA-3C5F-4D68-4615-9FCDF8D6354A}"/>
                </a:ext>
              </a:extLst>
            </p:cNvPr>
            <p:cNvSpPr/>
            <p:nvPr/>
          </p:nvSpPr>
          <p:spPr>
            <a:xfrm>
              <a:off x="7196884" y="3546837"/>
              <a:ext cx="32505" cy="58466"/>
            </a:xfrm>
            <a:custGeom>
              <a:avLst/>
              <a:gdLst>
                <a:gd name="connsiteX0" fmla="*/ 0 w 32505"/>
                <a:gd name="connsiteY0" fmla="*/ 57561 h 58466"/>
                <a:gd name="connsiteX1" fmla="*/ 0 w 32505"/>
                <a:gd name="connsiteY1" fmla="*/ 950 h 58466"/>
                <a:gd name="connsiteX2" fmla="*/ 950 w 32505"/>
                <a:gd name="connsiteY2" fmla="*/ 0 h 58466"/>
                <a:gd name="connsiteX3" fmla="*/ 31555 w 32505"/>
                <a:gd name="connsiteY3" fmla="*/ 0 h 58466"/>
                <a:gd name="connsiteX4" fmla="*/ 32505 w 32505"/>
                <a:gd name="connsiteY4" fmla="*/ 950 h 58466"/>
                <a:gd name="connsiteX5" fmla="*/ 32505 w 32505"/>
                <a:gd name="connsiteY5" fmla="*/ 5838 h 58466"/>
                <a:gd name="connsiteX6" fmla="*/ 31555 w 32505"/>
                <a:gd name="connsiteY6" fmla="*/ 6788 h 58466"/>
                <a:gd name="connsiteX7" fmla="*/ 7487 w 32505"/>
                <a:gd name="connsiteY7" fmla="*/ 6788 h 58466"/>
                <a:gd name="connsiteX8" fmla="*/ 7487 w 32505"/>
                <a:gd name="connsiteY8" fmla="*/ 25409 h 58466"/>
                <a:gd name="connsiteX9" fmla="*/ 29225 w 32505"/>
                <a:gd name="connsiteY9" fmla="*/ 25409 h 58466"/>
                <a:gd name="connsiteX10" fmla="*/ 30175 w 32505"/>
                <a:gd name="connsiteY10" fmla="*/ 26360 h 58466"/>
                <a:gd name="connsiteX11" fmla="*/ 30175 w 32505"/>
                <a:gd name="connsiteY11" fmla="*/ 31066 h 58466"/>
                <a:gd name="connsiteX12" fmla="*/ 29225 w 32505"/>
                <a:gd name="connsiteY12" fmla="*/ 32016 h 58466"/>
                <a:gd name="connsiteX13" fmla="*/ 7487 w 32505"/>
                <a:gd name="connsiteY13" fmla="*/ 32016 h 58466"/>
                <a:gd name="connsiteX14" fmla="*/ 7487 w 32505"/>
                <a:gd name="connsiteY14" fmla="*/ 51678 h 58466"/>
                <a:gd name="connsiteX15" fmla="*/ 31555 w 32505"/>
                <a:gd name="connsiteY15" fmla="*/ 51678 h 58466"/>
                <a:gd name="connsiteX16" fmla="*/ 32505 w 32505"/>
                <a:gd name="connsiteY16" fmla="*/ 52629 h 58466"/>
                <a:gd name="connsiteX17" fmla="*/ 32505 w 32505"/>
                <a:gd name="connsiteY17" fmla="*/ 57516 h 58466"/>
                <a:gd name="connsiteX18" fmla="*/ 31555 w 32505"/>
                <a:gd name="connsiteY18" fmla="*/ 58466 h 58466"/>
                <a:gd name="connsiteX19" fmla="*/ 950 w 32505"/>
                <a:gd name="connsiteY19" fmla="*/ 58466 h 58466"/>
                <a:gd name="connsiteX20" fmla="*/ 0 w 32505"/>
                <a:gd name="connsiteY20" fmla="*/ 57516 h 5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505" h="58466">
                  <a:moveTo>
                    <a:pt x="0" y="57561"/>
                  </a:moveTo>
                  <a:lnTo>
                    <a:pt x="0" y="950"/>
                  </a:lnTo>
                  <a:cubicBezTo>
                    <a:pt x="0" y="385"/>
                    <a:pt x="407" y="0"/>
                    <a:pt x="950" y="0"/>
                  </a:cubicBezTo>
                  <a:lnTo>
                    <a:pt x="31555" y="0"/>
                  </a:lnTo>
                  <a:cubicBezTo>
                    <a:pt x="32121" y="0"/>
                    <a:pt x="32505" y="407"/>
                    <a:pt x="32505" y="950"/>
                  </a:cubicBezTo>
                  <a:lnTo>
                    <a:pt x="32505" y="5838"/>
                  </a:lnTo>
                  <a:cubicBezTo>
                    <a:pt x="32505" y="6403"/>
                    <a:pt x="32098" y="6788"/>
                    <a:pt x="31555" y="6788"/>
                  </a:cubicBezTo>
                  <a:lnTo>
                    <a:pt x="7487" y="6788"/>
                  </a:lnTo>
                  <a:lnTo>
                    <a:pt x="7487" y="25409"/>
                  </a:lnTo>
                  <a:lnTo>
                    <a:pt x="29225" y="25409"/>
                  </a:lnTo>
                  <a:cubicBezTo>
                    <a:pt x="29791" y="25409"/>
                    <a:pt x="30175" y="25817"/>
                    <a:pt x="30175" y="26360"/>
                  </a:cubicBezTo>
                  <a:lnTo>
                    <a:pt x="30175" y="31066"/>
                  </a:lnTo>
                  <a:cubicBezTo>
                    <a:pt x="30175" y="31632"/>
                    <a:pt x="29768" y="32016"/>
                    <a:pt x="29225" y="32016"/>
                  </a:cubicBezTo>
                  <a:lnTo>
                    <a:pt x="7487" y="32016"/>
                  </a:lnTo>
                  <a:lnTo>
                    <a:pt x="7487" y="51678"/>
                  </a:lnTo>
                  <a:lnTo>
                    <a:pt x="31555" y="51678"/>
                  </a:lnTo>
                  <a:cubicBezTo>
                    <a:pt x="32121" y="51678"/>
                    <a:pt x="32505" y="52086"/>
                    <a:pt x="32505" y="52629"/>
                  </a:cubicBezTo>
                  <a:lnTo>
                    <a:pt x="32505" y="57516"/>
                  </a:lnTo>
                  <a:cubicBezTo>
                    <a:pt x="32505" y="58082"/>
                    <a:pt x="32098" y="58466"/>
                    <a:pt x="31555" y="58466"/>
                  </a:cubicBezTo>
                  <a:lnTo>
                    <a:pt x="950" y="58466"/>
                  </a:lnTo>
                  <a:cubicBezTo>
                    <a:pt x="384" y="58466"/>
                    <a:pt x="0" y="58059"/>
                    <a:pt x="0" y="57516"/>
                  </a:cubicBezTo>
                  <a:close/>
                </a:path>
              </a:pathLst>
            </a:custGeom>
            <a:solidFill>
              <a:srgbClr val="4D4D4D"/>
            </a:solidFill>
            <a:ln w="2260" cap="flat">
              <a:noFill/>
              <a:prstDash val="solid"/>
              <a:miter/>
            </a:ln>
          </p:spPr>
          <p:txBody>
            <a:bodyPr rtlCol="0" anchor="ctr"/>
            <a:lstStyle/>
            <a:p>
              <a:endParaRPr lang="en-US"/>
            </a:p>
          </p:txBody>
        </p:sp>
        <p:sp>
          <p:nvSpPr>
            <p:cNvPr id="64" name="Freeform 1028">
              <a:extLst>
                <a:ext uri="{FF2B5EF4-FFF2-40B4-BE49-F238E27FC236}">
                  <a16:creationId xmlns:a16="http://schemas.microsoft.com/office/drawing/2014/main" id="{EE34E901-5C96-58D3-8021-1E817CACAFB7}"/>
                </a:ext>
              </a:extLst>
            </p:cNvPr>
            <p:cNvSpPr/>
            <p:nvPr/>
          </p:nvSpPr>
          <p:spPr>
            <a:xfrm>
              <a:off x="7239233" y="3545977"/>
              <a:ext cx="38336" cy="60276"/>
            </a:xfrm>
            <a:custGeom>
              <a:avLst/>
              <a:gdLst>
                <a:gd name="connsiteX0" fmla="*/ 18 w 38336"/>
                <a:gd name="connsiteY0" fmla="*/ 46497 h 60276"/>
                <a:gd name="connsiteX1" fmla="*/ 742 w 38336"/>
                <a:gd name="connsiteY1" fmla="*/ 45388 h 60276"/>
                <a:gd name="connsiteX2" fmla="*/ 5786 w 38336"/>
                <a:gd name="connsiteY2" fmla="*/ 44031 h 60276"/>
                <a:gd name="connsiteX3" fmla="*/ 6895 w 38336"/>
                <a:gd name="connsiteY3" fmla="*/ 44664 h 60276"/>
                <a:gd name="connsiteX4" fmla="*/ 19449 w 38336"/>
                <a:gd name="connsiteY4" fmla="*/ 53466 h 60276"/>
                <a:gd name="connsiteX5" fmla="*/ 30804 w 38336"/>
                <a:gd name="connsiteY5" fmla="*/ 44438 h 60276"/>
                <a:gd name="connsiteX6" fmla="*/ 17458 w 38336"/>
                <a:gd name="connsiteY6" fmla="*/ 32695 h 60276"/>
                <a:gd name="connsiteX7" fmla="*/ 1556 w 38336"/>
                <a:gd name="connsiteY7" fmla="*/ 15838 h 60276"/>
                <a:gd name="connsiteX8" fmla="*/ 19788 w 38336"/>
                <a:gd name="connsiteY8" fmla="*/ 0 h 60276"/>
                <a:gd name="connsiteX9" fmla="*/ 37862 w 38336"/>
                <a:gd name="connsiteY9" fmla="*/ 12399 h 60276"/>
                <a:gd name="connsiteX10" fmla="*/ 37296 w 38336"/>
                <a:gd name="connsiteY10" fmla="*/ 13598 h 60276"/>
                <a:gd name="connsiteX11" fmla="*/ 32342 w 38336"/>
                <a:gd name="connsiteY11" fmla="*/ 15114 h 60276"/>
                <a:gd name="connsiteX12" fmla="*/ 31144 w 38336"/>
                <a:gd name="connsiteY12" fmla="*/ 14549 h 60276"/>
                <a:gd name="connsiteX13" fmla="*/ 19879 w 38336"/>
                <a:gd name="connsiteY13" fmla="*/ 6788 h 60276"/>
                <a:gd name="connsiteX14" fmla="*/ 8998 w 38336"/>
                <a:gd name="connsiteY14" fmla="*/ 15341 h 60276"/>
                <a:gd name="connsiteX15" fmla="*/ 22276 w 38336"/>
                <a:gd name="connsiteY15" fmla="*/ 26450 h 60276"/>
                <a:gd name="connsiteX16" fmla="*/ 38337 w 38336"/>
                <a:gd name="connsiteY16" fmla="*/ 43805 h 60276"/>
                <a:gd name="connsiteX17" fmla="*/ 19562 w 38336"/>
                <a:gd name="connsiteY17" fmla="*/ 60276 h 60276"/>
                <a:gd name="connsiteX18" fmla="*/ 63 w 38336"/>
                <a:gd name="connsiteY18" fmla="*/ 46520 h 6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336" h="60276">
                  <a:moveTo>
                    <a:pt x="18" y="46497"/>
                  </a:moveTo>
                  <a:cubicBezTo>
                    <a:pt x="-72" y="45931"/>
                    <a:pt x="176" y="45547"/>
                    <a:pt x="742" y="45388"/>
                  </a:cubicBezTo>
                  <a:lnTo>
                    <a:pt x="5786" y="44031"/>
                  </a:lnTo>
                  <a:cubicBezTo>
                    <a:pt x="6352" y="43872"/>
                    <a:pt x="6736" y="44121"/>
                    <a:pt x="6895" y="44664"/>
                  </a:cubicBezTo>
                  <a:cubicBezTo>
                    <a:pt x="8727" y="50343"/>
                    <a:pt x="12889" y="53466"/>
                    <a:pt x="19449" y="53466"/>
                  </a:cubicBezTo>
                  <a:cubicBezTo>
                    <a:pt x="26642" y="53466"/>
                    <a:pt x="30804" y="50027"/>
                    <a:pt x="30804" y="44438"/>
                  </a:cubicBezTo>
                  <a:cubicBezTo>
                    <a:pt x="30804" y="39234"/>
                    <a:pt x="28158" y="36609"/>
                    <a:pt x="17458" y="32695"/>
                  </a:cubicBezTo>
                  <a:cubicBezTo>
                    <a:pt x="5786" y="28373"/>
                    <a:pt x="1556" y="23418"/>
                    <a:pt x="1556" y="15838"/>
                  </a:cubicBezTo>
                  <a:cubicBezTo>
                    <a:pt x="1556" y="6087"/>
                    <a:pt x="8750" y="0"/>
                    <a:pt x="19788" y="0"/>
                  </a:cubicBezTo>
                  <a:cubicBezTo>
                    <a:pt x="28814" y="0"/>
                    <a:pt x="35125" y="4231"/>
                    <a:pt x="37862" y="12399"/>
                  </a:cubicBezTo>
                  <a:cubicBezTo>
                    <a:pt x="38111" y="12965"/>
                    <a:pt x="37952" y="13350"/>
                    <a:pt x="37296" y="13598"/>
                  </a:cubicBezTo>
                  <a:lnTo>
                    <a:pt x="32342" y="15114"/>
                  </a:lnTo>
                  <a:cubicBezTo>
                    <a:pt x="31777" y="15273"/>
                    <a:pt x="31393" y="15114"/>
                    <a:pt x="31144" y="14549"/>
                  </a:cubicBezTo>
                  <a:cubicBezTo>
                    <a:pt x="29063" y="9277"/>
                    <a:pt x="25466" y="6788"/>
                    <a:pt x="19879" y="6788"/>
                  </a:cubicBezTo>
                  <a:cubicBezTo>
                    <a:pt x="13319" y="6788"/>
                    <a:pt x="8998" y="9820"/>
                    <a:pt x="8998" y="15341"/>
                  </a:cubicBezTo>
                  <a:cubicBezTo>
                    <a:pt x="8998" y="19889"/>
                    <a:pt x="11645" y="22626"/>
                    <a:pt x="22276" y="26450"/>
                  </a:cubicBezTo>
                  <a:cubicBezTo>
                    <a:pt x="34265" y="30840"/>
                    <a:pt x="38337" y="35727"/>
                    <a:pt x="38337" y="43805"/>
                  </a:cubicBezTo>
                  <a:cubicBezTo>
                    <a:pt x="38337" y="54031"/>
                    <a:pt x="31144" y="60276"/>
                    <a:pt x="19562" y="60276"/>
                  </a:cubicBezTo>
                  <a:cubicBezTo>
                    <a:pt x="9089" y="60276"/>
                    <a:pt x="2212" y="55389"/>
                    <a:pt x="63" y="46520"/>
                  </a:cubicBezTo>
                  <a:close/>
                </a:path>
              </a:pathLst>
            </a:custGeom>
            <a:solidFill>
              <a:srgbClr val="4D4D4D"/>
            </a:solidFill>
            <a:ln w="2260" cap="flat">
              <a:noFill/>
              <a:prstDash val="solid"/>
              <a:miter/>
            </a:ln>
          </p:spPr>
          <p:txBody>
            <a:bodyPr rtlCol="0" anchor="ctr"/>
            <a:lstStyle/>
            <a:p>
              <a:endParaRPr lang="en-US"/>
            </a:p>
          </p:txBody>
        </p:sp>
      </p:grpSp>
    </p:spTree>
    <p:extLst>
      <p:ext uri="{BB962C8B-B14F-4D97-AF65-F5344CB8AC3E}">
        <p14:creationId xmlns:p14="http://schemas.microsoft.com/office/powerpoint/2010/main" val="10658939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C0143-23B0-ACC1-A3FA-0B335F498CB2}"/>
              </a:ext>
            </a:extLst>
          </p:cNvPr>
          <p:cNvGraphicFramePr>
            <a:graphicFrameLocks noChangeAspect="1"/>
          </p:cNvGraphicFramePr>
          <p:nvPr userDrawn="1">
            <p:custDataLst>
              <p:tags r:id="rId1"/>
            </p:custDataLst>
            <p:extLst>
              <p:ext uri="{D42A27DB-BD31-4B8C-83A1-F6EECF244321}">
                <p14:modId xmlns:p14="http://schemas.microsoft.com/office/powerpoint/2010/main" val="2237270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AB3C0143-23B0-ACC1-A3FA-0B335F498CB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0321543-EDD8-40AD-9475-FE14B010BBFF}"/>
              </a:ext>
            </a:extLst>
          </p:cNvPr>
          <p:cNvSpPr>
            <a:spLocks noGrp="1"/>
          </p:cNvSpPr>
          <p:nvPr>
            <p:ph type="sldNum" sz="quarter" idx="12"/>
          </p:nvPr>
        </p:nvSpPr>
        <p:spPr/>
        <p:txBody>
          <a:bodyPr/>
          <a:lstStyle/>
          <a:p>
            <a:fld id="{38EAD989-1E33-41E5-B29F-F1FA91AE5067}" type="slidenum">
              <a:rPr lang="en-US" smtClean="0"/>
              <a:t>‹#›</a:t>
            </a:fld>
            <a:endParaRPr lang="en-US"/>
          </a:p>
        </p:txBody>
      </p:sp>
      <p:sp>
        <p:nvSpPr>
          <p:cNvPr id="6" name="Text Placeholder 2">
            <a:extLst>
              <a:ext uri="{FF2B5EF4-FFF2-40B4-BE49-F238E27FC236}">
                <a16:creationId xmlns:a16="http://schemas.microsoft.com/office/drawing/2014/main" id="{AF0EFA31-EACD-45B2-8FFD-D1829442D8E9}"/>
              </a:ext>
            </a:extLst>
          </p:cNvPr>
          <p:cNvSpPr>
            <a:spLocks noGrp="1"/>
          </p:cNvSpPr>
          <p:nvPr>
            <p:ph idx="1"/>
          </p:nvPr>
        </p:nvSpPr>
        <p:spPr bwMode="auto">
          <a:xfrm>
            <a:off x="609600" y="1188720"/>
            <a:ext cx="10972800" cy="4970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 name="Rectangle 2">
            <a:extLst>
              <a:ext uri="{FF2B5EF4-FFF2-40B4-BE49-F238E27FC236}">
                <a16:creationId xmlns:a16="http://schemas.microsoft.com/office/drawing/2014/main" id="{1AAC38A7-7DC3-24A8-0EC1-36C5757DE078}"/>
              </a:ext>
            </a:extLst>
          </p:cNvPr>
          <p:cNvSpPr/>
          <p:nvPr userDrawn="1"/>
        </p:nvSpPr>
        <p:spPr>
          <a:xfrm>
            <a:off x="0" y="-1"/>
            <a:ext cx="12192000" cy="929874"/>
          </a:xfrm>
          <a:prstGeom prst="rect">
            <a:avLst/>
          </a:prstGeom>
          <a:solidFill>
            <a:srgbClr val="13224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A black and white logo&#10;&#10;Description automatically generated with low confidence">
            <a:extLst>
              <a:ext uri="{FF2B5EF4-FFF2-40B4-BE49-F238E27FC236}">
                <a16:creationId xmlns:a16="http://schemas.microsoft.com/office/drawing/2014/main" id="{B31E5F7E-76DF-9B17-66DD-EA274E9E38A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23528" y="372009"/>
            <a:ext cx="1371600" cy="396758"/>
          </a:xfrm>
          <a:prstGeom prst="rect">
            <a:avLst/>
          </a:prstGeom>
        </p:spPr>
      </p:pic>
      <p:sp>
        <p:nvSpPr>
          <p:cNvPr id="9" name="Title 1">
            <a:extLst>
              <a:ext uri="{FF2B5EF4-FFF2-40B4-BE49-F238E27FC236}">
                <a16:creationId xmlns:a16="http://schemas.microsoft.com/office/drawing/2014/main" id="{2D547BFF-3940-4AEA-F189-95FEC878377D}"/>
              </a:ext>
            </a:extLst>
          </p:cNvPr>
          <p:cNvSpPr>
            <a:spLocks noGrp="1"/>
          </p:cNvSpPr>
          <p:nvPr>
            <p:ph type="title"/>
          </p:nvPr>
        </p:nvSpPr>
        <p:spPr>
          <a:xfrm>
            <a:off x="367294" y="99949"/>
            <a:ext cx="10439251" cy="752108"/>
          </a:xfrm>
        </p:spPr>
        <p:txBody>
          <a:bodyPr vert="horz" lIns="0" tIns="0" rIns="0" bIns="0" anchor="b" anchorCtr="0">
            <a:noAutofit/>
          </a:bodyPr>
          <a:lstStyle>
            <a:lvl1pPr>
              <a:defRPr sz="28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7478165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C0143-23B0-ACC1-A3FA-0B335F498CB2}"/>
              </a:ext>
            </a:extLst>
          </p:cNvPr>
          <p:cNvGraphicFramePr>
            <a:graphicFrameLocks noChangeAspect="1"/>
          </p:cNvGraphicFramePr>
          <p:nvPr userDrawn="1">
            <p:custDataLst>
              <p:tags r:id="rId1"/>
            </p:custDataLst>
            <p:extLst>
              <p:ext uri="{D42A27DB-BD31-4B8C-83A1-F6EECF244321}">
                <p14:modId xmlns:p14="http://schemas.microsoft.com/office/powerpoint/2010/main" val="22372702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AB3C0143-23B0-ACC1-A3FA-0B335F498CB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0321543-EDD8-40AD-9475-FE14B010BBFF}"/>
              </a:ext>
            </a:extLst>
          </p:cNvPr>
          <p:cNvSpPr>
            <a:spLocks noGrp="1"/>
          </p:cNvSpPr>
          <p:nvPr>
            <p:ph type="sldNum" sz="quarter" idx="12"/>
          </p:nvPr>
        </p:nvSpPr>
        <p:spPr/>
        <p:txBody>
          <a:bodyPr/>
          <a:lstStyle/>
          <a:p>
            <a:fld id="{38EAD989-1E33-41E5-B29F-F1FA91AE5067}" type="slidenum">
              <a:rPr lang="en-US" smtClean="0"/>
              <a:t>‹#›</a:t>
            </a:fld>
            <a:endParaRPr lang="en-US"/>
          </a:p>
        </p:txBody>
      </p:sp>
      <p:sp>
        <p:nvSpPr>
          <p:cNvPr id="3" name="Rectangle 2">
            <a:extLst>
              <a:ext uri="{FF2B5EF4-FFF2-40B4-BE49-F238E27FC236}">
                <a16:creationId xmlns:a16="http://schemas.microsoft.com/office/drawing/2014/main" id="{1AAC38A7-7DC3-24A8-0EC1-36C5757DE078}"/>
              </a:ext>
            </a:extLst>
          </p:cNvPr>
          <p:cNvSpPr/>
          <p:nvPr userDrawn="1"/>
        </p:nvSpPr>
        <p:spPr>
          <a:xfrm>
            <a:off x="0" y="-1"/>
            <a:ext cx="12192000" cy="929874"/>
          </a:xfrm>
          <a:prstGeom prst="rect">
            <a:avLst/>
          </a:prstGeom>
          <a:solidFill>
            <a:srgbClr val="13224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A black and white logo&#10;&#10;Description automatically generated with low confidence">
            <a:extLst>
              <a:ext uri="{FF2B5EF4-FFF2-40B4-BE49-F238E27FC236}">
                <a16:creationId xmlns:a16="http://schemas.microsoft.com/office/drawing/2014/main" id="{B31E5F7E-76DF-9B17-66DD-EA274E9E38A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23528" y="372009"/>
            <a:ext cx="1371600" cy="396758"/>
          </a:xfrm>
          <a:prstGeom prst="rect">
            <a:avLst/>
          </a:prstGeom>
        </p:spPr>
      </p:pic>
      <p:sp>
        <p:nvSpPr>
          <p:cNvPr id="9" name="Title 1">
            <a:extLst>
              <a:ext uri="{FF2B5EF4-FFF2-40B4-BE49-F238E27FC236}">
                <a16:creationId xmlns:a16="http://schemas.microsoft.com/office/drawing/2014/main" id="{2D547BFF-3940-4AEA-F189-95FEC878377D}"/>
              </a:ext>
            </a:extLst>
          </p:cNvPr>
          <p:cNvSpPr>
            <a:spLocks noGrp="1"/>
          </p:cNvSpPr>
          <p:nvPr>
            <p:ph type="title"/>
          </p:nvPr>
        </p:nvSpPr>
        <p:spPr>
          <a:xfrm>
            <a:off x="367294" y="99949"/>
            <a:ext cx="10439251" cy="752108"/>
          </a:xfrm>
        </p:spPr>
        <p:txBody>
          <a:bodyPr vert="horz" lIns="0" tIns="0" rIns="0" bIns="0" anchor="b" anchorCtr="0">
            <a:noAutofit/>
          </a:bodyPr>
          <a:lstStyle>
            <a:lvl1pPr>
              <a:defRPr sz="28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6803461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C0143-23B0-ACC1-A3FA-0B335F498CB2}"/>
              </a:ext>
            </a:extLst>
          </p:cNvPr>
          <p:cNvGraphicFramePr>
            <a:graphicFrameLocks noChangeAspect="1"/>
          </p:cNvGraphicFramePr>
          <p:nvPr userDrawn="1">
            <p:custDataLst>
              <p:tags r:id="rId1"/>
            </p:custDataLst>
            <p:extLst>
              <p:ext uri="{D42A27DB-BD31-4B8C-83A1-F6EECF244321}">
                <p14:modId xmlns:p14="http://schemas.microsoft.com/office/powerpoint/2010/main" val="30418307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AB3C0143-23B0-ACC1-A3FA-0B335F498CB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0321543-EDD8-40AD-9475-FE14B010BBFF}"/>
              </a:ext>
            </a:extLst>
          </p:cNvPr>
          <p:cNvSpPr>
            <a:spLocks noGrp="1"/>
          </p:cNvSpPr>
          <p:nvPr>
            <p:ph type="sldNum" sz="quarter" idx="12"/>
          </p:nvPr>
        </p:nvSpPr>
        <p:spPr/>
        <p:txBody>
          <a:bodyPr/>
          <a:lstStyle/>
          <a:p>
            <a:fld id="{38EAD989-1E33-41E5-B29F-F1FA91AE5067}" type="slidenum">
              <a:rPr lang="en-US" smtClean="0"/>
              <a:t>‹#›</a:t>
            </a:fld>
            <a:endParaRPr lang="en-US"/>
          </a:p>
        </p:txBody>
      </p:sp>
      <p:sp>
        <p:nvSpPr>
          <p:cNvPr id="3" name="Rectangle 2">
            <a:extLst>
              <a:ext uri="{FF2B5EF4-FFF2-40B4-BE49-F238E27FC236}">
                <a16:creationId xmlns:a16="http://schemas.microsoft.com/office/drawing/2014/main" id="{1AAC38A7-7DC3-24A8-0EC1-36C5757DE078}"/>
              </a:ext>
            </a:extLst>
          </p:cNvPr>
          <p:cNvSpPr/>
          <p:nvPr userDrawn="1"/>
        </p:nvSpPr>
        <p:spPr>
          <a:xfrm>
            <a:off x="0" y="-1"/>
            <a:ext cx="12192000" cy="929874"/>
          </a:xfrm>
          <a:prstGeom prst="rect">
            <a:avLst/>
          </a:prstGeom>
          <a:solidFill>
            <a:srgbClr val="13224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A black and white logo&#10;&#10;Description automatically generated with low confidence">
            <a:extLst>
              <a:ext uri="{FF2B5EF4-FFF2-40B4-BE49-F238E27FC236}">
                <a16:creationId xmlns:a16="http://schemas.microsoft.com/office/drawing/2014/main" id="{B31E5F7E-76DF-9B17-66DD-EA274E9E38A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223528" y="372009"/>
            <a:ext cx="1371600" cy="396758"/>
          </a:xfrm>
          <a:prstGeom prst="rect">
            <a:avLst/>
          </a:prstGeom>
        </p:spPr>
      </p:pic>
      <p:sp>
        <p:nvSpPr>
          <p:cNvPr id="9" name="Title 1">
            <a:extLst>
              <a:ext uri="{FF2B5EF4-FFF2-40B4-BE49-F238E27FC236}">
                <a16:creationId xmlns:a16="http://schemas.microsoft.com/office/drawing/2014/main" id="{2D547BFF-3940-4AEA-F189-95FEC878377D}"/>
              </a:ext>
            </a:extLst>
          </p:cNvPr>
          <p:cNvSpPr>
            <a:spLocks noGrp="1"/>
          </p:cNvSpPr>
          <p:nvPr>
            <p:ph type="title"/>
          </p:nvPr>
        </p:nvSpPr>
        <p:spPr>
          <a:xfrm>
            <a:off x="1192696" y="99949"/>
            <a:ext cx="9613849" cy="752108"/>
          </a:xfrm>
        </p:spPr>
        <p:txBody>
          <a:bodyPr vert="horz" lIns="0" tIns="0" rIns="0" bIns="0" anchor="b" anchorCtr="0">
            <a:noAutofit/>
          </a:bodyPr>
          <a:lstStyle>
            <a:lvl1pPr>
              <a:defRPr sz="28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6673336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C0753-3C4B-8F53-960A-60920B690D02}"/>
              </a:ext>
            </a:extLst>
          </p:cNvPr>
          <p:cNvGraphicFramePr>
            <a:graphicFrameLocks noChangeAspect="1"/>
          </p:cNvGraphicFramePr>
          <p:nvPr userDrawn="1">
            <p:custDataLst>
              <p:tags r:id="rId1"/>
            </p:custDataLst>
            <p:extLst>
              <p:ext uri="{D42A27DB-BD31-4B8C-83A1-F6EECF244321}">
                <p14:modId xmlns:p14="http://schemas.microsoft.com/office/powerpoint/2010/main" val="4245181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2FC0753-3C4B-8F53-960A-60920B690D0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23508-27B5-43EA-A86E-A203848E2692}"/>
              </a:ext>
            </a:extLst>
          </p:cNvPr>
          <p:cNvSpPr>
            <a:spLocks noGrp="1"/>
          </p:cNvSpPr>
          <p:nvPr>
            <p:ph type="title"/>
          </p:nvPr>
        </p:nvSpPr>
        <p:spPr/>
        <p:txBody>
          <a:bodyPr vert="horz"/>
          <a:lstStyle>
            <a:lvl1pPr>
              <a:lnSpc>
                <a:spcPct val="90000"/>
              </a:lnSpc>
              <a:defRPr/>
            </a:lvl1pPr>
          </a:lstStyle>
          <a:p>
            <a:r>
              <a:rPr lang="en-US"/>
              <a:t>Click to edit Master title style</a:t>
            </a:r>
          </a:p>
        </p:txBody>
      </p:sp>
      <p:sp>
        <p:nvSpPr>
          <p:cNvPr id="5" name="Slide Number Placeholder 4">
            <a:extLst>
              <a:ext uri="{FF2B5EF4-FFF2-40B4-BE49-F238E27FC236}">
                <a16:creationId xmlns:a16="http://schemas.microsoft.com/office/drawing/2014/main" id="{C0321543-EDD8-40AD-9475-FE14B010BBFF}"/>
              </a:ext>
            </a:extLst>
          </p:cNvPr>
          <p:cNvSpPr>
            <a:spLocks noGrp="1"/>
          </p:cNvSpPr>
          <p:nvPr>
            <p:ph type="sldNum" sz="quarter" idx="12"/>
          </p:nvPr>
        </p:nvSpPr>
        <p:spPr/>
        <p:txBody>
          <a:bodyPr/>
          <a:lstStyle/>
          <a:p>
            <a:fld id="{38EAD989-1E33-41E5-B29F-F1FA91AE5067}" type="slidenum">
              <a:rPr lang="en-US" smtClean="0"/>
              <a:t>‹#›</a:t>
            </a:fld>
            <a:endParaRPr lang="en-US"/>
          </a:p>
        </p:txBody>
      </p:sp>
    </p:spTree>
    <p:extLst>
      <p:ext uri="{BB962C8B-B14F-4D97-AF65-F5344CB8AC3E}">
        <p14:creationId xmlns:p14="http://schemas.microsoft.com/office/powerpoint/2010/main" val="11768531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with ic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C0753-3C4B-8F53-960A-60920B690D02}"/>
              </a:ext>
            </a:extLst>
          </p:cNvPr>
          <p:cNvGraphicFramePr>
            <a:graphicFrameLocks noChangeAspect="1"/>
          </p:cNvGraphicFramePr>
          <p:nvPr userDrawn="1">
            <p:custDataLst>
              <p:tags r:id="rId1"/>
            </p:custDataLst>
            <p:extLst>
              <p:ext uri="{D42A27DB-BD31-4B8C-83A1-F6EECF244321}">
                <p14:modId xmlns:p14="http://schemas.microsoft.com/office/powerpoint/2010/main" val="30142747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2FC0753-3C4B-8F53-960A-60920B690D0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23508-27B5-43EA-A86E-A203848E2692}"/>
              </a:ext>
            </a:extLst>
          </p:cNvPr>
          <p:cNvSpPr>
            <a:spLocks noGrp="1"/>
          </p:cNvSpPr>
          <p:nvPr>
            <p:ph type="title"/>
          </p:nvPr>
        </p:nvSpPr>
        <p:spPr>
          <a:xfrm>
            <a:off x="1150724" y="274638"/>
            <a:ext cx="10431675" cy="716205"/>
          </a:xfrm>
        </p:spPr>
        <p:txBody>
          <a:bodyPr vert="horz"/>
          <a:lstStyle>
            <a:lvl1pPr>
              <a:lnSpc>
                <a:spcPct val="90000"/>
              </a:lnSpc>
              <a:defRPr/>
            </a:lvl1pPr>
          </a:lstStyle>
          <a:p>
            <a:r>
              <a:rPr lang="en-US"/>
              <a:t>Click to edit Master title style</a:t>
            </a:r>
          </a:p>
        </p:txBody>
      </p:sp>
      <p:sp>
        <p:nvSpPr>
          <p:cNvPr id="5" name="Slide Number Placeholder 4">
            <a:extLst>
              <a:ext uri="{FF2B5EF4-FFF2-40B4-BE49-F238E27FC236}">
                <a16:creationId xmlns:a16="http://schemas.microsoft.com/office/drawing/2014/main" id="{C0321543-EDD8-40AD-9475-FE14B010BBFF}"/>
              </a:ext>
            </a:extLst>
          </p:cNvPr>
          <p:cNvSpPr>
            <a:spLocks noGrp="1"/>
          </p:cNvSpPr>
          <p:nvPr>
            <p:ph type="sldNum" sz="quarter" idx="12"/>
          </p:nvPr>
        </p:nvSpPr>
        <p:spPr/>
        <p:txBody>
          <a:bodyPr/>
          <a:lstStyle/>
          <a:p>
            <a:fld id="{38EAD989-1E33-41E5-B29F-F1FA91AE5067}" type="slidenum">
              <a:rPr lang="en-US" smtClean="0"/>
              <a:t>‹#›</a:t>
            </a:fld>
            <a:endParaRPr lang="en-US"/>
          </a:p>
        </p:txBody>
      </p:sp>
    </p:spTree>
    <p:extLst>
      <p:ext uri="{BB962C8B-B14F-4D97-AF65-F5344CB8AC3E}">
        <p14:creationId xmlns:p14="http://schemas.microsoft.com/office/powerpoint/2010/main" val="38688996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8770FB7-E593-3B5D-28D6-292C37EFCF2A}"/>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731730E7-FA1E-7835-35E4-D48C90D2AEA2}"/>
              </a:ext>
            </a:extLst>
          </p:cNvPr>
          <p:cNvSpPr>
            <a:spLocks noGrp="1"/>
          </p:cNvSpPr>
          <p:nvPr>
            <p:ph type="ctrTitle" hasCustomPrompt="1"/>
          </p:nvPr>
        </p:nvSpPr>
        <p:spPr>
          <a:xfrm>
            <a:off x="1219201" y="2296937"/>
            <a:ext cx="9144000" cy="2869916"/>
          </a:xfrm>
        </p:spPr>
        <p:txBody>
          <a:bodyPr anchor="ctr">
            <a:normAutofit/>
          </a:bodyPr>
          <a:lstStyle>
            <a:lvl1pPr algn="l">
              <a:lnSpc>
                <a:spcPts val="5400"/>
              </a:lnSpc>
              <a:defRPr sz="6000">
                <a:solidFill>
                  <a:schemeClr val="bg1"/>
                </a:solidFill>
              </a:defRPr>
            </a:lvl1pPr>
          </a:lstStyle>
          <a:p>
            <a:r>
              <a:rPr lang="en-US" dirty="0"/>
              <a:t>CLICK TO EDIT THE TITLE OF THIS DIVIDER SLIDE</a:t>
            </a:r>
          </a:p>
        </p:txBody>
      </p:sp>
      <p:cxnSp>
        <p:nvCxnSpPr>
          <p:cNvPr id="9" name="Straight Connector 8">
            <a:extLst>
              <a:ext uri="{FF2B5EF4-FFF2-40B4-BE49-F238E27FC236}">
                <a16:creationId xmlns:a16="http://schemas.microsoft.com/office/drawing/2014/main" id="{C2AD1B30-DCA4-C637-7891-1DC82260F008}"/>
              </a:ext>
            </a:extLst>
          </p:cNvPr>
          <p:cNvCxnSpPr>
            <a:cxnSpLocks/>
          </p:cNvCxnSpPr>
          <p:nvPr userDrawn="1"/>
        </p:nvCxnSpPr>
        <p:spPr>
          <a:xfrm>
            <a:off x="609600" y="0"/>
            <a:ext cx="0" cy="685800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43C1A86-99FB-F7C4-893B-D7540735B709}"/>
              </a:ext>
            </a:extLst>
          </p:cNvPr>
          <p:cNvCxnSpPr>
            <a:cxnSpLocks/>
          </p:cNvCxnSpPr>
          <p:nvPr userDrawn="1"/>
        </p:nvCxnSpPr>
        <p:spPr>
          <a:xfrm flipH="1">
            <a:off x="0" y="710565"/>
            <a:ext cx="12192000" cy="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AF760CAE-1168-8F32-8C4D-09A4FE58CD0F}"/>
              </a:ext>
            </a:extLst>
          </p:cNvPr>
          <p:cNvSpPr/>
          <p:nvPr userDrawn="1"/>
        </p:nvSpPr>
        <p:spPr>
          <a:xfrm rot="5400000">
            <a:off x="609600" y="711695"/>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Triangle 17">
            <a:extLst>
              <a:ext uri="{FF2B5EF4-FFF2-40B4-BE49-F238E27FC236}">
                <a16:creationId xmlns:a16="http://schemas.microsoft.com/office/drawing/2014/main" id="{3BCBECA1-42A6-B022-05DA-3CAAAD30AEF8}"/>
              </a:ext>
            </a:extLst>
          </p:cNvPr>
          <p:cNvSpPr/>
          <p:nvPr userDrawn="1"/>
        </p:nvSpPr>
        <p:spPr>
          <a:xfrm rot="5400000">
            <a:off x="609600" y="1"/>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10A5430-A6A3-4CFE-5EC8-4F2250151B89}"/>
              </a:ext>
            </a:extLst>
          </p:cNvPr>
          <p:cNvPicPr>
            <a:picLocks noChangeAspect="1"/>
          </p:cNvPicPr>
          <p:nvPr userDrawn="1"/>
        </p:nvPicPr>
        <p:blipFill>
          <a:blip r:embed="rId2"/>
          <a:stretch>
            <a:fillRect/>
          </a:stretch>
        </p:blipFill>
        <p:spPr>
          <a:xfrm>
            <a:off x="1219200" y="239732"/>
            <a:ext cx="4602488" cy="274320"/>
          </a:xfrm>
          <a:prstGeom prst="rect">
            <a:avLst/>
          </a:prstGeom>
        </p:spPr>
      </p:pic>
      <p:sp>
        <p:nvSpPr>
          <p:cNvPr id="4" name="TextBox 3">
            <a:extLst>
              <a:ext uri="{FF2B5EF4-FFF2-40B4-BE49-F238E27FC236}">
                <a16:creationId xmlns:a16="http://schemas.microsoft.com/office/drawing/2014/main" id="{43F0562E-33E4-0DB6-F9CF-CC5ED8A476CA}"/>
              </a:ext>
            </a:extLst>
          </p:cNvPr>
          <p:cNvSpPr txBox="1"/>
          <p:nvPr userDrawn="1"/>
        </p:nvSpPr>
        <p:spPr>
          <a:xfrm>
            <a:off x="10094951" y="6622880"/>
            <a:ext cx="2097049" cy="184666"/>
          </a:xfrm>
          <a:prstGeom prst="rect">
            <a:avLst/>
          </a:prstGeom>
          <a:noFill/>
        </p:spPr>
        <p:txBody>
          <a:bodyPr wrap="none" rtlCol="0">
            <a:spAutoFit/>
          </a:bodyPr>
          <a:lstStyle/>
          <a:p>
            <a:pPr algn="r"/>
            <a:r>
              <a:rPr lang="en-US" sz="600" b="0" i="0" dirty="0">
                <a:solidFill>
                  <a:schemeClr val="bg1"/>
                </a:solidFill>
                <a:effectLst/>
                <a:latin typeface="Arial" panose="020B0604020202020204" pitchFamily="34" charset="0"/>
                <a:cs typeface="Arial" panose="020B0604020202020204" pitchFamily="34" charset="0"/>
              </a:rPr>
              <a:t>© 2024 Minerals Technologies Inc. All Rights Reserved.</a:t>
            </a:r>
            <a:endParaRPr lang="en-US" sz="600" b="0"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9693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E134CCD-35B8-1DDE-301D-71EECCBB237C}"/>
              </a:ext>
            </a:extLst>
          </p:cNvPr>
          <p:cNvGraphicFramePr>
            <a:graphicFrameLocks noChangeAspect="1"/>
          </p:cNvGraphicFramePr>
          <p:nvPr userDrawn="1">
            <p:custDataLst>
              <p:tags r:id="rId1"/>
            </p:custDataLst>
            <p:extLst>
              <p:ext uri="{D42A27DB-BD31-4B8C-83A1-F6EECF244321}">
                <p14:modId xmlns:p14="http://schemas.microsoft.com/office/powerpoint/2010/main" val="21207544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ct 10" hidden="1">
                        <a:extLst>
                          <a:ext uri="{FF2B5EF4-FFF2-40B4-BE49-F238E27FC236}">
                            <a16:creationId xmlns:a16="http://schemas.microsoft.com/office/drawing/2014/main" id="{AE134CCD-35B8-1DDE-301D-71EECCBB237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6E518A5-B3B6-4843-B8FB-3613CCD2F1C8}"/>
              </a:ext>
            </a:extLst>
          </p:cNvPr>
          <p:cNvSpPr>
            <a:spLocks noGrp="1"/>
          </p:cNvSpPr>
          <p:nvPr>
            <p:ph type="title"/>
          </p:nvPr>
        </p:nvSpPr>
        <p:spPr>
          <a:xfrm>
            <a:off x="839788" y="365125"/>
            <a:ext cx="10515600" cy="747683"/>
          </a:xfr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46CD111C-8784-4890-A629-CFB044F71557}"/>
              </a:ext>
            </a:extLst>
          </p:cNvPr>
          <p:cNvSpPr>
            <a:spLocks noGrp="1"/>
          </p:cNvSpPr>
          <p:nvPr>
            <p:ph type="body" idx="1"/>
          </p:nvPr>
        </p:nvSpPr>
        <p:spPr>
          <a:xfrm>
            <a:off x="839788" y="1310230"/>
            <a:ext cx="5157787" cy="397803"/>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503347-EFC7-4BEA-885F-2C1A3CFCF7F7}"/>
              </a:ext>
            </a:extLst>
          </p:cNvPr>
          <p:cNvSpPr>
            <a:spLocks noGrp="1"/>
          </p:cNvSpPr>
          <p:nvPr>
            <p:ph sz="half" idx="2"/>
          </p:nvPr>
        </p:nvSpPr>
        <p:spPr>
          <a:xfrm>
            <a:off x="839788" y="1811550"/>
            <a:ext cx="5157787" cy="4007180"/>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71D880-BC00-449B-B674-61AFFCA4EAE6}"/>
              </a:ext>
            </a:extLst>
          </p:cNvPr>
          <p:cNvSpPr>
            <a:spLocks noGrp="1"/>
          </p:cNvSpPr>
          <p:nvPr>
            <p:ph type="body" sz="quarter" idx="3"/>
          </p:nvPr>
        </p:nvSpPr>
        <p:spPr>
          <a:xfrm>
            <a:off x="6172200" y="1310230"/>
            <a:ext cx="5183188" cy="397803"/>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844064-116F-4428-A1F2-BC42FFD2C58D}"/>
              </a:ext>
            </a:extLst>
          </p:cNvPr>
          <p:cNvSpPr>
            <a:spLocks noGrp="1"/>
          </p:cNvSpPr>
          <p:nvPr>
            <p:ph sz="quarter" idx="4"/>
          </p:nvPr>
        </p:nvSpPr>
        <p:spPr>
          <a:xfrm>
            <a:off x="6172200" y="1811550"/>
            <a:ext cx="5183188" cy="4007180"/>
          </a:xfrm>
        </p:spPr>
        <p:txBody>
          <a:bodyPr/>
          <a:lstStyle>
            <a:lvl1pPr>
              <a:defRPr sz="1600"/>
            </a:lvl1pPr>
            <a:lvl2pP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DFBAB4B2-5273-4170-939E-6E66079924E4}"/>
              </a:ext>
            </a:extLst>
          </p:cNvPr>
          <p:cNvSpPr>
            <a:spLocks noGrp="1"/>
          </p:cNvSpPr>
          <p:nvPr>
            <p:ph type="sldNum" sz="quarter" idx="12"/>
          </p:nvPr>
        </p:nvSpPr>
        <p:spPr/>
        <p:txBody>
          <a:bodyPr/>
          <a:lstStyle/>
          <a:p>
            <a:fld id="{38EAD989-1E33-41E5-B29F-F1FA91AE5067}" type="slidenum">
              <a:rPr lang="en-US" smtClean="0"/>
              <a:t>‹#›</a:t>
            </a:fld>
            <a:endParaRPr lang="en-US"/>
          </a:p>
        </p:txBody>
      </p:sp>
    </p:spTree>
    <p:extLst>
      <p:ext uri="{BB962C8B-B14F-4D97-AF65-F5344CB8AC3E}">
        <p14:creationId xmlns:p14="http://schemas.microsoft.com/office/powerpoint/2010/main" val="32420377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5480892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EBB0AAF-A232-4489-A92A-C88683712EF9}" type="slidenum">
              <a:rPr lang="en-US" smtClean="0"/>
              <a:t>‹#›</a:t>
            </a:fld>
            <a:endParaRPr lang="en-US"/>
          </a:p>
        </p:txBody>
      </p:sp>
    </p:spTree>
    <p:extLst>
      <p:ext uri="{BB962C8B-B14F-4D97-AF65-F5344CB8AC3E}">
        <p14:creationId xmlns:p14="http://schemas.microsoft.com/office/powerpoint/2010/main" val="18567935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with icon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B3C0143-23B0-ACC1-A3FA-0B335F498CB2}"/>
              </a:ext>
            </a:extLst>
          </p:cNvPr>
          <p:cNvGraphicFramePr>
            <a:graphicFrameLocks noChangeAspect="1"/>
          </p:cNvGraphicFramePr>
          <p:nvPr userDrawn="1">
            <p:custDataLst>
              <p:tags r:id="rId1"/>
            </p:custDataLst>
            <p:extLst>
              <p:ext uri="{D42A27DB-BD31-4B8C-83A1-F6EECF244321}">
                <p14:modId xmlns:p14="http://schemas.microsoft.com/office/powerpoint/2010/main" val="3044428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AB3C0143-23B0-ACC1-A3FA-0B335F498CB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C0321543-EDD8-40AD-9475-FE14B010BBFF}"/>
              </a:ext>
            </a:extLst>
          </p:cNvPr>
          <p:cNvSpPr>
            <a:spLocks noGrp="1"/>
          </p:cNvSpPr>
          <p:nvPr>
            <p:ph type="sldNum" sz="quarter" idx="12"/>
          </p:nvPr>
        </p:nvSpPr>
        <p:spPr/>
        <p:txBody>
          <a:bodyPr/>
          <a:lstStyle/>
          <a:p>
            <a:fld id="{38EAD989-1E33-41E5-B29F-F1FA91AE5067}" type="slidenum">
              <a:rPr lang="en-US" smtClean="0"/>
              <a:t>‹#›</a:t>
            </a:fld>
            <a:endParaRPr lang="en-US"/>
          </a:p>
        </p:txBody>
      </p:sp>
      <p:sp>
        <p:nvSpPr>
          <p:cNvPr id="3" name="Rectangle 2">
            <a:extLst>
              <a:ext uri="{FF2B5EF4-FFF2-40B4-BE49-F238E27FC236}">
                <a16:creationId xmlns:a16="http://schemas.microsoft.com/office/drawing/2014/main" id="{1AAC38A7-7DC3-24A8-0EC1-36C5757DE078}"/>
              </a:ext>
            </a:extLst>
          </p:cNvPr>
          <p:cNvSpPr/>
          <p:nvPr userDrawn="1"/>
        </p:nvSpPr>
        <p:spPr>
          <a:xfrm>
            <a:off x="0" y="-1"/>
            <a:ext cx="12192000" cy="929874"/>
          </a:xfrm>
          <a:prstGeom prst="rect">
            <a:avLst/>
          </a:prstGeom>
          <a:solidFill>
            <a:srgbClr val="13224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pic>
        <p:nvPicPr>
          <p:cNvPr id="7" name="Picture 6" descr="A black and white logo&#10;&#10;Description automatically generated with low confidence">
            <a:extLst>
              <a:ext uri="{FF2B5EF4-FFF2-40B4-BE49-F238E27FC236}">
                <a16:creationId xmlns:a16="http://schemas.microsoft.com/office/drawing/2014/main" id="{B31E5F7E-76DF-9B17-66DD-EA274E9E38A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223528" y="372009"/>
            <a:ext cx="1371600" cy="396758"/>
          </a:xfrm>
          <a:prstGeom prst="rect">
            <a:avLst/>
          </a:prstGeom>
        </p:spPr>
      </p:pic>
      <p:sp>
        <p:nvSpPr>
          <p:cNvPr id="9" name="Title 1">
            <a:extLst>
              <a:ext uri="{FF2B5EF4-FFF2-40B4-BE49-F238E27FC236}">
                <a16:creationId xmlns:a16="http://schemas.microsoft.com/office/drawing/2014/main" id="{2D547BFF-3940-4AEA-F189-95FEC878377D}"/>
              </a:ext>
            </a:extLst>
          </p:cNvPr>
          <p:cNvSpPr>
            <a:spLocks noGrp="1"/>
          </p:cNvSpPr>
          <p:nvPr>
            <p:ph type="title"/>
          </p:nvPr>
        </p:nvSpPr>
        <p:spPr>
          <a:xfrm>
            <a:off x="1535765" y="99949"/>
            <a:ext cx="9270780" cy="752108"/>
          </a:xfrm>
        </p:spPr>
        <p:txBody>
          <a:bodyPr vert="horz" lIns="0" tIns="0" rIns="0" bIns="0" anchor="b" anchorCtr="0">
            <a:noAutofit/>
          </a:bodyPr>
          <a:lstStyle>
            <a:lvl1pPr>
              <a:defRPr sz="28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2578628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o Intr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8770FB7-E593-3B5D-28D6-292C37EFCF2A}"/>
              </a:ext>
            </a:extLst>
          </p:cNvPr>
          <p:cNvSpPr/>
          <p:nvPr userDrawn="1"/>
        </p:nvSpPr>
        <p:spPr>
          <a:xfrm>
            <a:off x="0" y="0"/>
            <a:ext cx="12192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731730E7-FA1E-7835-35E4-D48C90D2AEA2}"/>
              </a:ext>
            </a:extLst>
          </p:cNvPr>
          <p:cNvSpPr>
            <a:spLocks noGrp="1"/>
          </p:cNvSpPr>
          <p:nvPr>
            <p:ph type="ctrTitle" hasCustomPrompt="1"/>
          </p:nvPr>
        </p:nvSpPr>
        <p:spPr>
          <a:xfrm>
            <a:off x="1219201" y="2460978"/>
            <a:ext cx="5734754" cy="1169577"/>
          </a:xfrm>
        </p:spPr>
        <p:txBody>
          <a:bodyPr anchor="ctr">
            <a:noAutofit/>
          </a:bodyPr>
          <a:lstStyle>
            <a:lvl1pPr algn="l">
              <a:lnSpc>
                <a:spcPts val="4620"/>
              </a:lnSpc>
              <a:defRPr sz="4600">
                <a:solidFill>
                  <a:schemeClr val="bg1"/>
                </a:solidFill>
              </a:defRPr>
            </a:lvl1pPr>
          </a:lstStyle>
          <a:p>
            <a:r>
              <a:rPr lang="en-US" dirty="0"/>
              <a:t>NAME OF THE PERSON</a:t>
            </a:r>
          </a:p>
        </p:txBody>
      </p:sp>
      <p:cxnSp>
        <p:nvCxnSpPr>
          <p:cNvPr id="9" name="Straight Connector 8">
            <a:extLst>
              <a:ext uri="{FF2B5EF4-FFF2-40B4-BE49-F238E27FC236}">
                <a16:creationId xmlns:a16="http://schemas.microsoft.com/office/drawing/2014/main" id="{C2AD1B30-DCA4-C637-7891-1DC82260F008}"/>
              </a:ext>
            </a:extLst>
          </p:cNvPr>
          <p:cNvCxnSpPr>
            <a:cxnSpLocks/>
          </p:cNvCxnSpPr>
          <p:nvPr userDrawn="1"/>
        </p:nvCxnSpPr>
        <p:spPr>
          <a:xfrm>
            <a:off x="609600" y="0"/>
            <a:ext cx="0" cy="685800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43C1A86-99FB-F7C4-893B-D7540735B709}"/>
              </a:ext>
            </a:extLst>
          </p:cNvPr>
          <p:cNvCxnSpPr>
            <a:cxnSpLocks/>
          </p:cNvCxnSpPr>
          <p:nvPr userDrawn="1"/>
        </p:nvCxnSpPr>
        <p:spPr>
          <a:xfrm flipH="1">
            <a:off x="0" y="710565"/>
            <a:ext cx="12192000" cy="0"/>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AF760CAE-1168-8F32-8C4D-09A4FE58CD0F}"/>
              </a:ext>
            </a:extLst>
          </p:cNvPr>
          <p:cNvSpPr/>
          <p:nvPr userDrawn="1"/>
        </p:nvSpPr>
        <p:spPr>
          <a:xfrm rot="5400000">
            <a:off x="609600" y="711695"/>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Triangle 17">
            <a:extLst>
              <a:ext uri="{FF2B5EF4-FFF2-40B4-BE49-F238E27FC236}">
                <a16:creationId xmlns:a16="http://schemas.microsoft.com/office/drawing/2014/main" id="{3BCBECA1-42A6-B022-05DA-3CAAAD30AEF8}"/>
              </a:ext>
            </a:extLst>
          </p:cNvPr>
          <p:cNvSpPr/>
          <p:nvPr userDrawn="1"/>
        </p:nvSpPr>
        <p:spPr>
          <a:xfrm rot="5400000">
            <a:off x="609600" y="1"/>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3">
            <a:extLst>
              <a:ext uri="{FF2B5EF4-FFF2-40B4-BE49-F238E27FC236}">
                <a16:creationId xmlns:a16="http://schemas.microsoft.com/office/drawing/2014/main" id="{B137154A-763B-4AB9-2B1D-5EFF6A021E66}"/>
              </a:ext>
            </a:extLst>
          </p:cNvPr>
          <p:cNvSpPr>
            <a:spLocks noGrp="1"/>
          </p:cNvSpPr>
          <p:nvPr>
            <p:ph type="pic" sz="quarter" idx="10"/>
          </p:nvPr>
        </p:nvSpPr>
        <p:spPr>
          <a:xfrm>
            <a:off x="7562850" y="1040142"/>
            <a:ext cx="3790940" cy="4909102"/>
          </a:xfrm>
        </p:spPr>
        <p:txBody>
          <a:bodyPr/>
          <a:lstStyle/>
          <a:p>
            <a:endParaRPr lang="en-US"/>
          </a:p>
        </p:txBody>
      </p:sp>
      <p:sp>
        <p:nvSpPr>
          <p:cNvPr id="8" name="Text Placeholder 7">
            <a:extLst>
              <a:ext uri="{FF2B5EF4-FFF2-40B4-BE49-F238E27FC236}">
                <a16:creationId xmlns:a16="http://schemas.microsoft.com/office/drawing/2014/main" id="{4C048268-80B7-83F4-2829-14F48FD318A8}"/>
              </a:ext>
            </a:extLst>
          </p:cNvPr>
          <p:cNvSpPr>
            <a:spLocks noGrp="1"/>
          </p:cNvSpPr>
          <p:nvPr>
            <p:ph type="body" sz="quarter" idx="11" hasCustomPrompt="1"/>
          </p:nvPr>
        </p:nvSpPr>
        <p:spPr>
          <a:xfrm>
            <a:off x="1219200" y="3630915"/>
            <a:ext cx="5734050" cy="744538"/>
          </a:xfrm>
        </p:spPr>
        <p:txBody>
          <a:bodyPr>
            <a:noAutofit/>
          </a:bodyPr>
          <a:lstStyle>
            <a:lvl1pPr marL="0" indent="0">
              <a:buNone/>
              <a:defRPr sz="2400">
                <a:solidFill>
                  <a:schemeClr val="bg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dirty="0"/>
              <a:t>Click to edit title/description</a:t>
            </a:r>
          </a:p>
        </p:txBody>
      </p:sp>
      <p:pic>
        <p:nvPicPr>
          <p:cNvPr id="6" name="Picture 5">
            <a:extLst>
              <a:ext uri="{FF2B5EF4-FFF2-40B4-BE49-F238E27FC236}">
                <a16:creationId xmlns:a16="http://schemas.microsoft.com/office/drawing/2014/main" id="{D56FB706-99B8-4109-9477-E2085C0C3C20}"/>
              </a:ext>
            </a:extLst>
          </p:cNvPr>
          <p:cNvPicPr>
            <a:picLocks noChangeAspect="1"/>
          </p:cNvPicPr>
          <p:nvPr userDrawn="1"/>
        </p:nvPicPr>
        <p:blipFill>
          <a:blip r:embed="rId2"/>
          <a:stretch>
            <a:fillRect/>
          </a:stretch>
        </p:blipFill>
        <p:spPr>
          <a:xfrm>
            <a:off x="1219200" y="239732"/>
            <a:ext cx="4602488" cy="274320"/>
          </a:xfrm>
          <a:prstGeom prst="rect">
            <a:avLst/>
          </a:prstGeom>
        </p:spPr>
      </p:pic>
    </p:spTree>
    <p:extLst>
      <p:ext uri="{BB962C8B-B14F-4D97-AF65-F5344CB8AC3E}">
        <p14:creationId xmlns:p14="http://schemas.microsoft.com/office/powerpoint/2010/main" val="959634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50B13CF-80BE-DC7D-D544-8AE6C512EFB8}"/>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CC68D1C2-018C-3EE7-2E15-F86619F67340}"/>
              </a:ext>
            </a:extLst>
          </p:cNvPr>
          <p:cNvSpPr>
            <a:spLocks noGrp="1"/>
          </p:cNvSpPr>
          <p:nvPr>
            <p:ph type="title" hasCustomPrompt="1"/>
          </p:nvPr>
        </p:nvSpPr>
        <p:spPr>
          <a:xfrm>
            <a:off x="608816" y="215270"/>
            <a:ext cx="9946296" cy="523335"/>
          </a:xfrm>
        </p:spPr>
        <p:txBody>
          <a:bodyPr>
            <a:normAutofit/>
          </a:bodyPr>
          <a:lstStyle>
            <a:lvl1pPr>
              <a:defRPr sz="2600">
                <a:solidFill>
                  <a:schemeClr val="bg1"/>
                </a:solidFill>
              </a:defRPr>
            </a:lvl1pPr>
          </a:lstStyle>
          <a:p>
            <a:r>
              <a:rPr lang="en-US" dirty="0"/>
              <a:t>Table of Contents</a:t>
            </a:r>
          </a:p>
        </p:txBody>
      </p:sp>
      <p:sp>
        <p:nvSpPr>
          <p:cNvPr id="3" name="Content Placeholder 2">
            <a:extLst>
              <a:ext uri="{FF2B5EF4-FFF2-40B4-BE49-F238E27FC236}">
                <a16:creationId xmlns:a16="http://schemas.microsoft.com/office/drawing/2014/main" id="{60E93E63-74EF-596B-94F0-120693CBA955}"/>
              </a:ext>
            </a:extLst>
          </p:cNvPr>
          <p:cNvSpPr>
            <a:spLocks noGrp="1"/>
          </p:cNvSpPr>
          <p:nvPr>
            <p:ph idx="1" hasCustomPrompt="1"/>
          </p:nvPr>
        </p:nvSpPr>
        <p:spPr>
          <a:xfrm>
            <a:off x="1362351" y="1210160"/>
            <a:ext cx="9762064" cy="4351338"/>
          </a:xfrm>
        </p:spPr>
        <p:txBody>
          <a:bodyPr>
            <a:normAutofit/>
          </a:bodyPr>
          <a:lstStyle>
            <a:lvl1pPr marL="0" indent="0">
              <a:buNone/>
              <a:defRPr sz="2400">
                <a:solidFill>
                  <a:srgbClr val="333333"/>
                </a:solidFill>
              </a:defRPr>
            </a:lvl1pPr>
            <a:lvl2pPr marL="457200" indent="0">
              <a:buNone/>
              <a:defRPr sz="2400">
                <a:solidFill>
                  <a:srgbClr val="333333"/>
                </a:solidFill>
              </a:defRPr>
            </a:lvl2pPr>
            <a:lvl3pPr marL="914400" indent="0">
              <a:buNone/>
              <a:defRPr sz="2400">
                <a:solidFill>
                  <a:srgbClr val="333333"/>
                </a:solidFill>
              </a:defRPr>
            </a:lvl3pPr>
            <a:lvl4pPr marL="1371600" indent="0">
              <a:buNone/>
              <a:defRPr sz="2400">
                <a:solidFill>
                  <a:srgbClr val="333333"/>
                </a:solidFill>
              </a:defRPr>
            </a:lvl4pPr>
            <a:lvl5pPr marL="1828800" indent="0">
              <a:buNone/>
              <a:defRPr sz="2400">
                <a:solidFill>
                  <a:srgbClr val="333333"/>
                </a:solidFill>
              </a:defRPr>
            </a:lvl5pPr>
          </a:lstStyle>
          <a:p>
            <a:pPr lvl="0"/>
            <a:r>
              <a:rPr lang="en-US" dirty="0"/>
              <a:t>Enter Page/Section title 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Page/Section title 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Page/Section title 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Page/Section title 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Page/Section title 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Page/Section title 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Page/Section title he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Enter Page/Section title here</a:t>
            </a:r>
          </a:p>
          <a:p>
            <a:pPr lvl="0"/>
            <a:endParaRPr lang="en-US" dirty="0"/>
          </a:p>
        </p:txBody>
      </p:sp>
      <p:sp>
        <p:nvSpPr>
          <p:cNvPr id="6" name="Slide Number Placeholder 5">
            <a:extLst>
              <a:ext uri="{FF2B5EF4-FFF2-40B4-BE49-F238E27FC236}">
                <a16:creationId xmlns:a16="http://schemas.microsoft.com/office/drawing/2014/main" id="{2BCC4939-0CCF-37EF-6D82-52E250748D8F}"/>
              </a:ext>
            </a:extLst>
          </p:cNvPr>
          <p:cNvSpPr>
            <a:spLocks noGrp="1"/>
          </p:cNvSpPr>
          <p:nvPr>
            <p:ph type="sldNum" sz="quarter" idx="12"/>
          </p:nvPr>
        </p:nvSpPr>
        <p:spPr>
          <a:xfrm>
            <a:off x="11353800" y="6502800"/>
            <a:ext cx="504217" cy="227581"/>
          </a:xfrm>
        </p:spPr>
        <p:txBody>
          <a:bodyPr/>
          <a:lstStyle>
            <a:lvl1pPr algn="ctr">
              <a:defRPr>
                <a:solidFill>
                  <a:schemeClr val="tx2"/>
                </a:solidFill>
              </a:defRPr>
            </a:lvl1pPr>
          </a:lstStyle>
          <a:p>
            <a:fld id="{53D07240-5A0C-0849-AB68-4CAB8530382A}" type="slidenum">
              <a:rPr lang="en-US" smtClean="0"/>
              <a:pPr/>
              <a:t>‹#›</a:t>
            </a:fld>
            <a:endParaRPr lang="en-US" dirty="0"/>
          </a:p>
        </p:txBody>
      </p:sp>
      <p:sp>
        <p:nvSpPr>
          <p:cNvPr id="5" name="Text Placeholder 4">
            <a:extLst>
              <a:ext uri="{FF2B5EF4-FFF2-40B4-BE49-F238E27FC236}">
                <a16:creationId xmlns:a16="http://schemas.microsoft.com/office/drawing/2014/main" id="{F1F8C809-72FB-B5E3-3521-3B0D8EC49405}"/>
              </a:ext>
            </a:extLst>
          </p:cNvPr>
          <p:cNvSpPr>
            <a:spLocks noGrp="1"/>
          </p:cNvSpPr>
          <p:nvPr>
            <p:ph type="body" sz="quarter" idx="14" hasCustomPrompt="1"/>
          </p:nvPr>
        </p:nvSpPr>
        <p:spPr>
          <a:xfrm>
            <a:off x="608815" y="1209851"/>
            <a:ext cx="646287" cy="4351337"/>
          </a:xfrm>
        </p:spPr>
        <p:txBody>
          <a:bodyPr>
            <a:noAutofit/>
          </a:bodyPr>
          <a:lstStyle>
            <a:lvl1pPr marL="0" indent="0">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XX</a:t>
            </a:r>
          </a:p>
          <a:p>
            <a:pPr lvl="0"/>
            <a:r>
              <a:rPr lang="en-US" dirty="0"/>
              <a:t>XX</a:t>
            </a:r>
          </a:p>
          <a:p>
            <a:pPr lvl="0"/>
            <a:r>
              <a:rPr lang="en-US" dirty="0"/>
              <a:t>XX</a:t>
            </a:r>
          </a:p>
          <a:p>
            <a:pPr lvl="0"/>
            <a:r>
              <a:rPr lang="en-US" dirty="0"/>
              <a:t>XX</a:t>
            </a:r>
          </a:p>
          <a:p>
            <a:pPr lvl="0"/>
            <a:r>
              <a:rPr lang="en-US" dirty="0"/>
              <a:t>XX</a:t>
            </a:r>
          </a:p>
          <a:p>
            <a:pPr lvl="0"/>
            <a:r>
              <a:rPr lang="en-US" dirty="0"/>
              <a:t>XX</a:t>
            </a:r>
          </a:p>
          <a:p>
            <a:pPr lvl="0"/>
            <a:r>
              <a:rPr lang="en-US" dirty="0"/>
              <a:t>XX</a:t>
            </a:r>
          </a:p>
          <a:p>
            <a:pPr lvl="0"/>
            <a:r>
              <a:rPr lang="en-US" dirty="0"/>
              <a:t>XX</a:t>
            </a:r>
          </a:p>
        </p:txBody>
      </p:sp>
      <p:cxnSp>
        <p:nvCxnSpPr>
          <p:cNvPr id="4" name="Straight Connector 3">
            <a:extLst>
              <a:ext uri="{FF2B5EF4-FFF2-40B4-BE49-F238E27FC236}">
                <a16:creationId xmlns:a16="http://schemas.microsoft.com/office/drawing/2014/main" id="{3DDADA71-47DA-8EC4-2762-B1E81E8B9FA3}"/>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C830415-AB81-C707-25B6-31E09F5D7C00}"/>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Right Triangle 13">
            <a:extLst>
              <a:ext uri="{FF2B5EF4-FFF2-40B4-BE49-F238E27FC236}">
                <a16:creationId xmlns:a16="http://schemas.microsoft.com/office/drawing/2014/main" id="{29187F8C-4614-1072-5F84-EBE278A031DB}"/>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46604499-615E-B00B-72FD-4FA9BEB7CC0D}"/>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Right Triangle 16">
            <a:extLst>
              <a:ext uri="{FF2B5EF4-FFF2-40B4-BE49-F238E27FC236}">
                <a16:creationId xmlns:a16="http://schemas.microsoft.com/office/drawing/2014/main" id="{99D173FA-DDDF-45F4-52B8-5E697C44222C}"/>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77D4732B-F6E4-8258-D7BB-6C0ECE12AF6D}"/>
              </a:ext>
            </a:extLst>
          </p:cNvPr>
          <p:cNvPicPr>
            <a:picLocks noChangeAspect="1"/>
          </p:cNvPicPr>
          <p:nvPr userDrawn="1"/>
        </p:nvPicPr>
        <p:blipFill>
          <a:blip r:embed="rId2"/>
          <a:stretch>
            <a:fillRect/>
          </a:stretch>
        </p:blipFill>
        <p:spPr>
          <a:xfrm>
            <a:off x="11224539" y="278976"/>
            <a:ext cx="514702" cy="395924"/>
          </a:xfrm>
          <a:prstGeom prst="rect">
            <a:avLst/>
          </a:prstGeom>
        </p:spPr>
      </p:pic>
    </p:spTree>
    <p:extLst>
      <p:ext uri="{BB962C8B-B14F-4D97-AF65-F5344CB8AC3E}">
        <p14:creationId xmlns:p14="http://schemas.microsoft.com/office/powerpoint/2010/main" val="2840959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ic Content - 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E93E63-74EF-596B-94F0-120693CBA955}"/>
              </a:ext>
            </a:extLst>
          </p:cNvPr>
          <p:cNvSpPr>
            <a:spLocks noGrp="1"/>
          </p:cNvSpPr>
          <p:nvPr>
            <p:ph idx="1"/>
          </p:nvPr>
        </p:nvSpPr>
        <p:spPr>
          <a:xfrm>
            <a:off x="608815" y="1168133"/>
            <a:ext cx="10744985" cy="482061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C7310602-C08C-39A9-2AD9-8E13176867A4}"/>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5" name="Straight Connector 4">
            <a:extLst>
              <a:ext uri="{FF2B5EF4-FFF2-40B4-BE49-F238E27FC236}">
                <a16:creationId xmlns:a16="http://schemas.microsoft.com/office/drawing/2014/main" id="{7B44F7B1-7310-0B70-144C-54B6B6C33892}"/>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36F0730-39AB-92AD-F378-71B06110AA4B}"/>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Right Triangle 13">
            <a:extLst>
              <a:ext uri="{FF2B5EF4-FFF2-40B4-BE49-F238E27FC236}">
                <a16:creationId xmlns:a16="http://schemas.microsoft.com/office/drawing/2014/main" id="{4A71819F-779E-955C-62E3-6F3BBAC627B7}"/>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33CD7FDC-D708-1007-70FB-EF801308DB2C}"/>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Right Triangle 16">
            <a:extLst>
              <a:ext uri="{FF2B5EF4-FFF2-40B4-BE49-F238E27FC236}">
                <a16:creationId xmlns:a16="http://schemas.microsoft.com/office/drawing/2014/main" id="{FDBB854D-6FFE-FB28-2416-5C5CAFC5F3FA}"/>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BCC45D5-F76E-AB7C-788A-B4853C5629F2}"/>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CC68D1C2-018C-3EE7-2E15-F86619F67340}"/>
              </a:ext>
            </a:extLst>
          </p:cNvPr>
          <p:cNvSpPr>
            <a:spLocks noGrp="1"/>
          </p:cNvSpPr>
          <p:nvPr>
            <p:ph type="title" hasCustomPrompt="1"/>
          </p:nvPr>
        </p:nvSpPr>
        <p:spPr>
          <a:xfrm>
            <a:off x="608815" y="215270"/>
            <a:ext cx="10138207" cy="523335"/>
          </a:xfrm>
        </p:spPr>
        <p:txBody>
          <a:bodyPr>
            <a:normAutofit/>
          </a:bodyPr>
          <a:lstStyle>
            <a:lvl1pPr>
              <a:defRPr sz="260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8E8D9182-09EB-1064-DFFC-18BCC3A9A1F0}"/>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10" name="Picture 9">
            <a:extLst>
              <a:ext uri="{FF2B5EF4-FFF2-40B4-BE49-F238E27FC236}">
                <a16:creationId xmlns:a16="http://schemas.microsoft.com/office/drawing/2014/main" id="{ACB5A98F-F8D3-7831-68BE-5DFD4F35D5CA}"/>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3555044529"/>
      </p:ext>
    </p:extLst>
  </p:cSld>
  <p:clrMapOvr>
    <a:masterClrMapping/>
  </p:clrMapOvr>
  <p:extLst>
    <p:ext uri="{DCECCB84-F9BA-43D5-87BE-67443E8EF086}">
      <p15:sldGuideLst xmlns:p15="http://schemas.microsoft.com/office/powerpoint/2012/main">
        <p15:guide id="1" orient="horz" pos="120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asic Content - 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E93E63-74EF-596B-94F0-120693CBA955}"/>
              </a:ext>
            </a:extLst>
          </p:cNvPr>
          <p:cNvSpPr>
            <a:spLocks noGrp="1"/>
          </p:cNvSpPr>
          <p:nvPr>
            <p:ph idx="1"/>
          </p:nvPr>
        </p:nvSpPr>
        <p:spPr>
          <a:xfrm>
            <a:off x="608815" y="1168133"/>
            <a:ext cx="10744985" cy="482061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C7310602-C08C-39A9-2AD9-8E13176867A4}"/>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5" name="Straight Connector 4">
            <a:extLst>
              <a:ext uri="{FF2B5EF4-FFF2-40B4-BE49-F238E27FC236}">
                <a16:creationId xmlns:a16="http://schemas.microsoft.com/office/drawing/2014/main" id="{7B44F7B1-7310-0B70-144C-54B6B6C33892}"/>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36F0730-39AB-92AD-F378-71B06110AA4B}"/>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Right Triangle 13">
            <a:extLst>
              <a:ext uri="{FF2B5EF4-FFF2-40B4-BE49-F238E27FC236}">
                <a16:creationId xmlns:a16="http://schemas.microsoft.com/office/drawing/2014/main" id="{4A71819F-779E-955C-62E3-6F3BBAC627B7}"/>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33CD7FDC-D708-1007-70FB-EF801308DB2C}"/>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Right Triangle 16">
            <a:extLst>
              <a:ext uri="{FF2B5EF4-FFF2-40B4-BE49-F238E27FC236}">
                <a16:creationId xmlns:a16="http://schemas.microsoft.com/office/drawing/2014/main" id="{FDBB854D-6FFE-FB28-2416-5C5CAFC5F3FA}"/>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BCC45D5-F76E-AB7C-788A-B4853C5629F2}"/>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CC68D1C2-018C-3EE7-2E15-F86619F67340}"/>
              </a:ext>
            </a:extLst>
          </p:cNvPr>
          <p:cNvSpPr>
            <a:spLocks noGrp="1"/>
          </p:cNvSpPr>
          <p:nvPr>
            <p:ph type="title" hasCustomPrompt="1"/>
          </p:nvPr>
        </p:nvSpPr>
        <p:spPr>
          <a:xfrm>
            <a:off x="608815" y="215270"/>
            <a:ext cx="10138207" cy="523335"/>
          </a:xfrm>
        </p:spPr>
        <p:txBody>
          <a:bodyPr>
            <a:normAutofit/>
          </a:bodyPr>
          <a:lstStyle>
            <a:lvl1pPr>
              <a:defRPr sz="260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8E8D9182-09EB-1064-DFFC-18BCC3A9A1F0}"/>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7" name="Picture 6">
            <a:extLst>
              <a:ext uri="{FF2B5EF4-FFF2-40B4-BE49-F238E27FC236}">
                <a16:creationId xmlns:a16="http://schemas.microsoft.com/office/drawing/2014/main" id="{B00C1A24-C37F-3FC4-325D-24B76FD1CD6C}"/>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1052230394"/>
      </p:ext>
    </p:extLst>
  </p:cSld>
  <p:clrMapOvr>
    <a:masterClrMapping/>
  </p:clrMapOvr>
  <p:extLst>
    <p:ext uri="{DCECCB84-F9BA-43D5-87BE-67443E8EF086}">
      <p15:sldGuideLst xmlns:p15="http://schemas.microsoft.com/office/powerpoint/2012/main">
        <p15:guide id="1" orient="horz" pos="120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Layout">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89428441-F59A-4AD6-00F9-7C37B2862A06}"/>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4" name="Straight Connector 3">
            <a:extLst>
              <a:ext uri="{FF2B5EF4-FFF2-40B4-BE49-F238E27FC236}">
                <a16:creationId xmlns:a16="http://schemas.microsoft.com/office/drawing/2014/main" id="{DA3AFE48-7298-F649-6852-1EBFD70EB049}"/>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86744D5-00EE-65C1-D491-C3DB96E2376F}"/>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Right Triangle 12">
            <a:extLst>
              <a:ext uri="{FF2B5EF4-FFF2-40B4-BE49-F238E27FC236}">
                <a16:creationId xmlns:a16="http://schemas.microsoft.com/office/drawing/2014/main" id="{54DCD113-AA48-4FFA-6AAE-ECB8BF22E1E0}"/>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292FE07-4FF7-18E5-E4ED-077C6425CBE1}"/>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A22F245-2E30-C5DE-08E3-4CC9360362D2}"/>
              </a:ext>
            </a:extLst>
          </p:cNvPr>
          <p:cNvSpPr txBox="1"/>
          <p:nvPr userDrawn="1"/>
        </p:nvSpPr>
        <p:spPr>
          <a:xfrm>
            <a:off x="780253" y="6538092"/>
            <a:ext cx="2097049" cy="184666"/>
          </a:xfrm>
          <a:prstGeom prst="rect">
            <a:avLst/>
          </a:prstGeom>
          <a:noFill/>
        </p:spPr>
        <p:txBody>
          <a:bodyPr wrap="none" rtlCol="0">
            <a:spAutoFit/>
          </a:bodyPr>
          <a:lstStyle/>
          <a:p>
            <a:pPr algn="r"/>
            <a:r>
              <a:rPr lang="en-US" sz="600" b="0" i="0" dirty="0">
                <a:solidFill>
                  <a:schemeClr val="tx1"/>
                </a:solidFill>
                <a:effectLst/>
                <a:latin typeface="Arial" panose="020B0604020202020204" pitchFamily="34" charset="0"/>
                <a:cs typeface="Arial" panose="020B0604020202020204" pitchFamily="34" charset="0"/>
              </a:rPr>
              <a:t>© 2024 Minerals Technologies Inc. All Rights Reserved.</a:t>
            </a:r>
            <a:endParaRPr lang="en-US" sz="600" b="0" i="0" dirty="0">
              <a:solidFill>
                <a:schemeClr val="tx1"/>
              </a:solidFill>
              <a:latin typeface="Arial" panose="020B0604020202020204" pitchFamily="34" charset="0"/>
              <a:cs typeface="Arial" panose="020B0604020202020204" pitchFamily="34" charset="0"/>
            </a:endParaRPr>
          </a:p>
        </p:txBody>
      </p:sp>
      <p:sp>
        <p:nvSpPr>
          <p:cNvPr id="16" name="Right Triangle 15">
            <a:extLst>
              <a:ext uri="{FF2B5EF4-FFF2-40B4-BE49-F238E27FC236}">
                <a16:creationId xmlns:a16="http://schemas.microsoft.com/office/drawing/2014/main" id="{B15CD9A4-A132-DD7B-A17C-0C97901B2940}"/>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1F6DF7D-C296-0777-E74A-50F8720B6E77}"/>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1" name="Title 1">
            <a:extLst>
              <a:ext uri="{FF2B5EF4-FFF2-40B4-BE49-F238E27FC236}">
                <a16:creationId xmlns:a16="http://schemas.microsoft.com/office/drawing/2014/main" id="{4334AAD7-CAD9-7A9D-DF41-9683265B6935}"/>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7" name="Picture 6">
            <a:extLst>
              <a:ext uri="{FF2B5EF4-FFF2-40B4-BE49-F238E27FC236}">
                <a16:creationId xmlns:a16="http://schemas.microsoft.com/office/drawing/2014/main" id="{A40DAD7C-83E1-AFE8-3B0F-213EA996F4FB}"/>
              </a:ext>
            </a:extLst>
          </p:cNvPr>
          <p:cNvPicPr>
            <a:picLocks noChangeAspect="1"/>
          </p:cNvPicPr>
          <p:nvPr userDrawn="1"/>
        </p:nvPicPr>
        <p:blipFill>
          <a:blip r:embed="rId2"/>
          <a:stretch>
            <a:fillRect/>
          </a:stretch>
        </p:blipFill>
        <p:spPr>
          <a:xfrm>
            <a:off x="10035834" y="198350"/>
            <a:ext cx="1967194" cy="365760"/>
          </a:xfrm>
          <a:prstGeom prst="rect">
            <a:avLst/>
          </a:prstGeom>
        </p:spPr>
      </p:pic>
      <p:cxnSp>
        <p:nvCxnSpPr>
          <p:cNvPr id="8" name="Straight Connector 7">
            <a:extLst>
              <a:ext uri="{FF2B5EF4-FFF2-40B4-BE49-F238E27FC236}">
                <a16:creationId xmlns:a16="http://schemas.microsoft.com/office/drawing/2014/main" id="{205568DC-502F-FFC2-300F-51FC33790246}"/>
              </a:ext>
            </a:extLst>
          </p:cNvPr>
          <p:cNvCxnSpPr>
            <a:cxnSpLocks/>
          </p:cNvCxnSpPr>
          <p:nvPr userDrawn="1"/>
        </p:nvCxnSpPr>
        <p:spPr>
          <a:xfrm>
            <a:off x="9788498" y="17921"/>
            <a:ext cx="1" cy="892026"/>
          </a:xfrm>
          <a:prstGeom prst="line">
            <a:avLst/>
          </a:prstGeom>
          <a:ln>
            <a:solidFill>
              <a:schemeClr val="accent4">
                <a:alpha val="50008"/>
              </a:schemeClr>
            </a:solidFill>
          </a:ln>
        </p:spPr>
        <p:style>
          <a:lnRef idx="1">
            <a:schemeClr val="accent1"/>
          </a:lnRef>
          <a:fillRef idx="0">
            <a:schemeClr val="accent1"/>
          </a:fillRef>
          <a:effectRef idx="0">
            <a:schemeClr val="accent1"/>
          </a:effectRef>
          <a:fontRef idx="minor">
            <a:schemeClr val="tx1"/>
          </a:fontRef>
        </p:style>
      </p:cxnSp>
      <p:sp>
        <p:nvSpPr>
          <p:cNvPr id="9" name="Right Triangle 8">
            <a:extLst>
              <a:ext uri="{FF2B5EF4-FFF2-40B4-BE49-F238E27FC236}">
                <a16:creationId xmlns:a16="http://schemas.microsoft.com/office/drawing/2014/main" id="{4428348A-85E4-96EB-FEFA-6494427134B8}"/>
              </a:ext>
            </a:extLst>
          </p:cNvPr>
          <p:cNvSpPr/>
          <p:nvPr userDrawn="1"/>
        </p:nvSpPr>
        <p:spPr>
          <a:xfrm rot="5400000">
            <a:off x="9788499" y="17921"/>
            <a:ext cx="171438" cy="171438"/>
          </a:xfrm>
          <a:prstGeom prst="rtTriangle">
            <a:avLst/>
          </a:prstGeom>
          <a:solidFill>
            <a:schemeClr val="accent4">
              <a:alpha val="499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54073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sic Content - 2 Columns">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8EB9321B-CEE1-9AC8-2A69-237779889F59}"/>
              </a:ext>
            </a:extLst>
          </p:cNvPr>
          <p:cNvSpPr>
            <a:spLocks noGrp="1"/>
          </p:cNvSpPr>
          <p:nvPr>
            <p:ph idx="1"/>
          </p:nvPr>
        </p:nvSpPr>
        <p:spPr>
          <a:xfrm>
            <a:off x="608814" y="1190834"/>
            <a:ext cx="5227539" cy="4979909"/>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2230BC36-74EF-494D-9161-A154098D2962}"/>
              </a:ext>
            </a:extLst>
          </p:cNvPr>
          <p:cNvSpPr>
            <a:spLocks noGrp="1"/>
          </p:cNvSpPr>
          <p:nvPr>
            <p:ph idx="15"/>
          </p:nvPr>
        </p:nvSpPr>
        <p:spPr>
          <a:xfrm>
            <a:off x="6072636" y="1190834"/>
            <a:ext cx="5510549" cy="4979909"/>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rgbClr val="333333"/>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5">
            <a:extLst>
              <a:ext uri="{FF2B5EF4-FFF2-40B4-BE49-F238E27FC236}">
                <a16:creationId xmlns:a16="http://schemas.microsoft.com/office/drawing/2014/main" id="{F805626B-5763-3AD6-D39C-5B64DECF3CED}"/>
              </a:ext>
            </a:extLst>
          </p:cNvPr>
          <p:cNvSpPr txBox="1">
            <a:spLocks/>
          </p:cNvSpPr>
          <p:nvPr userDrawn="1"/>
        </p:nvSpPr>
        <p:spPr>
          <a:xfrm>
            <a:off x="11353800" y="6502800"/>
            <a:ext cx="504217" cy="227581"/>
          </a:xfrm>
          <a:prstGeom prst="rect">
            <a:avLst/>
          </a:prstGeom>
        </p:spPr>
        <p:txBody>
          <a:bodyPr vert="horz" lIns="91440" tIns="45720" rIns="91440" bIns="45720" rtlCol="0" anchor="ctr"/>
          <a:lstStyle>
            <a:defPPr>
              <a:defRPr lang="en-US"/>
            </a:defPPr>
            <a:lvl1pPr marL="0" algn="ctr" defTabSz="914400" rtl="0" eaLnBrk="1" latinLnBrk="0" hangingPunct="1">
              <a:defRPr sz="1000" b="0"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D07240-5A0C-0849-AB68-4CAB8530382A}" type="slidenum">
              <a:rPr lang="en-US" smtClean="0"/>
              <a:pPr/>
              <a:t>‹#›</a:t>
            </a:fld>
            <a:endParaRPr lang="en-US" dirty="0"/>
          </a:p>
        </p:txBody>
      </p:sp>
      <p:cxnSp>
        <p:nvCxnSpPr>
          <p:cNvPr id="4" name="Straight Connector 3">
            <a:extLst>
              <a:ext uri="{FF2B5EF4-FFF2-40B4-BE49-F238E27FC236}">
                <a16:creationId xmlns:a16="http://schemas.microsoft.com/office/drawing/2014/main" id="{CD337587-057C-0AA8-F087-9AFC2A96B5F6}"/>
              </a:ext>
            </a:extLst>
          </p:cNvPr>
          <p:cNvCxnSpPr>
            <a:cxnSpLocks/>
          </p:cNvCxnSpPr>
          <p:nvPr userDrawn="1"/>
        </p:nvCxnSpPr>
        <p:spPr>
          <a:xfrm>
            <a:off x="609600" y="6361017"/>
            <a:ext cx="0" cy="49698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8751BBC-4432-A55E-D914-D2F27D7D61F0}"/>
              </a:ext>
            </a:extLst>
          </p:cNvPr>
          <p:cNvCxnSpPr>
            <a:cxnSpLocks/>
          </p:cNvCxnSpPr>
          <p:nvPr userDrawn="1"/>
        </p:nvCxnSpPr>
        <p:spPr>
          <a:xfrm flipH="1">
            <a:off x="0" y="6363890"/>
            <a:ext cx="12192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ight Triangle 15">
            <a:extLst>
              <a:ext uri="{FF2B5EF4-FFF2-40B4-BE49-F238E27FC236}">
                <a16:creationId xmlns:a16="http://schemas.microsoft.com/office/drawing/2014/main" id="{CBF7314A-1BA9-C821-B71E-68894FA09642}"/>
              </a:ext>
            </a:extLst>
          </p:cNvPr>
          <p:cNvSpPr/>
          <p:nvPr userDrawn="1"/>
        </p:nvSpPr>
        <p:spPr>
          <a:xfrm rot="5400000">
            <a:off x="11019431"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57CC43FB-B50A-4ECD-8E84-36BE305BE5EA}"/>
              </a:ext>
            </a:extLst>
          </p:cNvPr>
          <p:cNvCxnSpPr>
            <a:cxnSpLocks/>
          </p:cNvCxnSpPr>
          <p:nvPr userDrawn="1"/>
        </p:nvCxnSpPr>
        <p:spPr>
          <a:xfrm>
            <a:off x="11020216" y="6363890"/>
            <a:ext cx="0" cy="49411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Right Triangle 19">
            <a:extLst>
              <a:ext uri="{FF2B5EF4-FFF2-40B4-BE49-F238E27FC236}">
                <a16:creationId xmlns:a16="http://schemas.microsoft.com/office/drawing/2014/main" id="{A2737029-645E-E673-FD19-1F0C64B01C2A}"/>
              </a:ext>
            </a:extLst>
          </p:cNvPr>
          <p:cNvSpPr/>
          <p:nvPr userDrawn="1"/>
        </p:nvSpPr>
        <p:spPr>
          <a:xfrm rot="5400000">
            <a:off x="608815" y="6366697"/>
            <a:ext cx="171438" cy="171438"/>
          </a:xfrm>
          <a:prstGeom prst="rtTriangl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FEC1EF06-9209-7FE2-5806-B7E2CF3CD769}"/>
              </a:ext>
            </a:extLst>
          </p:cNvPr>
          <p:cNvSpPr/>
          <p:nvPr userDrawn="1"/>
        </p:nvSpPr>
        <p:spPr>
          <a:xfrm>
            <a:off x="0" y="0"/>
            <a:ext cx="12192000" cy="890897"/>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CC68D1C2-018C-3EE7-2E15-F86619F67340}"/>
              </a:ext>
            </a:extLst>
          </p:cNvPr>
          <p:cNvSpPr>
            <a:spLocks noGrp="1"/>
          </p:cNvSpPr>
          <p:nvPr>
            <p:ph type="title" hasCustomPrompt="1"/>
          </p:nvPr>
        </p:nvSpPr>
        <p:spPr>
          <a:xfrm>
            <a:off x="608815" y="215270"/>
            <a:ext cx="10149496" cy="523335"/>
          </a:xfrm>
        </p:spPr>
        <p:txBody>
          <a:bodyPr>
            <a:normAutofit/>
          </a:bodyPr>
          <a:lstStyle>
            <a:lvl1pPr>
              <a:defRPr sz="2600">
                <a:solidFill>
                  <a:schemeClr val="bg1"/>
                </a:solidFill>
              </a:defRPr>
            </a:lvl1pPr>
          </a:lstStyle>
          <a:p>
            <a:r>
              <a:rPr lang="en-US" dirty="0"/>
              <a:t>CLICK TO EDIT MASTER TITLE STYLE</a:t>
            </a:r>
          </a:p>
        </p:txBody>
      </p:sp>
      <p:pic>
        <p:nvPicPr>
          <p:cNvPr id="5" name="Picture 4">
            <a:extLst>
              <a:ext uri="{FF2B5EF4-FFF2-40B4-BE49-F238E27FC236}">
                <a16:creationId xmlns:a16="http://schemas.microsoft.com/office/drawing/2014/main" id="{B6B2737C-CB44-6C23-5279-AD1727FACA10}"/>
              </a:ext>
            </a:extLst>
          </p:cNvPr>
          <p:cNvPicPr>
            <a:picLocks noChangeAspect="1"/>
          </p:cNvPicPr>
          <p:nvPr userDrawn="1"/>
        </p:nvPicPr>
        <p:blipFill>
          <a:blip r:embed="rId2"/>
          <a:stretch>
            <a:fillRect/>
          </a:stretch>
        </p:blipFill>
        <p:spPr>
          <a:xfrm>
            <a:off x="11224539" y="278976"/>
            <a:ext cx="514702" cy="395924"/>
          </a:xfrm>
          <a:prstGeom prst="rect">
            <a:avLst/>
          </a:prstGeom>
        </p:spPr>
      </p:pic>
      <p:pic>
        <p:nvPicPr>
          <p:cNvPr id="9" name="Picture 8">
            <a:extLst>
              <a:ext uri="{FF2B5EF4-FFF2-40B4-BE49-F238E27FC236}">
                <a16:creationId xmlns:a16="http://schemas.microsoft.com/office/drawing/2014/main" id="{EB20E907-914F-7852-A69E-1AC3F9838BA6}"/>
              </a:ext>
            </a:extLst>
          </p:cNvPr>
          <p:cNvPicPr>
            <a:picLocks noChangeAspect="1"/>
          </p:cNvPicPr>
          <p:nvPr userDrawn="1"/>
        </p:nvPicPr>
        <p:blipFill>
          <a:blip r:embed="rId3"/>
          <a:stretch>
            <a:fillRect/>
          </a:stretch>
        </p:blipFill>
        <p:spPr>
          <a:xfrm>
            <a:off x="940292" y="6508544"/>
            <a:ext cx="2180122" cy="274320"/>
          </a:xfrm>
          <a:prstGeom prst="rect">
            <a:avLst/>
          </a:prstGeom>
        </p:spPr>
      </p:pic>
    </p:spTree>
    <p:extLst>
      <p:ext uri="{BB962C8B-B14F-4D97-AF65-F5344CB8AC3E}">
        <p14:creationId xmlns:p14="http://schemas.microsoft.com/office/powerpoint/2010/main" val="2903562658"/>
      </p:ext>
    </p:extLst>
  </p:cSld>
  <p:clrMapOvr>
    <a:masterClrMapping/>
  </p:clrMapOvr>
  <p:extLst>
    <p:ext uri="{DCECCB84-F9BA-43D5-87BE-67443E8EF086}">
      <p15:sldGuideLst xmlns:p15="http://schemas.microsoft.com/office/powerpoint/2012/main">
        <p15:guide id="1" orient="horz" pos="120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oleObject" Target="../embeddings/oleObject3.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ags" Target="../tags/tag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2.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993228C-9965-9F16-F1B8-C72580E18613}"/>
              </a:ext>
            </a:extLst>
          </p:cNvPr>
          <p:cNvGraphicFramePr>
            <a:graphicFrameLocks noChangeAspect="1"/>
          </p:cNvGraphicFramePr>
          <p:nvPr userDrawn="1">
            <p:custDataLst>
              <p:tags r:id="rId24"/>
            </p:custDataLst>
            <p:extLst>
              <p:ext uri="{D42A27DB-BD31-4B8C-83A1-F6EECF244321}">
                <p14:modId xmlns:p14="http://schemas.microsoft.com/office/powerpoint/2010/main" val="4018559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59" imgH="360" progId="TCLayout.ActiveDocument.1">
                  <p:embed/>
                </p:oleObj>
              </mc:Choice>
              <mc:Fallback>
                <p:oleObj name="think-cell Slide" r:id="rId25" imgW="359" imgH="360" progId="TCLayout.ActiveDocument.1">
                  <p:embed/>
                  <p:pic>
                    <p:nvPicPr>
                      <p:cNvPr id="7" name="think-cell data - do not delete" hidden="1">
                        <a:extLst>
                          <a:ext uri="{FF2B5EF4-FFF2-40B4-BE49-F238E27FC236}">
                            <a16:creationId xmlns:a16="http://schemas.microsoft.com/office/drawing/2014/main" id="{1993228C-9965-9F16-F1B8-C72580E18613}"/>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58ECC34-436E-3FF9-5918-FB36FC5E84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6568046-C31A-FFBA-4F46-0E94B74BF3B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9685CDE-AB18-D004-F6F0-37DC64FF34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b="0" i="0">
                <a:solidFill>
                  <a:schemeClr val="tx1">
                    <a:tint val="75000"/>
                  </a:schemeClr>
                </a:solidFill>
                <a:latin typeface="Arial" panose="020B0604020202020204" pitchFamily="34" charset="0"/>
                <a:cs typeface="Arial" panose="020B0604020202020204" pitchFamily="34" charset="0"/>
              </a:defRPr>
            </a:lvl1pPr>
          </a:lstStyle>
          <a:p>
            <a:fld id="{63DF7CAF-16E5-D847-BA70-F690FFB1315E}" type="datetime1">
              <a:rPr lang="en-US" smtClean="0"/>
              <a:t>7/8/2024</a:t>
            </a:fld>
            <a:endParaRPr lang="en-US" dirty="0"/>
          </a:p>
        </p:txBody>
      </p:sp>
      <p:sp>
        <p:nvSpPr>
          <p:cNvPr id="6" name="Slide Number Placeholder 5">
            <a:extLst>
              <a:ext uri="{FF2B5EF4-FFF2-40B4-BE49-F238E27FC236}">
                <a16:creationId xmlns:a16="http://schemas.microsoft.com/office/drawing/2014/main" id="{B55AD2A2-EDA7-0F48-744C-8C14E6104D9E}"/>
              </a:ext>
            </a:extLst>
          </p:cNvPr>
          <p:cNvSpPr>
            <a:spLocks noGrp="1"/>
          </p:cNvSpPr>
          <p:nvPr>
            <p:ph type="sldNum" sz="quarter" idx="4"/>
          </p:nvPr>
        </p:nvSpPr>
        <p:spPr>
          <a:xfrm>
            <a:off x="8610602" y="6310312"/>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rial" panose="020B0604020202020204" pitchFamily="34" charset="0"/>
                <a:cs typeface="Arial" panose="020B0604020202020204" pitchFamily="34" charset="0"/>
              </a:defRPr>
            </a:lvl1pPr>
          </a:lstStyle>
          <a:p>
            <a:fld id="{5EB2DAE1-36C4-6C4B-9AFA-454FFABCAA92}" type="slidenum">
              <a:rPr lang="en-US" smtClean="0"/>
              <a:pPr/>
              <a:t>‹#›</a:t>
            </a:fld>
            <a:endParaRPr lang="en-US"/>
          </a:p>
        </p:txBody>
      </p:sp>
    </p:spTree>
    <p:extLst>
      <p:ext uri="{BB962C8B-B14F-4D97-AF65-F5344CB8AC3E}">
        <p14:creationId xmlns:p14="http://schemas.microsoft.com/office/powerpoint/2010/main" val="2012974304"/>
      </p:ext>
    </p:extLst>
  </p:cSld>
  <p:clrMap bg1="lt1" tx1="dk1" bg2="lt2" tx2="dk2" accent1="accent1" accent2="accent2" accent3="accent3" accent4="accent4" accent5="accent5" accent6="accent6" hlink="hlink" folHlink="folHlink"/>
  <p:sldLayoutIdLst>
    <p:sldLayoutId id="2147483658" r:id="rId1"/>
    <p:sldLayoutId id="2147483674" r:id="rId2"/>
    <p:sldLayoutId id="2147483659" r:id="rId3"/>
    <p:sldLayoutId id="2147483666" r:id="rId4"/>
    <p:sldLayoutId id="2147483665" r:id="rId5"/>
    <p:sldLayoutId id="2147483650" r:id="rId6"/>
    <p:sldLayoutId id="2147483677" r:id="rId7"/>
    <p:sldLayoutId id="2147483676" r:id="rId8"/>
    <p:sldLayoutId id="2147483660" r:id="rId9"/>
    <p:sldLayoutId id="2147483662" r:id="rId10"/>
    <p:sldLayoutId id="2147483663" r:id="rId11"/>
    <p:sldLayoutId id="2147483664" r:id="rId12"/>
    <p:sldLayoutId id="2147483675" r:id="rId13"/>
    <p:sldLayoutId id="2147483668" r:id="rId14"/>
    <p:sldLayoutId id="2147483661" r:id="rId15"/>
    <p:sldLayoutId id="2147483669" r:id="rId16"/>
    <p:sldLayoutId id="2147483671" r:id="rId17"/>
    <p:sldLayoutId id="2147483672" r:id="rId18"/>
    <p:sldLayoutId id="2147483673" r:id="rId19"/>
    <p:sldLayoutId id="2147483670" r:id="rId20"/>
    <p:sldLayoutId id="2147483667" r:id="rId21"/>
    <p:sldLayoutId id="2147483679" r:id="rId22"/>
  </p:sldLayoutIdLst>
  <p:hf hdr="0" ftr="0" dt="0"/>
  <p:txStyles>
    <p:titleStyle>
      <a:lvl1pPr algn="l" defTabSz="914400" rtl="0" eaLnBrk="1" latinLnBrk="0" hangingPunct="1">
        <a:lnSpc>
          <a:spcPct val="90000"/>
        </a:lnSpc>
        <a:spcBef>
          <a:spcPct val="0"/>
        </a:spcBef>
        <a:buNone/>
        <a:defRPr sz="44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6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2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CB4225-633A-479B-8ED0-27366034F2E7}"/>
              </a:ext>
            </a:extLst>
          </p:cNvPr>
          <p:cNvGraphicFramePr>
            <a:graphicFrameLocks noChangeAspect="1"/>
          </p:cNvGraphicFramePr>
          <p:nvPr userDrawn="1">
            <p:custDataLst>
              <p:tags r:id="rId12"/>
            </p:custDataLst>
            <p:extLst>
              <p:ext uri="{D42A27DB-BD31-4B8C-83A1-F6EECF244321}">
                <p14:modId xmlns:p14="http://schemas.microsoft.com/office/powerpoint/2010/main" val="4229267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3" name="Object 2" hidden="1">
                        <a:extLst>
                          <a:ext uri="{FF2B5EF4-FFF2-40B4-BE49-F238E27FC236}">
                            <a16:creationId xmlns:a16="http://schemas.microsoft.com/office/drawing/2014/main" id="{42CB4225-633A-479B-8ED0-27366034F2E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grpSp>
        <p:nvGrpSpPr>
          <p:cNvPr id="41" name="Group 40">
            <a:extLst>
              <a:ext uri="{FF2B5EF4-FFF2-40B4-BE49-F238E27FC236}">
                <a16:creationId xmlns:a16="http://schemas.microsoft.com/office/drawing/2014/main" id="{17FEA1D2-7FCB-7A19-72A8-3BE8690D4EBB}"/>
              </a:ext>
            </a:extLst>
          </p:cNvPr>
          <p:cNvGrpSpPr>
            <a:grpSpLocks noChangeAspect="1"/>
          </p:cNvGrpSpPr>
          <p:nvPr userDrawn="1"/>
        </p:nvGrpSpPr>
        <p:grpSpPr>
          <a:xfrm>
            <a:off x="624476" y="6442363"/>
            <a:ext cx="3566160" cy="177639"/>
            <a:chOff x="3885086" y="3664124"/>
            <a:chExt cx="4378389" cy="218098"/>
          </a:xfrm>
          <a:solidFill>
            <a:schemeClr val="bg1">
              <a:lumMod val="75000"/>
            </a:schemeClr>
          </a:solidFill>
        </p:grpSpPr>
        <p:sp>
          <p:nvSpPr>
            <p:cNvPr id="42" name="Freeform 41">
              <a:extLst>
                <a:ext uri="{FF2B5EF4-FFF2-40B4-BE49-F238E27FC236}">
                  <a16:creationId xmlns:a16="http://schemas.microsoft.com/office/drawing/2014/main" id="{20E14455-2A75-9D67-75A6-0D58D00932E0}"/>
                </a:ext>
              </a:extLst>
            </p:cNvPr>
            <p:cNvSpPr/>
            <p:nvPr/>
          </p:nvSpPr>
          <p:spPr>
            <a:xfrm>
              <a:off x="3885086" y="3680337"/>
              <a:ext cx="43740" cy="156611"/>
            </a:xfrm>
            <a:custGeom>
              <a:avLst/>
              <a:gdLst>
                <a:gd name="connsiteX0" fmla="*/ 26 w 43740"/>
                <a:gd name="connsiteY0" fmla="*/ 153858 h 156611"/>
                <a:gd name="connsiteX1" fmla="*/ 24012 w 43740"/>
                <a:gd name="connsiteY1" fmla="*/ 2373 h 156611"/>
                <a:gd name="connsiteX2" fmla="*/ 26772 w 43740"/>
                <a:gd name="connsiteY2" fmla="*/ 0 h 156611"/>
                <a:gd name="connsiteX3" fmla="*/ 41335 w 43740"/>
                <a:gd name="connsiteY3" fmla="*/ 0 h 156611"/>
                <a:gd name="connsiteX4" fmla="*/ 43715 w 43740"/>
                <a:gd name="connsiteY4" fmla="*/ 2752 h 156611"/>
                <a:gd name="connsiteX5" fmla="*/ 19729 w 43740"/>
                <a:gd name="connsiteY5" fmla="*/ 154238 h 156611"/>
                <a:gd name="connsiteX6" fmla="*/ 16969 w 43740"/>
                <a:gd name="connsiteY6" fmla="*/ 156611 h 156611"/>
                <a:gd name="connsiteX7" fmla="*/ 2406 w 43740"/>
                <a:gd name="connsiteY7" fmla="*/ 156611 h 156611"/>
                <a:gd name="connsiteX8" fmla="*/ 26 w 43740"/>
                <a:gd name="connsiteY8" fmla="*/ 153858 h 1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56611">
                  <a:moveTo>
                    <a:pt x="26" y="153858"/>
                  </a:moveTo>
                  <a:lnTo>
                    <a:pt x="24012" y="2373"/>
                  </a:lnTo>
                  <a:cubicBezTo>
                    <a:pt x="24202" y="664"/>
                    <a:pt x="25249" y="0"/>
                    <a:pt x="26772" y="0"/>
                  </a:cubicBezTo>
                  <a:lnTo>
                    <a:pt x="41335" y="0"/>
                  </a:lnTo>
                  <a:cubicBezTo>
                    <a:pt x="43048" y="0"/>
                    <a:pt x="43905" y="854"/>
                    <a:pt x="43715" y="2752"/>
                  </a:cubicBezTo>
                  <a:lnTo>
                    <a:pt x="19729" y="154238"/>
                  </a:lnTo>
                  <a:cubicBezTo>
                    <a:pt x="19538" y="155947"/>
                    <a:pt x="18491" y="156611"/>
                    <a:pt x="16969" y="156611"/>
                  </a:cubicBezTo>
                  <a:lnTo>
                    <a:pt x="2406" y="156611"/>
                  </a:lnTo>
                  <a:cubicBezTo>
                    <a:pt x="692" y="156611"/>
                    <a:pt x="-164" y="155757"/>
                    <a:pt x="26" y="153858"/>
                  </a:cubicBezTo>
                  <a:close/>
                </a:path>
              </a:pathLst>
            </a:custGeom>
            <a:grpFill/>
            <a:ln w="9505"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E2EC1EB0-C69D-BA30-88E8-9CB07CD3AB60}"/>
                </a:ext>
              </a:extLst>
            </p:cNvPr>
            <p:cNvSpPr/>
            <p:nvPr/>
          </p:nvSpPr>
          <p:spPr>
            <a:xfrm>
              <a:off x="3942576"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1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3" y="2468"/>
                    <a:pt x="20585" y="2468"/>
                  </a:cubicBezTo>
                  <a:lnTo>
                    <a:pt x="33245" y="2468"/>
                  </a:lnTo>
                  <a:cubicBezTo>
                    <a:pt x="34958" y="2468"/>
                    <a:pt x="35815" y="3322"/>
                    <a:pt x="35624" y="5220"/>
                  </a:cubicBezTo>
                  <a:lnTo>
                    <a:pt x="33245" y="20787"/>
                  </a:lnTo>
                  <a:cubicBezTo>
                    <a:pt x="42287" y="7688"/>
                    <a:pt x="55517" y="0"/>
                    <a:pt x="69890" y="0"/>
                  </a:cubicBezTo>
                  <a:cubicBezTo>
                    <a:pt x="91591" y="0"/>
                    <a:pt x="102727" y="17085"/>
                    <a:pt x="98635" y="42332"/>
                  </a:cubicBezTo>
                  <a:lnTo>
                    <a:pt x="86451" y="117411"/>
                  </a:lnTo>
                  <a:cubicBezTo>
                    <a:pt x="86261" y="119119"/>
                    <a:pt x="85119" y="119784"/>
                    <a:pt x="83691" y="119784"/>
                  </a:cubicBezTo>
                  <a:lnTo>
                    <a:pt x="70175" y="119784"/>
                  </a:lnTo>
                  <a:cubicBezTo>
                    <a:pt x="68462" y="119784"/>
                    <a:pt x="67605" y="118929"/>
                    <a:pt x="67796" y="117031"/>
                  </a:cubicBezTo>
                  <a:lnTo>
                    <a:pt x="79598" y="43851"/>
                  </a:lnTo>
                  <a:cubicBezTo>
                    <a:pt x="82359" y="25627"/>
                    <a:pt x="75981" y="17085"/>
                    <a:pt x="63037" y="17085"/>
                  </a:cubicBezTo>
                  <a:close/>
                </a:path>
              </a:pathLst>
            </a:custGeom>
            <a:grpFill/>
            <a:ln w="9505"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830C35ED-3D66-A2C2-5C27-0466114D0755}"/>
                </a:ext>
              </a:extLst>
            </p:cNvPr>
            <p:cNvSpPr/>
            <p:nvPr/>
          </p:nvSpPr>
          <p:spPr>
            <a:xfrm>
              <a:off x="4063933"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1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3" y="2468"/>
                    <a:pt x="20585" y="2468"/>
                  </a:cubicBezTo>
                  <a:lnTo>
                    <a:pt x="33245" y="2468"/>
                  </a:lnTo>
                  <a:cubicBezTo>
                    <a:pt x="34958" y="2468"/>
                    <a:pt x="35815" y="3322"/>
                    <a:pt x="35624" y="5220"/>
                  </a:cubicBezTo>
                  <a:lnTo>
                    <a:pt x="33245" y="20787"/>
                  </a:lnTo>
                  <a:cubicBezTo>
                    <a:pt x="42287" y="7688"/>
                    <a:pt x="55517" y="0"/>
                    <a:pt x="69890" y="0"/>
                  </a:cubicBezTo>
                  <a:cubicBezTo>
                    <a:pt x="91591" y="0"/>
                    <a:pt x="102727" y="17085"/>
                    <a:pt x="98635" y="42332"/>
                  </a:cubicBezTo>
                  <a:lnTo>
                    <a:pt x="86451" y="117411"/>
                  </a:lnTo>
                  <a:cubicBezTo>
                    <a:pt x="86261" y="119119"/>
                    <a:pt x="85119" y="119784"/>
                    <a:pt x="83691" y="119784"/>
                  </a:cubicBezTo>
                  <a:lnTo>
                    <a:pt x="70175" y="119784"/>
                  </a:lnTo>
                  <a:cubicBezTo>
                    <a:pt x="68462" y="119784"/>
                    <a:pt x="67605" y="118929"/>
                    <a:pt x="67796" y="117031"/>
                  </a:cubicBezTo>
                  <a:lnTo>
                    <a:pt x="79598" y="43851"/>
                  </a:lnTo>
                  <a:cubicBezTo>
                    <a:pt x="82359" y="25627"/>
                    <a:pt x="75981" y="17085"/>
                    <a:pt x="63037" y="17085"/>
                  </a:cubicBezTo>
                  <a:close/>
                </a:path>
              </a:pathLst>
            </a:custGeom>
            <a:grpFill/>
            <a:ln w="9505"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187F5989-EA82-BEE3-DE18-0ABB717E0DAE}"/>
                </a:ext>
              </a:extLst>
            </p:cNvPr>
            <p:cNvSpPr/>
            <p:nvPr/>
          </p:nvSpPr>
          <p:spPr>
            <a:xfrm>
              <a:off x="4188464"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0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2"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7"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0" y="105262"/>
                  </a:cubicBezTo>
                  <a:close/>
                </a:path>
              </a:pathLst>
            </a:custGeom>
            <a:grpFill/>
            <a:ln w="9505"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A7A1B55B-65CA-0645-CCC8-8B9DB3A3BA2A}"/>
                </a:ext>
              </a:extLst>
            </p:cNvPr>
            <p:cNvSpPr/>
            <p:nvPr/>
          </p:nvSpPr>
          <p:spPr>
            <a:xfrm>
              <a:off x="4308836" y="3719537"/>
              <a:ext cx="96873" cy="117505"/>
            </a:xfrm>
            <a:custGeom>
              <a:avLst/>
              <a:gdLst>
                <a:gd name="connsiteX0" fmla="*/ 18682 w 96873"/>
                <a:gd name="connsiteY0" fmla="*/ 115038 h 117505"/>
                <a:gd name="connsiteX1" fmla="*/ 26 w 96873"/>
                <a:gd name="connsiteY1" fmla="*/ 2753 h 117505"/>
                <a:gd name="connsiteX2" fmla="*/ 2406 w 96873"/>
                <a:gd name="connsiteY2" fmla="*/ 0 h 117505"/>
                <a:gd name="connsiteX3" fmla="*/ 16112 w 96873"/>
                <a:gd name="connsiteY3" fmla="*/ 0 h 117505"/>
                <a:gd name="connsiteX4" fmla="*/ 18872 w 96873"/>
                <a:gd name="connsiteY4" fmla="*/ 2373 h 117505"/>
                <a:gd name="connsiteX5" fmla="*/ 27914 w 96873"/>
                <a:gd name="connsiteY5" fmla="*/ 59512 h 117505"/>
                <a:gd name="connsiteX6" fmla="*/ 32674 w 96873"/>
                <a:gd name="connsiteY6" fmla="*/ 100326 h 117505"/>
                <a:gd name="connsiteX7" fmla="*/ 33054 w 96873"/>
                <a:gd name="connsiteY7" fmla="*/ 100326 h 117505"/>
                <a:gd name="connsiteX8" fmla="*/ 50473 w 96873"/>
                <a:gd name="connsiteY8" fmla="*/ 59512 h 117505"/>
                <a:gd name="connsiteX9" fmla="*/ 77695 w 96873"/>
                <a:gd name="connsiteY9" fmla="*/ 1993 h 117505"/>
                <a:gd name="connsiteX10" fmla="*/ 80740 w 96873"/>
                <a:gd name="connsiteY10" fmla="*/ 95 h 117505"/>
                <a:gd name="connsiteX11" fmla="*/ 94637 w 96873"/>
                <a:gd name="connsiteY11" fmla="*/ 95 h 117505"/>
                <a:gd name="connsiteX12" fmla="*/ 96541 w 96873"/>
                <a:gd name="connsiteY12" fmla="*/ 3037 h 117505"/>
                <a:gd name="connsiteX13" fmla="*/ 42287 w 96873"/>
                <a:gd name="connsiteY13" fmla="*/ 115607 h 117505"/>
                <a:gd name="connsiteX14" fmla="*/ 39241 w 96873"/>
                <a:gd name="connsiteY14" fmla="*/ 117506 h 117505"/>
                <a:gd name="connsiteX15" fmla="*/ 21442 w 96873"/>
                <a:gd name="connsiteY15" fmla="*/ 117506 h 117505"/>
                <a:gd name="connsiteX16" fmla="*/ 18682 w 96873"/>
                <a:gd name="connsiteY16" fmla="*/ 115133 h 11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873" h="117505">
                  <a:moveTo>
                    <a:pt x="18682" y="115038"/>
                  </a:moveTo>
                  <a:lnTo>
                    <a:pt x="26" y="2753"/>
                  </a:lnTo>
                  <a:cubicBezTo>
                    <a:pt x="-164" y="854"/>
                    <a:pt x="692" y="0"/>
                    <a:pt x="2406" y="0"/>
                  </a:cubicBezTo>
                  <a:lnTo>
                    <a:pt x="16112" y="0"/>
                  </a:lnTo>
                  <a:cubicBezTo>
                    <a:pt x="17635" y="0"/>
                    <a:pt x="18682" y="664"/>
                    <a:pt x="18872" y="2373"/>
                  </a:cubicBezTo>
                  <a:lnTo>
                    <a:pt x="27914" y="59512"/>
                  </a:lnTo>
                  <a:cubicBezTo>
                    <a:pt x="30104" y="74224"/>
                    <a:pt x="31817" y="88556"/>
                    <a:pt x="32674" y="100326"/>
                  </a:cubicBezTo>
                  <a:lnTo>
                    <a:pt x="33054" y="100326"/>
                  </a:lnTo>
                  <a:cubicBezTo>
                    <a:pt x="38670" y="86848"/>
                    <a:pt x="44000" y="73560"/>
                    <a:pt x="50473" y="59512"/>
                  </a:cubicBezTo>
                  <a:lnTo>
                    <a:pt x="77695" y="1993"/>
                  </a:lnTo>
                  <a:cubicBezTo>
                    <a:pt x="78361" y="664"/>
                    <a:pt x="79408" y="95"/>
                    <a:pt x="80740" y="95"/>
                  </a:cubicBezTo>
                  <a:lnTo>
                    <a:pt x="94637" y="95"/>
                  </a:lnTo>
                  <a:cubicBezTo>
                    <a:pt x="96541" y="95"/>
                    <a:pt x="97397" y="1139"/>
                    <a:pt x="96541" y="3037"/>
                  </a:cubicBezTo>
                  <a:lnTo>
                    <a:pt x="42287" y="115607"/>
                  </a:lnTo>
                  <a:cubicBezTo>
                    <a:pt x="41621" y="116841"/>
                    <a:pt x="40574" y="117506"/>
                    <a:pt x="39241" y="117506"/>
                  </a:cubicBezTo>
                  <a:lnTo>
                    <a:pt x="21442" y="117506"/>
                  </a:lnTo>
                  <a:cubicBezTo>
                    <a:pt x="19919" y="117506"/>
                    <a:pt x="18872" y="116841"/>
                    <a:pt x="18682" y="115133"/>
                  </a:cubicBezTo>
                  <a:close/>
                </a:path>
              </a:pathLst>
            </a:custGeom>
            <a:grpFill/>
            <a:ln w="9505"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79A7EC2-8871-F984-8852-2CAC00795AE5}"/>
                </a:ext>
              </a:extLst>
            </p:cNvPr>
            <p:cNvSpPr/>
            <p:nvPr/>
          </p:nvSpPr>
          <p:spPr>
            <a:xfrm>
              <a:off x="4412108" y="3718493"/>
              <a:ext cx="101822" cy="120922"/>
            </a:xfrm>
            <a:custGeom>
              <a:avLst/>
              <a:gdLst>
                <a:gd name="connsiteX0" fmla="*/ 979 w 101822"/>
                <a:gd name="connsiteY0" fmla="*/ 76312 h 120922"/>
                <a:gd name="connsiteX1" fmla="*/ 6309 w 101822"/>
                <a:gd name="connsiteY1" fmla="*/ 43187 h 120922"/>
                <a:gd name="connsiteX2" fmla="*/ 55423 w 101822"/>
                <a:gd name="connsiteY2" fmla="*/ 0 h 120922"/>
                <a:gd name="connsiteX3" fmla="*/ 100254 w 101822"/>
                <a:gd name="connsiteY3" fmla="*/ 10915 h 120922"/>
                <a:gd name="connsiteX4" fmla="*/ 101777 w 101822"/>
                <a:gd name="connsiteY4" fmla="*/ 14142 h 120922"/>
                <a:gd name="connsiteX5" fmla="*/ 85691 w 101822"/>
                <a:gd name="connsiteY5" fmla="*/ 116177 h 120922"/>
                <a:gd name="connsiteX6" fmla="*/ 82931 w 101822"/>
                <a:gd name="connsiteY6" fmla="*/ 118550 h 120922"/>
                <a:gd name="connsiteX7" fmla="*/ 70271 w 101822"/>
                <a:gd name="connsiteY7" fmla="*/ 118550 h 120922"/>
                <a:gd name="connsiteX8" fmla="*/ 67892 w 101822"/>
                <a:gd name="connsiteY8" fmla="*/ 115797 h 120922"/>
                <a:gd name="connsiteX9" fmla="*/ 70462 w 101822"/>
                <a:gd name="connsiteY9" fmla="*/ 98902 h 120922"/>
                <a:gd name="connsiteX10" fmla="*/ 31818 w 101822"/>
                <a:gd name="connsiteY10" fmla="*/ 120923 h 120922"/>
                <a:gd name="connsiteX11" fmla="*/ 884 w 101822"/>
                <a:gd name="connsiteY11" fmla="*/ 76407 h 120922"/>
                <a:gd name="connsiteX12" fmla="*/ 38956 w 101822"/>
                <a:gd name="connsiteY12" fmla="*/ 103933 h 120922"/>
                <a:gd name="connsiteX13" fmla="*/ 73032 w 101822"/>
                <a:gd name="connsiteY13" fmla="*/ 76787 h 120922"/>
                <a:gd name="connsiteX14" fmla="*/ 81788 w 101822"/>
                <a:gd name="connsiteY14" fmla="*/ 21356 h 120922"/>
                <a:gd name="connsiteX15" fmla="*/ 55613 w 101822"/>
                <a:gd name="connsiteY15" fmla="*/ 16041 h 120922"/>
                <a:gd name="connsiteX16" fmla="*/ 24679 w 101822"/>
                <a:gd name="connsiteY16" fmla="*/ 44895 h 120922"/>
                <a:gd name="connsiteX17" fmla="*/ 19920 w 101822"/>
                <a:gd name="connsiteY17" fmla="*/ 74889 h 120922"/>
                <a:gd name="connsiteX18" fmla="*/ 38766 w 101822"/>
                <a:gd name="connsiteY18" fmla="*/ 103933 h 12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822" h="120922">
                  <a:moveTo>
                    <a:pt x="979" y="76312"/>
                  </a:moveTo>
                  <a:lnTo>
                    <a:pt x="6309" y="43187"/>
                  </a:lnTo>
                  <a:cubicBezTo>
                    <a:pt x="10783" y="15851"/>
                    <a:pt x="25631" y="0"/>
                    <a:pt x="55423" y="0"/>
                  </a:cubicBezTo>
                  <a:cubicBezTo>
                    <a:pt x="69986" y="0"/>
                    <a:pt x="86071" y="3892"/>
                    <a:pt x="100254" y="10915"/>
                  </a:cubicBezTo>
                  <a:cubicBezTo>
                    <a:pt x="101586" y="11580"/>
                    <a:pt x="101967" y="12624"/>
                    <a:pt x="101777" y="14142"/>
                  </a:cubicBezTo>
                  <a:lnTo>
                    <a:pt x="85691" y="116177"/>
                  </a:lnTo>
                  <a:cubicBezTo>
                    <a:pt x="85500" y="117885"/>
                    <a:pt x="84453" y="118550"/>
                    <a:pt x="82931" y="118550"/>
                  </a:cubicBezTo>
                  <a:lnTo>
                    <a:pt x="70271" y="118550"/>
                  </a:lnTo>
                  <a:cubicBezTo>
                    <a:pt x="68558" y="118550"/>
                    <a:pt x="67701" y="117696"/>
                    <a:pt x="67892" y="115797"/>
                  </a:cubicBezTo>
                  <a:lnTo>
                    <a:pt x="70462" y="98902"/>
                  </a:lnTo>
                  <a:cubicBezTo>
                    <a:pt x="60848" y="113045"/>
                    <a:pt x="47332" y="120923"/>
                    <a:pt x="31818" y="120923"/>
                  </a:cubicBezTo>
                  <a:cubicBezTo>
                    <a:pt x="9260" y="120923"/>
                    <a:pt x="-3590" y="104028"/>
                    <a:pt x="884" y="76407"/>
                  </a:cubicBezTo>
                  <a:close/>
                  <a:moveTo>
                    <a:pt x="38956" y="103933"/>
                  </a:moveTo>
                  <a:cubicBezTo>
                    <a:pt x="52663" y="103933"/>
                    <a:pt x="65512" y="94726"/>
                    <a:pt x="73032" y="76787"/>
                  </a:cubicBezTo>
                  <a:lnTo>
                    <a:pt x="81788" y="21356"/>
                  </a:lnTo>
                  <a:cubicBezTo>
                    <a:pt x="73603" y="18129"/>
                    <a:pt x="64180" y="16041"/>
                    <a:pt x="55613" y="16041"/>
                  </a:cubicBezTo>
                  <a:cubicBezTo>
                    <a:pt x="37148" y="16041"/>
                    <a:pt x="27725" y="26292"/>
                    <a:pt x="24679" y="44895"/>
                  </a:cubicBezTo>
                  <a:lnTo>
                    <a:pt x="19920" y="74889"/>
                  </a:lnTo>
                  <a:cubicBezTo>
                    <a:pt x="16684" y="95011"/>
                    <a:pt x="24394" y="103933"/>
                    <a:pt x="38766" y="103933"/>
                  </a:cubicBezTo>
                  <a:close/>
                </a:path>
              </a:pathLst>
            </a:custGeom>
            <a:grpFill/>
            <a:ln w="9505"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AC36D96A-5957-24AA-7B80-D37A949DD840}"/>
                </a:ext>
              </a:extLst>
            </p:cNvPr>
            <p:cNvSpPr/>
            <p:nvPr/>
          </p:nvSpPr>
          <p:spPr>
            <a:xfrm>
              <a:off x="4538034"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39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8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6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39"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8"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6"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1064C4B0-4222-342F-0492-D86EB7F339AF}"/>
                </a:ext>
              </a:extLst>
            </p:cNvPr>
            <p:cNvSpPr/>
            <p:nvPr/>
          </p:nvSpPr>
          <p:spPr>
            <a:xfrm>
              <a:off x="4611420"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2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9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7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5" y="45654"/>
                    <a:pt x="19062" y="44990"/>
                    <a:pt x="20585" y="44990"/>
                  </a:cubicBezTo>
                  <a:lnTo>
                    <a:pt x="34292" y="44990"/>
                  </a:lnTo>
                  <a:cubicBezTo>
                    <a:pt x="36005" y="44990"/>
                    <a:pt x="36862"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9" y="664"/>
                    <a:pt x="26011" y="0"/>
                    <a:pt x="27439" y="0"/>
                  </a:cubicBezTo>
                  <a:lnTo>
                    <a:pt x="41145" y="0"/>
                  </a:lnTo>
                  <a:cubicBezTo>
                    <a:pt x="42858" y="0"/>
                    <a:pt x="43715" y="854"/>
                    <a:pt x="43524" y="2753"/>
                  </a:cubicBezTo>
                  <a:lnTo>
                    <a:pt x="40098" y="24393"/>
                  </a:lnTo>
                  <a:cubicBezTo>
                    <a:pt x="39907" y="26102"/>
                    <a:pt x="38765" y="26766"/>
                    <a:pt x="37337" y="26766"/>
                  </a:cubicBezTo>
                  <a:lnTo>
                    <a:pt x="23822" y="26766"/>
                  </a:lnTo>
                  <a:cubicBezTo>
                    <a:pt x="22108" y="26766"/>
                    <a:pt x="21252" y="25912"/>
                    <a:pt x="21442" y="24014"/>
                  </a:cubicBezTo>
                  <a:close/>
                </a:path>
              </a:pathLst>
            </a:custGeom>
            <a:grpFill/>
            <a:ln w="9505"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71ECA0B7-680C-02AD-5E63-86124C07B222}"/>
                </a:ext>
              </a:extLst>
            </p:cNvPr>
            <p:cNvSpPr/>
            <p:nvPr/>
          </p:nvSpPr>
          <p:spPr>
            <a:xfrm>
              <a:off x="4673193" y="3719537"/>
              <a:ext cx="96873" cy="117505"/>
            </a:xfrm>
            <a:custGeom>
              <a:avLst/>
              <a:gdLst>
                <a:gd name="connsiteX0" fmla="*/ 18682 w 96873"/>
                <a:gd name="connsiteY0" fmla="*/ 115038 h 117505"/>
                <a:gd name="connsiteX1" fmla="*/ 26 w 96873"/>
                <a:gd name="connsiteY1" fmla="*/ 2753 h 117505"/>
                <a:gd name="connsiteX2" fmla="*/ 2406 w 96873"/>
                <a:gd name="connsiteY2" fmla="*/ 0 h 117505"/>
                <a:gd name="connsiteX3" fmla="*/ 16112 w 96873"/>
                <a:gd name="connsiteY3" fmla="*/ 0 h 117505"/>
                <a:gd name="connsiteX4" fmla="*/ 18872 w 96873"/>
                <a:gd name="connsiteY4" fmla="*/ 2373 h 117505"/>
                <a:gd name="connsiteX5" fmla="*/ 27914 w 96873"/>
                <a:gd name="connsiteY5" fmla="*/ 59512 h 117505"/>
                <a:gd name="connsiteX6" fmla="*/ 32674 w 96873"/>
                <a:gd name="connsiteY6" fmla="*/ 100326 h 117505"/>
                <a:gd name="connsiteX7" fmla="*/ 33054 w 96873"/>
                <a:gd name="connsiteY7" fmla="*/ 100326 h 117505"/>
                <a:gd name="connsiteX8" fmla="*/ 50473 w 96873"/>
                <a:gd name="connsiteY8" fmla="*/ 59512 h 117505"/>
                <a:gd name="connsiteX9" fmla="*/ 77695 w 96873"/>
                <a:gd name="connsiteY9" fmla="*/ 1993 h 117505"/>
                <a:gd name="connsiteX10" fmla="*/ 80740 w 96873"/>
                <a:gd name="connsiteY10" fmla="*/ 95 h 117505"/>
                <a:gd name="connsiteX11" fmla="*/ 94637 w 96873"/>
                <a:gd name="connsiteY11" fmla="*/ 95 h 117505"/>
                <a:gd name="connsiteX12" fmla="*/ 96541 w 96873"/>
                <a:gd name="connsiteY12" fmla="*/ 3037 h 117505"/>
                <a:gd name="connsiteX13" fmla="*/ 42287 w 96873"/>
                <a:gd name="connsiteY13" fmla="*/ 115607 h 117505"/>
                <a:gd name="connsiteX14" fmla="*/ 39241 w 96873"/>
                <a:gd name="connsiteY14" fmla="*/ 117506 h 117505"/>
                <a:gd name="connsiteX15" fmla="*/ 21442 w 96873"/>
                <a:gd name="connsiteY15" fmla="*/ 117506 h 117505"/>
                <a:gd name="connsiteX16" fmla="*/ 18682 w 96873"/>
                <a:gd name="connsiteY16" fmla="*/ 115133 h 11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873" h="117505">
                  <a:moveTo>
                    <a:pt x="18682" y="115038"/>
                  </a:moveTo>
                  <a:lnTo>
                    <a:pt x="26" y="2753"/>
                  </a:lnTo>
                  <a:cubicBezTo>
                    <a:pt x="-164" y="854"/>
                    <a:pt x="692" y="0"/>
                    <a:pt x="2406" y="0"/>
                  </a:cubicBezTo>
                  <a:lnTo>
                    <a:pt x="16112" y="0"/>
                  </a:lnTo>
                  <a:cubicBezTo>
                    <a:pt x="17635" y="0"/>
                    <a:pt x="18682" y="664"/>
                    <a:pt x="18872" y="2373"/>
                  </a:cubicBezTo>
                  <a:lnTo>
                    <a:pt x="27914" y="59512"/>
                  </a:lnTo>
                  <a:cubicBezTo>
                    <a:pt x="30104" y="74224"/>
                    <a:pt x="31817" y="88556"/>
                    <a:pt x="32674" y="100326"/>
                  </a:cubicBezTo>
                  <a:lnTo>
                    <a:pt x="33054" y="100326"/>
                  </a:lnTo>
                  <a:cubicBezTo>
                    <a:pt x="38670" y="86848"/>
                    <a:pt x="44000" y="73560"/>
                    <a:pt x="50473" y="59512"/>
                  </a:cubicBezTo>
                  <a:lnTo>
                    <a:pt x="77695" y="1993"/>
                  </a:lnTo>
                  <a:cubicBezTo>
                    <a:pt x="78361" y="664"/>
                    <a:pt x="79408" y="95"/>
                    <a:pt x="80740" y="95"/>
                  </a:cubicBezTo>
                  <a:lnTo>
                    <a:pt x="94637" y="95"/>
                  </a:lnTo>
                  <a:cubicBezTo>
                    <a:pt x="96541" y="95"/>
                    <a:pt x="97397" y="1139"/>
                    <a:pt x="96541" y="3037"/>
                  </a:cubicBezTo>
                  <a:lnTo>
                    <a:pt x="42287" y="115607"/>
                  </a:lnTo>
                  <a:cubicBezTo>
                    <a:pt x="41621" y="116841"/>
                    <a:pt x="40574" y="117506"/>
                    <a:pt x="39241" y="117506"/>
                  </a:cubicBezTo>
                  <a:lnTo>
                    <a:pt x="21442" y="117506"/>
                  </a:lnTo>
                  <a:cubicBezTo>
                    <a:pt x="19919" y="117506"/>
                    <a:pt x="18872" y="116841"/>
                    <a:pt x="18682" y="115133"/>
                  </a:cubicBezTo>
                  <a:close/>
                </a:path>
              </a:pathLst>
            </a:custGeom>
            <a:grpFill/>
            <a:ln w="9505"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86242C88-F3C7-417E-936D-3F657A1EF95F}"/>
                </a:ext>
              </a:extLst>
            </p:cNvPr>
            <p:cNvSpPr/>
            <p:nvPr/>
          </p:nvSpPr>
          <p:spPr>
            <a:xfrm>
              <a:off x="4776965"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6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6"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7"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83F56C82-9906-319D-AAE3-C01ED8959F3A}"/>
                </a:ext>
              </a:extLst>
            </p:cNvPr>
            <p:cNvSpPr/>
            <p:nvPr/>
          </p:nvSpPr>
          <p:spPr>
            <a:xfrm>
              <a:off x="4949982"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39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8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6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39"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8"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6"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834E2B28-3735-FE7F-1A26-A257621F4F45}"/>
                </a:ext>
              </a:extLst>
            </p:cNvPr>
            <p:cNvSpPr/>
            <p:nvPr/>
          </p:nvSpPr>
          <p:spPr>
            <a:xfrm>
              <a:off x="5026246"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6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6"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8"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4F6F1C37-C8B4-1359-7B0B-8EF04CC32DD0}"/>
                </a:ext>
              </a:extLst>
            </p:cNvPr>
            <p:cNvSpPr/>
            <p:nvPr/>
          </p:nvSpPr>
          <p:spPr>
            <a:xfrm>
              <a:off x="5143131" y="3717164"/>
              <a:ext cx="92068" cy="122156"/>
            </a:xfrm>
            <a:custGeom>
              <a:avLst/>
              <a:gdLst>
                <a:gd name="connsiteX0" fmla="*/ 763 w 92068"/>
                <a:gd name="connsiteY0" fmla="*/ 72041 h 122156"/>
                <a:gd name="connsiteX1" fmla="*/ 5522 w 92068"/>
                <a:gd name="connsiteY1" fmla="*/ 43187 h 122156"/>
                <a:gd name="connsiteX2" fmla="*/ 52542 w 92068"/>
                <a:gd name="connsiteY2" fmla="*/ 0 h 122156"/>
                <a:gd name="connsiteX3" fmla="*/ 92042 w 92068"/>
                <a:gd name="connsiteY3" fmla="*/ 34454 h 122156"/>
                <a:gd name="connsiteX4" fmla="*/ 89853 w 92068"/>
                <a:gd name="connsiteY4" fmla="*/ 37207 h 122156"/>
                <a:gd name="connsiteX5" fmla="*/ 77860 w 92068"/>
                <a:gd name="connsiteY5" fmla="*/ 39295 h 122156"/>
                <a:gd name="connsiteX6" fmla="*/ 74815 w 92068"/>
                <a:gd name="connsiteY6" fmla="*/ 37207 h 122156"/>
                <a:gd name="connsiteX7" fmla="*/ 51876 w 92068"/>
                <a:gd name="connsiteY7" fmla="*/ 16895 h 122156"/>
                <a:gd name="connsiteX8" fmla="*/ 23987 w 92068"/>
                <a:gd name="connsiteY8" fmla="*/ 44705 h 122156"/>
                <a:gd name="connsiteX9" fmla="*/ 19514 w 92068"/>
                <a:gd name="connsiteY9" fmla="*/ 73560 h 122156"/>
                <a:gd name="connsiteX10" fmla="*/ 41596 w 92068"/>
                <a:gd name="connsiteY10" fmla="*/ 105262 h 122156"/>
                <a:gd name="connsiteX11" fmla="*/ 67771 w 92068"/>
                <a:gd name="connsiteY11" fmla="*/ 86848 h 122156"/>
                <a:gd name="connsiteX12" fmla="*/ 71198 w 92068"/>
                <a:gd name="connsiteY12" fmla="*/ 85519 h 122156"/>
                <a:gd name="connsiteX13" fmla="*/ 82334 w 92068"/>
                <a:gd name="connsiteY13" fmla="*/ 90265 h 122156"/>
                <a:gd name="connsiteX14" fmla="*/ 83857 w 92068"/>
                <a:gd name="connsiteY14" fmla="*/ 93492 h 122156"/>
                <a:gd name="connsiteX15" fmla="*/ 41786 w 92068"/>
                <a:gd name="connsiteY15" fmla="*/ 122157 h 122156"/>
                <a:gd name="connsiteX16" fmla="*/ 858 w 92068"/>
                <a:gd name="connsiteY16" fmla="*/ 72136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68" h="122156">
                  <a:moveTo>
                    <a:pt x="763" y="72041"/>
                  </a:moveTo>
                  <a:lnTo>
                    <a:pt x="5522" y="43187"/>
                  </a:lnTo>
                  <a:cubicBezTo>
                    <a:pt x="10281" y="13478"/>
                    <a:pt x="28271" y="0"/>
                    <a:pt x="52542" y="0"/>
                  </a:cubicBezTo>
                  <a:cubicBezTo>
                    <a:pt x="74815" y="0"/>
                    <a:pt x="90329" y="12624"/>
                    <a:pt x="92042" y="34454"/>
                  </a:cubicBezTo>
                  <a:cubicBezTo>
                    <a:pt x="92233" y="35973"/>
                    <a:pt x="91376" y="37017"/>
                    <a:pt x="89853" y="37207"/>
                  </a:cubicBezTo>
                  <a:lnTo>
                    <a:pt x="77860" y="39295"/>
                  </a:lnTo>
                  <a:cubicBezTo>
                    <a:pt x="76337" y="39485"/>
                    <a:pt x="75290" y="38915"/>
                    <a:pt x="74815" y="37207"/>
                  </a:cubicBezTo>
                  <a:cubicBezTo>
                    <a:pt x="72625" y="23729"/>
                    <a:pt x="64916" y="16895"/>
                    <a:pt x="51876" y="16895"/>
                  </a:cubicBezTo>
                  <a:cubicBezTo>
                    <a:pt x="36456" y="16895"/>
                    <a:pt x="27033" y="26766"/>
                    <a:pt x="23987" y="44705"/>
                  </a:cubicBezTo>
                  <a:lnTo>
                    <a:pt x="19514" y="73560"/>
                  </a:lnTo>
                  <a:cubicBezTo>
                    <a:pt x="16278" y="93682"/>
                    <a:pt x="24273" y="105262"/>
                    <a:pt x="41596" y="105262"/>
                  </a:cubicBezTo>
                  <a:cubicBezTo>
                    <a:pt x="55969" y="105262"/>
                    <a:pt x="63012" y="97573"/>
                    <a:pt x="67771" y="86848"/>
                  </a:cubicBezTo>
                  <a:cubicBezTo>
                    <a:pt x="68437" y="85329"/>
                    <a:pt x="69675" y="84950"/>
                    <a:pt x="71198" y="85519"/>
                  </a:cubicBezTo>
                  <a:lnTo>
                    <a:pt x="82334" y="90265"/>
                  </a:lnTo>
                  <a:cubicBezTo>
                    <a:pt x="83857" y="90929"/>
                    <a:pt x="84523" y="91973"/>
                    <a:pt x="83857" y="93492"/>
                  </a:cubicBezTo>
                  <a:cubicBezTo>
                    <a:pt x="77004" y="110862"/>
                    <a:pt x="64344" y="122157"/>
                    <a:pt x="41786" y="122157"/>
                  </a:cubicBezTo>
                  <a:cubicBezTo>
                    <a:pt x="11328" y="122157"/>
                    <a:pt x="-3901" y="102509"/>
                    <a:pt x="858" y="72136"/>
                  </a:cubicBezTo>
                  <a:close/>
                </a:path>
              </a:pathLst>
            </a:custGeom>
            <a:grpFill/>
            <a:ln w="9505"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23EA14C5-7C67-833D-3AF6-BA9FBCD70F7A}"/>
                </a:ext>
              </a:extLst>
            </p:cNvPr>
            <p:cNvSpPr/>
            <p:nvPr/>
          </p:nvSpPr>
          <p:spPr>
            <a:xfrm>
              <a:off x="5249996" y="3674547"/>
              <a:ext cx="99508" cy="162495"/>
            </a:xfrm>
            <a:custGeom>
              <a:avLst/>
              <a:gdLst>
                <a:gd name="connsiteX0" fmla="*/ 121 w 99508"/>
                <a:gd name="connsiteY0" fmla="*/ 159648 h 162495"/>
                <a:gd name="connsiteX1" fmla="*/ 24964 w 99508"/>
                <a:gd name="connsiteY1" fmla="*/ 2373 h 162495"/>
                <a:gd name="connsiteX2" fmla="*/ 27724 w 99508"/>
                <a:gd name="connsiteY2" fmla="*/ 0 h 162495"/>
                <a:gd name="connsiteX3" fmla="*/ 41430 w 99508"/>
                <a:gd name="connsiteY3" fmla="*/ 0 h 162495"/>
                <a:gd name="connsiteX4" fmla="*/ 43810 w 99508"/>
                <a:gd name="connsiteY4" fmla="*/ 2753 h 162495"/>
                <a:gd name="connsiteX5" fmla="*/ 34387 w 99508"/>
                <a:gd name="connsiteY5" fmla="*/ 62455 h 162495"/>
                <a:gd name="connsiteX6" fmla="*/ 69985 w 99508"/>
                <a:gd name="connsiteY6" fmla="*/ 42522 h 162495"/>
                <a:gd name="connsiteX7" fmla="*/ 98730 w 99508"/>
                <a:gd name="connsiteY7" fmla="*/ 83621 h 162495"/>
                <a:gd name="connsiteX8" fmla="*/ 86547 w 99508"/>
                <a:gd name="connsiteY8" fmla="*/ 160028 h 162495"/>
                <a:gd name="connsiteX9" fmla="*/ 83786 w 99508"/>
                <a:gd name="connsiteY9" fmla="*/ 162401 h 162495"/>
                <a:gd name="connsiteX10" fmla="*/ 70270 w 99508"/>
                <a:gd name="connsiteY10" fmla="*/ 162401 h 162495"/>
                <a:gd name="connsiteX11" fmla="*/ 67891 w 99508"/>
                <a:gd name="connsiteY11" fmla="*/ 159648 h 162495"/>
                <a:gd name="connsiteX12" fmla="*/ 79884 w 99508"/>
                <a:gd name="connsiteY12" fmla="*/ 85234 h 162495"/>
                <a:gd name="connsiteX13" fmla="*/ 63322 w 99508"/>
                <a:gd name="connsiteY13" fmla="*/ 59797 h 162495"/>
                <a:gd name="connsiteX14" fmla="*/ 30675 w 99508"/>
                <a:gd name="connsiteY14" fmla="*/ 84855 h 162495"/>
                <a:gd name="connsiteX15" fmla="*/ 18872 w 99508"/>
                <a:gd name="connsiteY15" fmla="*/ 160123 h 162495"/>
                <a:gd name="connsiteX16" fmla="*/ 16112 w 99508"/>
                <a:gd name="connsiteY16" fmla="*/ 162496 h 162495"/>
                <a:gd name="connsiteX17" fmla="*/ 2406 w 99508"/>
                <a:gd name="connsiteY17" fmla="*/ 162496 h 162495"/>
                <a:gd name="connsiteX18" fmla="*/ 26 w 99508"/>
                <a:gd name="connsiteY18" fmla="*/ 159743 h 16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508" h="162495">
                  <a:moveTo>
                    <a:pt x="121" y="159648"/>
                  </a:moveTo>
                  <a:lnTo>
                    <a:pt x="24964" y="2373"/>
                  </a:lnTo>
                  <a:cubicBezTo>
                    <a:pt x="25154" y="664"/>
                    <a:pt x="26296" y="0"/>
                    <a:pt x="27724" y="0"/>
                  </a:cubicBezTo>
                  <a:lnTo>
                    <a:pt x="41430" y="0"/>
                  </a:lnTo>
                  <a:cubicBezTo>
                    <a:pt x="43144" y="0"/>
                    <a:pt x="44000" y="854"/>
                    <a:pt x="43810" y="2753"/>
                  </a:cubicBezTo>
                  <a:lnTo>
                    <a:pt x="34387" y="62455"/>
                  </a:lnTo>
                  <a:cubicBezTo>
                    <a:pt x="43144" y="50021"/>
                    <a:pt x="56088" y="42522"/>
                    <a:pt x="69985" y="42522"/>
                  </a:cubicBezTo>
                  <a:cubicBezTo>
                    <a:pt x="91686" y="42522"/>
                    <a:pt x="102632" y="59892"/>
                    <a:pt x="98730" y="83621"/>
                  </a:cubicBezTo>
                  <a:lnTo>
                    <a:pt x="86547" y="160028"/>
                  </a:lnTo>
                  <a:cubicBezTo>
                    <a:pt x="86356" y="161737"/>
                    <a:pt x="85214" y="162401"/>
                    <a:pt x="83786" y="162401"/>
                  </a:cubicBezTo>
                  <a:lnTo>
                    <a:pt x="70270" y="162401"/>
                  </a:lnTo>
                  <a:cubicBezTo>
                    <a:pt x="68557" y="162401"/>
                    <a:pt x="67700" y="161547"/>
                    <a:pt x="67891" y="159648"/>
                  </a:cubicBezTo>
                  <a:lnTo>
                    <a:pt x="79884" y="85234"/>
                  </a:lnTo>
                  <a:cubicBezTo>
                    <a:pt x="82454" y="68150"/>
                    <a:pt x="75791" y="59797"/>
                    <a:pt x="63322" y="59797"/>
                  </a:cubicBezTo>
                  <a:cubicBezTo>
                    <a:pt x="50187" y="59797"/>
                    <a:pt x="38004" y="68814"/>
                    <a:pt x="30675" y="84855"/>
                  </a:cubicBezTo>
                  <a:lnTo>
                    <a:pt x="18872" y="160123"/>
                  </a:lnTo>
                  <a:cubicBezTo>
                    <a:pt x="18682" y="161831"/>
                    <a:pt x="17635" y="162496"/>
                    <a:pt x="16112" y="162496"/>
                  </a:cubicBezTo>
                  <a:lnTo>
                    <a:pt x="2406" y="162496"/>
                  </a:lnTo>
                  <a:cubicBezTo>
                    <a:pt x="692" y="162496"/>
                    <a:pt x="-164" y="161642"/>
                    <a:pt x="26" y="159743"/>
                  </a:cubicBezTo>
                  <a:close/>
                </a:path>
              </a:pathLst>
            </a:custGeom>
            <a:grpFill/>
            <a:ln w="9505"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88AAB312-3DA7-30A6-200E-29C24CEE6F1E}"/>
                </a:ext>
              </a:extLst>
            </p:cNvPr>
            <p:cNvSpPr/>
            <p:nvPr/>
          </p:nvSpPr>
          <p:spPr>
            <a:xfrm>
              <a:off x="5371258"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1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3" y="2468"/>
                    <a:pt x="20585" y="2468"/>
                  </a:cubicBezTo>
                  <a:lnTo>
                    <a:pt x="33245" y="2468"/>
                  </a:lnTo>
                  <a:cubicBezTo>
                    <a:pt x="34958" y="2468"/>
                    <a:pt x="35815" y="3322"/>
                    <a:pt x="35624" y="5220"/>
                  </a:cubicBezTo>
                  <a:lnTo>
                    <a:pt x="33245" y="20787"/>
                  </a:lnTo>
                  <a:cubicBezTo>
                    <a:pt x="42287" y="7688"/>
                    <a:pt x="55517" y="0"/>
                    <a:pt x="69890" y="0"/>
                  </a:cubicBezTo>
                  <a:cubicBezTo>
                    <a:pt x="91591" y="0"/>
                    <a:pt x="102727" y="17085"/>
                    <a:pt x="98635" y="42332"/>
                  </a:cubicBezTo>
                  <a:lnTo>
                    <a:pt x="86451" y="117411"/>
                  </a:lnTo>
                  <a:cubicBezTo>
                    <a:pt x="86261" y="119119"/>
                    <a:pt x="85119" y="119784"/>
                    <a:pt x="83691" y="119784"/>
                  </a:cubicBezTo>
                  <a:lnTo>
                    <a:pt x="70175" y="119784"/>
                  </a:lnTo>
                  <a:cubicBezTo>
                    <a:pt x="68462" y="119784"/>
                    <a:pt x="67605" y="118929"/>
                    <a:pt x="67796" y="117031"/>
                  </a:cubicBezTo>
                  <a:lnTo>
                    <a:pt x="79598" y="43851"/>
                  </a:lnTo>
                  <a:cubicBezTo>
                    <a:pt x="82359" y="25627"/>
                    <a:pt x="75981" y="17085"/>
                    <a:pt x="63037" y="17085"/>
                  </a:cubicBezTo>
                  <a:close/>
                </a:path>
              </a:pathLst>
            </a:custGeom>
            <a:grpFill/>
            <a:ln w="9505"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C4FD40E5-4F51-2066-7640-402CEEEF7B50}"/>
                </a:ext>
              </a:extLst>
            </p:cNvPr>
            <p:cNvSpPr/>
            <p:nvPr/>
          </p:nvSpPr>
          <p:spPr>
            <a:xfrm>
              <a:off x="5495789"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1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2"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7"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1" y="105262"/>
                  </a:cubicBezTo>
                  <a:close/>
                </a:path>
              </a:pathLst>
            </a:custGeom>
            <a:grpFill/>
            <a:ln w="9505"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CF13B774-D28D-3E9B-B80E-F46F5BF99BA7}"/>
                </a:ext>
              </a:extLst>
            </p:cNvPr>
            <p:cNvSpPr/>
            <p:nvPr/>
          </p:nvSpPr>
          <p:spPr>
            <a:xfrm>
              <a:off x="5612258" y="3674547"/>
              <a:ext cx="43740" cy="162400"/>
            </a:xfrm>
            <a:custGeom>
              <a:avLst/>
              <a:gdLst>
                <a:gd name="connsiteX0" fmla="*/ 26 w 43740"/>
                <a:gd name="connsiteY0" fmla="*/ 159648 h 162400"/>
                <a:gd name="connsiteX1" fmla="*/ 24869 w 43740"/>
                <a:gd name="connsiteY1" fmla="*/ 2373 h 162400"/>
                <a:gd name="connsiteX2" fmla="*/ 27629 w 43740"/>
                <a:gd name="connsiteY2" fmla="*/ 0 h 162400"/>
                <a:gd name="connsiteX3" fmla="*/ 41335 w 43740"/>
                <a:gd name="connsiteY3" fmla="*/ 0 h 162400"/>
                <a:gd name="connsiteX4" fmla="*/ 43715 w 43740"/>
                <a:gd name="connsiteY4" fmla="*/ 2753 h 162400"/>
                <a:gd name="connsiteX5" fmla="*/ 18872 w 43740"/>
                <a:gd name="connsiteY5" fmla="*/ 160028 h 162400"/>
                <a:gd name="connsiteX6" fmla="*/ 16112 w 43740"/>
                <a:gd name="connsiteY6" fmla="*/ 162401 h 162400"/>
                <a:gd name="connsiteX7" fmla="*/ 2406 w 43740"/>
                <a:gd name="connsiteY7" fmla="*/ 162401 h 162400"/>
                <a:gd name="connsiteX8" fmla="*/ 26 w 43740"/>
                <a:gd name="connsiteY8" fmla="*/ 159648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62400">
                  <a:moveTo>
                    <a:pt x="26" y="159648"/>
                  </a:moveTo>
                  <a:lnTo>
                    <a:pt x="24869" y="2373"/>
                  </a:lnTo>
                  <a:cubicBezTo>
                    <a:pt x="25059" y="664"/>
                    <a:pt x="26201" y="0"/>
                    <a:pt x="27629" y="0"/>
                  </a:cubicBezTo>
                  <a:lnTo>
                    <a:pt x="41335" y="0"/>
                  </a:lnTo>
                  <a:cubicBezTo>
                    <a:pt x="43048" y="0"/>
                    <a:pt x="43905" y="854"/>
                    <a:pt x="43715" y="2753"/>
                  </a:cubicBezTo>
                  <a:lnTo>
                    <a:pt x="18872" y="160028"/>
                  </a:lnTo>
                  <a:cubicBezTo>
                    <a:pt x="18682" y="161737"/>
                    <a:pt x="17635" y="162401"/>
                    <a:pt x="16112" y="162401"/>
                  </a:cubicBezTo>
                  <a:lnTo>
                    <a:pt x="2406" y="162401"/>
                  </a:lnTo>
                  <a:cubicBezTo>
                    <a:pt x="692" y="162401"/>
                    <a:pt x="-164" y="161547"/>
                    <a:pt x="26" y="159648"/>
                  </a:cubicBezTo>
                  <a:close/>
                </a:path>
              </a:pathLst>
            </a:custGeom>
            <a:grpFill/>
            <a:ln w="9505"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AC690D93-E78C-1A58-27CF-A49BE7E25548}"/>
                </a:ext>
              </a:extLst>
            </p:cNvPr>
            <p:cNvSpPr/>
            <p:nvPr/>
          </p:nvSpPr>
          <p:spPr>
            <a:xfrm>
              <a:off x="5669877"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8 w 96077"/>
                <a:gd name="connsiteY11" fmla="*/ 44705 h 122061"/>
                <a:gd name="connsiteX12" fmla="*/ 19505 w 96077"/>
                <a:gd name="connsiteY12" fmla="*/ 73560 h 122061"/>
                <a:gd name="connsiteX13" fmla="*/ 43300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2" y="13478"/>
                    <a:pt x="27786" y="0"/>
                    <a:pt x="53390" y="0"/>
                  </a:cubicBezTo>
                  <a:cubicBezTo>
                    <a:pt x="84514" y="0"/>
                    <a:pt x="100124" y="19932"/>
                    <a:pt x="95175" y="50021"/>
                  </a:cubicBezTo>
                  <a:lnTo>
                    <a:pt x="90701" y="78875"/>
                  </a:lnTo>
                  <a:cubicBezTo>
                    <a:pt x="85752" y="108584"/>
                    <a:pt x="68428" y="122062"/>
                    <a:pt x="42634" y="122062"/>
                  </a:cubicBezTo>
                  <a:cubicBezTo>
                    <a:pt x="11510" y="122062"/>
                    <a:pt x="-3910" y="102129"/>
                    <a:pt x="849" y="72041"/>
                  </a:cubicBezTo>
                  <a:close/>
                  <a:moveTo>
                    <a:pt x="43205" y="105167"/>
                  </a:moveTo>
                  <a:cubicBezTo>
                    <a:pt x="59957" y="105167"/>
                    <a:pt x="69190" y="95295"/>
                    <a:pt x="71950" y="77167"/>
                  </a:cubicBezTo>
                  <a:lnTo>
                    <a:pt x="76709" y="48312"/>
                  </a:lnTo>
                  <a:cubicBezTo>
                    <a:pt x="79946" y="27810"/>
                    <a:pt x="70903" y="16895"/>
                    <a:pt x="52914" y="16895"/>
                  </a:cubicBezTo>
                  <a:cubicBezTo>
                    <a:pt x="36162" y="16895"/>
                    <a:pt x="26929" y="26766"/>
                    <a:pt x="23978" y="44705"/>
                  </a:cubicBezTo>
                  <a:lnTo>
                    <a:pt x="19505" y="73560"/>
                  </a:lnTo>
                  <a:cubicBezTo>
                    <a:pt x="16078" y="94062"/>
                    <a:pt x="25311" y="105262"/>
                    <a:pt x="43300" y="105262"/>
                  </a:cubicBezTo>
                  <a:close/>
                </a:path>
              </a:pathLst>
            </a:custGeom>
            <a:grpFill/>
            <a:ln w="9505"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3379A282-C17F-5304-DDF5-95D06E5D4458}"/>
                </a:ext>
              </a:extLst>
            </p:cNvPr>
            <p:cNvSpPr/>
            <p:nvPr/>
          </p:nvSpPr>
          <p:spPr>
            <a:xfrm>
              <a:off x="5780828" y="3718588"/>
              <a:ext cx="109433" cy="163634"/>
            </a:xfrm>
            <a:custGeom>
              <a:avLst/>
              <a:gdLst>
                <a:gd name="connsiteX0" fmla="*/ 880 w 109433"/>
                <a:gd name="connsiteY0" fmla="*/ 147025 h 163634"/>
                <a:gd name="connsiteX1" fmla="*/ 690 w 109433"/>
                <a:gd name="connsiteY1" fmla="*/ 143418 h 163634"/>
                <a:gd name="connsiteX2" fmla="*/ 7734 w 109433"/>
                <a:gd name="connsiteY2" fmla="*/ 134685 h 163634"/>
                <a:gd name="connsiteX3" fmla="*/ 11350 w 109433"/>
                <a:gd name="connsiteY3" fmla="*/ 134685 h 163634"/>
                <a:gd name="connsiteX4" fmla="*/ 40095 w 109433"/>
                <a:gd name="connsiteY4" fmla="*/ 147309 h 163634"/>
                <a:gd name="connsiteX5" fmla="*/ 74837 w 109433"/>
                <a:gd name="connsiteY5" fmla="*/ 112855 h 163634"/>
                <a:gd name="connsiteX6" fmla="*/ 77026 w 109433"/>
                <a:gd name="connsiteY6" fmla="*/ 98997 h 163634"/>
                <a:gd name="connsiteX7" fmla="*/ 39905 w 109433"/>
                <a:gd name="connsiteY7" fmla="*/ 118645 h 163634"/>
                <a:gd name="connsiteX8" fmla="*/ 8781 w 109433"/>
                <a:gd name="connsiteY8" fmla="*/ 75268 h 163634"/>
                <a:gd name="connsiteX9" fmla="*/ 13920 w 109433"/>
                <a:gd name="connsiteY9" fmla="*/ 43187 h 163634"/>
                <a:gd name="connsiteX10" fmla="*/ 63034 w 109433"/>
                <a:gd name="connsiteY10" fmla="*/ 0 h 163634"/>
                <a:gd name="connsiteX11" fmla="*/ 107865 w 109433"/>
                <a:gd name="connsiteY11" fmla="*/ 10915 h 163634"/>
                <a:gd name="connsiteX12" fmla="*/ 109388 w 109433"/>
                <a:gd name="connsiteY12" fmla="*/ 14142 h 163634"/>
                <a:gd name="connsiteX13" fmla="*/ 93493 w 109433"/>
                <a:gd name="connsiteY13" fmla="*/ 113994 h 163634"/>
                <a:gd name="connsiteX14" fmla="*/ 41333 w 109433"/>
                <a:gd name="connsiteY14" fmla="*/ 163635 h 163634"/>
                <a:gd name="connsiteX15" fmla="*/ 785 w 109433"/>
                <a:gd name="connsiteY15" fmla="*/ 147119 h 163634"/>
                <a:gd name="connsiteX16" fmla="*/ 46758 w 109433"/>
                <a:gd name="connsiteY16" fmla="*/ 101655 h 163634"/>
                <a:gd name="connsiteX17" fmla="*/ 80643 w 109433"/>
                <a:gd name="connsiteY17" fmla="*/ 76217 h 163634"/>
                <a:gd name="connsiteX18" fmla="*/ 89400 w 109433"/>
                <a:gd name="connsiteY18" fmla="*/ 21261 h 163634"/>
                <a:gd name="connsiteX19" fmla="*/ 63225 w 109433"/>
                <a:gd name="connsiteY19" fmla="*/ 15946 h 163634"/>
                <a:gd name="connsiteX20" fmla="*/ 32290 w 109433"/>
                <a:gd name="connsiteY20" fmla="*/ 44800 h 163634"/>
                <a:gd name="connsiteX21" fmla="*/ 27817 w 109433"/>
                <a:gd name="connsiteY21" fmla="*/ 73655 h 163634"/>
                <a:gd name="connsiteX22" fmla="*/ 46663 w 109433"/>
                <a:gd name="connsiteY22" fmla="*/ 101655 h 16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9433" h="163634">
                  <a:moveTo>
                    <a:pt x="880" y="147025"/>
                  </a:moveTo>
                  <a:cubicBezTo>
                    <a:pt x="-357" y="145980"/>
                    <a:pt x="-167" y="144462"/>
                    <a:pt x="690" y="143418"/>
                  </a:cubicBezTo>
                  <a:lnTo>
                    <a:pt x="7734" y="134685"/>
                  </a:lnTo>
                  <a:cubicBezTo>
                    <a:pt x="8781" y="133167"/>
                    <a:pt x="10113" y="133357"/>
                    <a:pt x="11350" y="134685"/>
                  </a:cubicBezTo>
                  <a:cubicBezTo>
                    <a:pt x="18394" y="141994"/>
                    <a:pt x="28293" y="147309"/>
                    <a:pt x="40095" y="147309"/>
                  </a:cubicBezTo>
                  <a:cubicBezTo>
                    <a:pt x="58085" y="147309"/>
                    <a:pt x="71030" y="137913"/>
                    <a:pt x="74837" y="112855"/>
                  </a:cubicBezTo>
                  <a:lnTo>
                    <a:pt x="77026" y="98997"/>
                  </a:lnTo>
                  <a:cubicBezTo>
                    <a:pt x="67603" y="111621"/>
                    <a:pt x="54468" y="118645"/>
                    <a:pt x="39905" y="118645"/>
                  </a:cubicBezTo>
                  <a:cubicBezTo>
                    <a:pt x="17347" y="118645"/>
                    <a:pt x="4497" y="102224"/>
                    <a:pt x="8781" y="75268"/>
                  </a:cubicBezTo>
                  <a:lnTo>
                    <a:pt x="13920" y="43187"/>
                  </a:lnTo>
                  <a:cubicBezTo>
                    <a:pt x="18394" y="15851"/>
                    <a:pt x="33242" y="0"/>
                    <a:pt x="63034" y="0"/>
                  </a:cubicBezTo>
                  <a:cubicBezTo>
                    <a:pt x="78073" y="0"/>
                    <a:pt x="95015" y="4271"/>
                    <a:pt x="107865" y="10915"/>
                  </a:cubicBezTo>
                  <a:cubicBezTo>
                    <a:pt x="109198" y="11580"/>
                    <a:pt x="109578" y="12624"/>
                    <a:pt x="109388" y="14142"/>
                  </a:cubicBezTo>
                  <a:lnTo>
                    <a:pt x="93493" y="113994"/>
                  </a:lnTo>
                  <a:cubicBezTo>
                    <a:pt x="87877" y="147784"/>
                    <a:pt x="67984" y="163635"/>
                    <a:pt x="41333" y="163635"/>
                  </a:cubicBezTo>
                  <a:cubicBezTo>
                    <a:pt x="23343" y="163635"/>
                    <a:pt x="10018" y="156801"/>
                    <a:pt x="785" y="147119"/>
                  </a:cubicBezTo>
                  <a:close/>
                  <a:moveTo>
                    <a:pt x="46758" y="101655"/>
                  </a:moveTo>
                  <a:cubicBezTo>
                    <a:pt x="60464" y="101655"/>
                    <a:pt x="73124" y="92923"/>
                    <a:pt x="80643" y="76217"/>
                  </a:cubicBezTo>
                  <a:lnTo>
                    <a:pt x="89400" y="21261"/>
                  </a:lnTo>
                  <a:cubicBezTo>
                    <a:pt x="81214" y="18034"/>
                    <a:pt x="71791" y="15946"/>
                    <a:pt x="63225" y="15946"/>
                  </a:cubicBezTo>
                  <a:cubicBezTo>
                    <a:pt x="44759" y="15946"/>
                    <a:pt x="35336" y="26197"/>
                    <a:pt x="32290" y="44800"/>
                  </a:cubicBezTo>
                  <a:lnTo>
                    <a:pt x="27817" y="73655"/>
                  </a:lnTo>
                  <a:cubicBezTo>
                    <a:pt x="24581" y="93112"/>
                    <a:pt x="32290" y="101655"/>
                    <a:pt x="46663" y="101655"/>
                  </a:cubicBezTo>
                  <a:close/>
                </a:path>
              </a:pathLst>
            </a:custGeom>
            <a:grpFill/>
            <a:ln w="9505" cap="flat">
              <a:noFill/>
              <a:prstDash val="solid"/>
              <a:miter/>
            </a:ln>
          </p:spPr>
          <p:txBody>
            <a:bodyPr rtlCol="0" anchor="ctr"/>
            <a:lstStyle/>
            <a:p>
              <a:endParaRPr lang="en-US"/>
            </a:p>
          </p:txBody>
        </p:sp>
        <p:sp>
          <p:nvSpPr>
            <p:cNvPr id="61" name="Freeform 60">
              <a:extLst>
                <a:ext uri="{FF2B5EF4-FFF2-40B4-BE49-F238E27FC236}">
                  <a16:creationId xmlns:a16="http://schemas.microsoft.com/office/drawing/2014/main" id="{2BC638F1-7F63-0A41-45AE-7044FDE76A9E}"/>
                </a:ext>
              </a:extLst>
            </p:cNvPr>
            <p:cNvSpPr/>
            <p:nvPr/>
          </p:nvSpPr>
          <p:spPr>
            <a:xfrm>
              <a:off x="5909702"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2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9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8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6" y="45654"/>
                    <a:pt x="19062" y="44990"/>
                    <a:pt x="20585" y="44990"/>
                  </a:cubicBezTo>
                  <a:lnTo>
                    <a:pt x="34292" y="44990"/>
                  </a:lnTo>
                  <a:cubicBezTo>
                    <a:pt x="36005" y="44990"/>
                    <a:pt x="36862"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9" y="664"/>
                    <a:pt x="26011" y="0"/>
                    <a:pt x="27439" y="0"/>
                  </a:cubicBezTo>
                  <a:lnTo>
                    <a:pt x="41145" y="0"/>
                  </a:lnTo>
                  <a:cubicBezTo>
                    <a:pt x="42858" y="0"/>
                    <a:pt x="43715" y="854"/>
                    <a:pt x="43524" y="2753"/>
                  </a:cubicBezTo>
                  <a:lnTo>
                    <a:pt x="40098" y="24393"/>
                  </a:lnTo>
                  <a:cubicBezTo>
                    <a:pt x="39907" y="26102"/>
                    <a:pt x="38765" y="26766"/>
                    <a:pt x="37338" y="26766"/>
                  </a:cubicBezTo>
                  <a:lnTo>
                    <a:pt x="23822" y="26766"/>
                  </a:lnTo>
                  <a:cubicBezTo>
                    <a:pt x="22108" y="26766"/>
                    <a:pt x="21252" y="25912"/>
                    <a:pt x="21442" y="24014"/>
                  </a:cubicBezTo>
                  <a:close/>
                </a:path>
              </a:pathLst>
            </a:custGeom>
            <a:grpFill/>
            <a:ln w="9505" cap="flat">
              <a:noFill/>
              <a:prstDash val="solid"/>
              <a:miter/>
            </a:ln>
          </p:spPr>
          <p:txBody>
            <a:bodyPr rtlCol="0" anchor="ctr"/>
            <a:lstStyle/>
            <a:p>
              <a:endParaRPr lang="en-US"/>
            </a:p>
          </p:txBody>
        </p:sp>
        <p:sp>
          <p:nvSpPr>
            <p:cNvPr id="62" name="Freeform 61">
              <a:extLst>
                <a:ext uri="{FF2B5EF4-FFF2-40B4-BE49-F238E27FC236}">
                  <a16:creationId xmlns:a16="http://schemas.microsoft.com/office/drawing/2014/main" id="{619F1D75-8B51-5E0C-75A9-420C6FED29B2}"/>
                </a:ext>
              </a:extLst>
            </p:cNvPr>
            <p:cNvSpPr/>
            <p:nvPr/>
          </p:nvSpPr>
          <p:spPr>
            <a:xfrm>
              <a:off x="5967216"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7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7"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8"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F954EB04-CBFC-592C-7A97-261C57B25968}"/>
                </a:ext>
              </a:extLst>
            </p:cNvPr>
            <p:cNvSpPr/>
            <p:nvPr/>
          </p:nvSpPr>
          <p:spPr>
            <a:xfrm>
              <a:off x="6078199" y="3717354"/>
              <a:ext cx="92615" cy="122061"/>
            </a:xfrm>
            <a:custGeom>
              <a:avLst/>
              <a:gdLst>
                <a:gd name="connsiteX0" fmla="*/ 97 w 92615"/>
                <a:gd name="connsiteY0" fmla="*/ 92828 h 122061"/>
                <a:gd name="connsiteX1" fmla="*/ 2001 w 92615"/>
                <a:gd name="connsiteY1" fmla="*/ 89601 h 122061"/>
                <a:gd name="connsiteX2" fmla="*/ 12947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1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1 w 92615"/>
                <a:gd name="connsiteY13" fmla="*/ 15281 h 122061"/>
                <a:gd name="connsiteX14" fmla="*/ 30365 w 92615"/>
                <a:gd name="connsiteY14" fmla="*/ 32176 h 122061"/>
                <a:gd name="connsiteX15" fmla="*/ 52638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7" y="85994"/>
                  </a:lnTo>
                  <a:cubicBezTo>
                    <a:pt x="14469" y="85614"/>
                    <a:pt x="15707" y="85994"/>
                    <a:pt x="16183" y="87702"/>
                  </a:cubicBezTo>
                  <a:cubicBezTo>
                    <a:pt x="19419" y="98997"/>
                    <a:pt x="28842" y="106496"/>
                    <a:pt x="44261" y="106496"/>
                  </a:cubicBezTo>
                  <a:cubicBezTo>
                    <a:pt x="57968" y="106496"/>
                    <a:pt x="67200" y="98997"/>
                    <a:pt x="67200" y="88082"/>
                  </a:cubicBezTo>
                  <a:cubicBezTo>
                    <a:pt x="67200" y="78685"/>
                    <a:pt x="63107" y="74414"/>
                    <a:pt x="44071" y="66916"/>
                  </a:cubicBezTo>
                  <a:cubicBezTo>
                    <a:pt x="19419" y="57329"/>
                    <a:pt x="11709" y="48312"/>
                    <a:pt x="11709" y="33126"/>
                  </a:cubicBezTo>
                  <a:cubicBezTo>
                    <a:pt x="11709" y="13478"/>
                    <a:pt x="28461" y="0"/>
                    <a:pt x="51591" y="0"/>
                  </a:cubicBezTo>
                  <a:cubicBezTo>
                    <a:pt x="74720" y="0"/>
                    <a:pt x="89378" y="10915"/>
                    <a:pt x="92519" y="27810"/>
                  </a:cubicBezTo>
                  <a:cubicBezTo>
                    <a:pt x="92899" y="29329"/>
                    <a:pt x="92138" y="30373"/>
                    <a:pt x="90615" y="30848"/>
                  </a:cubicBezTo>
                  <a:lnTo>
                    <a:pt x="79669" y="34075"/>
                  </a:lnTo>
                  <a:cubicBezTo>
                    <a:pt x="78146" y="34454"/>
                    <a:pt x="76909" y="33885"/>
                    <a:pt x="76433" y="32176"/>
                  </a:cubicBezTo>
                  <a:cubicBezTo>
                    <a:pt x="73387" y="21071"/>
                    <a:pt x="64440" y="15281"/>
                    <a:pt x="51591" y="15281"/>
                  </a:cubicBezTo>
                  <a:cubicBezTo>
                    <a:pt x="38741" y="15281"/>
                    <a:pt x="30365" y="21926"/>
                    <a:pt x="30365" y="32176"/>
                  </a:cubicBezTo>
                  <a:cubicBezTo>
                    <a:pt x="30365" y="39865"/>
                    <a:pt x="34838" y="44610"/>
                    <a:pt x="52638"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1077994C-9AEA-7C04-FE6E-29134A141734}"/>
                </a:ext>
              </a:extLst>
            </p:cNvPr>
            <p:cNvSpPr/>
            <p:nvPr/>
          </p:nvSpPr>
          <p:spPr>
            <a:xfrm>
              <a:off x="6187824" y="3803347"/>
              <a:ext cx="22800" cy="33600"/>
            </a:xfrm>
            <a:custGeom>
              <a:avLst/>
              <a:gdLst>
                <a:gd name="connsiteX0" fmla="*/ 26 w 22800"/>
                <a:gd name="connsiteY0" fmla="*/ 30848 h 33600"/>
                <a:gd name="connsiteX1" fmla="*/ 4500 w 22800"/>
                <a:gd name="connsiteY1" fmla="*/ 2373 h 33600"/>
                <a:gd name="connsiteX2" fmla="*/ 7260 w 22800"/>
                <a:gd name="connsiteY2" fmla="*/ 0 h 33600"/>
                <a:gd name="connsiteX3" fmla="*/ 20395 w 22800"/>
                <a:gd name="connsiteY3" fmla="*/ 0 h 33600"/>
                <a:gd name="connsiteX4" fmla="*/ 22775 w 22800"/>
                <a:gd name="connsiteY4" fmla="*/ 2753 h 33600"/>
                <a:gd name="connsiteX5" fmla="*/ 18491 w 22800"/>
                <a:gd name="connsiteY5" fmla="*/ 31227 h 33600"/>
                <a:gd name="connsiteX6" fmla="*/ 15731 w 22800"/>
                <a:gd name="connsiteY6" fmla="*/ 33600 h 33600"/>
                <a:gd name="connsiteX7" fmla="*/ 2406 w 22800"/>
                <a:gd name="connsiteY7" fmla="*/ 33600 h 33600"/>
                <a:gd name="connsiteX8" fmla="*/ 26 w 22800"/>
                <a:gd name="connsiteY8" fmla="*/ 30848 h 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00" h="33600">
                  <a:moveTo>
                    <a:pt x="26" y="30848"/>
                  </a:moveTo>
                  <a:lnTo>
                    <a:pt x="4500" y="2373"/>
                  </a:lnTo>
                  <a:cubicBezTo>
                    <a:pt x="4690" y="664"/>
                    <a:pt x="5737" y="0"/>
                    <a:pt x="7260" y="0"/>
                  </a:cubicBezTo>
                  <a:lnTo>
                    <a:pt x="20395" y="0"/>
                  </a:lnTo>
                  <a:cubicBezTo>
                    <a:pt x="22108" y="0"/>
                    <a:pt x="22965" y="854"/>
                    <a:pt x="22775" y="2753"/>
                  </a:cubicBezTo>
                  <a:lnTo>
                    <a:pt x="18491" y="31227"/>
                  </a:lnTo>
                  <a:cubicBezTo>
                    <a:pt x="18301" y="32936"/>
                    <a:pt x="17159" y="33600"/>
                    <a:pt x="15731" y="33600"/>
                  </a:cubicBezTo>
                  <a:lnTo>
                    <a:pt x="2406" y="33600"/>
                  </a:lnTo>
                  <a:cubicBezTo>
                    <a:pt x="692" y="33600"/>
                    <a:pt x="-164" y="32746"/>
                    <a:pt x="26" y="30848"/>
                  </a:cubicBezTo>
                  <a:close/>
                </a:path>
              </a:pathLst>
            </a:custGeom>
            <a:grpFill/>
            <a:ln w="9505" cap="flat">
              <a:noFill/>
              <a:prstDash val="solid"/>
              <a:miter/>
            </a:ln>
          </p:spPr>
          <p:txBody>
            <a:bodyPr rtlCol="0" anchor="ctr"/>
            <a:lstStyle/>
            <a:p>
              <a:endParaRPr lang="en-US"/>
            </a:p>
          </p:txBody>
        </p:sp>
        <p:sp>
          <p:nvSpPr>
            <p:cNvPr id="1025" name="Freeform 1024">
              <a:extLst>
                <a:ext uri="{FF2B5EF4-FFF2-40B4-BE49-F238E27FC236}">
                  <a16:creationId xmlns:a16="http://schemas.microsoft.com/office/drawing/2014/main" id="{A6B05F19-57B6-0B55-519C-EB2FB0A5948F}"/>
                </a:ext>
              </a:extLst>
            </p:cNvPr>
            <p:cNvSpPr/>
            <p:nvPr/>
          </p:nvSpPr>
          <p:spPr>
            <a:xfrm>
              <a:off x="6302449" y="3680337"/>
              <a:ext cx="107867" cy="156516"/>
            </a:xfrm>
            <a:custGeom>
              <a:avLst/>
              <a:gdLst>
                <a:gd name="connsiteX0" fmla="*/ 0 w 107867"/>
                <a:gd name="connsiteY0" fmla="*/ 153858 h 156516"/>
                <a:gd name="connsiteX1" fmla="*/ 23986 w 107867"/>
                <a:gd name="connsiteY1" fmla="*/ 2373 h 156516"/>
                <a:gd name="connsiteX2" fmla="*/ 26746 w 107867"/>
                <a:gd name="connsiteY2" fmla="*/ 0 h 156516"/>
                <a:gd name="connsiteX3" fmla="*/ 105462 w 107867"/>
                <a:gd name="connsiteY3" fmla="*/ 0 h 156516"/>
                <a:gd name="connsiteX4" fmla="*/ 107841 w 107867"/>
                <a:gd name="connsiteY4" fmla="*/ 2752 h 156516"/>
                <a:gd name="connsiteX5" fmla="*/ 105938 w 107867"/>
                <a:gd name="connsiteY5" fmla="*/ 15376 h 156516"/>
                <a:gd name="connsiteX6" fmla="*/ 103177 w 107867"/>
                <a:gd name="connsiteY6" fmla="*/ 17749 h 156516"/>
                <a:gd name="connsiteX7" fmla="*/ 40928 w 107867"/>
                <a:gd name="connsiteY7" fmla="*/ 17749 h 156516"/>
                <a:gd name="connsiteX8" fmla="*/ 33028 w 107867"/>
                <a:gd name="connsiteY8" fmla="*/ 68244 h 156516"/>
                <a:gd name="connsiteX9" fmla="*/ 88995 w 107867"/>
                <a:gd name="connsiteY9" fmla="*/ 68244 h 156516"/>
                <a:gd name="connsiteX10" fmla="*/ 91375 w 107867"/>
                <a:gd name="connsiteY10" fmla="*/ 70997 h 156516"/>
                <a:gd name="connsiteX11" fmla="*/ 89661 w 107867"/>
                <a:gd name="connsiteY11" fmla="*/ 82956 h 156516"/>
                <a:gd name="connsiteX12" fmla="*/ 86901 w 107867"/>
                <a:gd name="connsiteY12" fmla="*/ 85329 h 156516"/>
                <a:gd name="connsiteX13" fmla="*/ 30458 w 107867"/>
                <a:gd name="connsiteY13" fmla="*/ 85329 h 156516"/>
                <a:gd name="connsiteX14" fmla="*/ 22082 w 107867"/>
                <a:gd name="connsiteY14" fmla="*/ 138767 h 156516"/>
                <a:gd name="connsiteX15" fmla="*/ 83475 w 107867"/>
                <a:gd name="connsiteY15" fmla="*/ 138767 h 156516"/>
                <a:gd name="connsiteX16" fmla="*/ 85854 w 107867"/>
                <a:gd name="connsiteY16" fmla="*/ 141519 h 156516"/>
                <a:gd name="connsiteX17" fmla="*/ 84141 w 107867"/>
                <a:gd name="connsiteY17" fmla="*/ 154143 h 156516"/>
                <a:gd name="connsiteX18" fmla="*/ 81381 w 107867"/>
                <a:gd name="connsiteY18" fmla="*/ 156516 h 156516"/>
                <a:gd name="connsiteX19" fmla="*/ 2475 w 107867"/>
                <a:gd name="connsiteY19" fmla="*/ 156516 h 156516"/>
                <a:gd name="connsiteX20" fmla="*/ 95 w 107867"/>
                <a:gd name="connsiteY20" fmla="*/ 153764 h 15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867" h="156516">
                  <a:moveTo>
                    <a:pt x="0" y="153858"/>
                  </a:moveTo>
                  <a:lnTo>
                    <a:pt x="23986" y="2373"/>
                  </a:lnTo>
                  <a:cubicBezTo>
                    <a:pt x="24176" y="664"/>
                    <a:pt x="25223" y="0"/>
                    <a:pt x="26746" y="0"/>
                  </a:cubicBezTo>
                  <a:lnTo>
                    <a:pt x="105462" y="0"/>
                  </a:lnTo>
                  <a:cubicBezTo>
                    <a:pt x="107175" y="0"/>
                    <a:pt x="108032" y="854"/>
                    <a:pt x="107841" y="2752"/>
                  </a:cubicBezTo>
                  <a:lnTo>
                    <a:pt x="105938" y="15376"/>
                  </a:lnTo>
                  <a:cubicBezTo>
                    <a:pt x="105747" y="17085"/>
                    <a:pt x="104605" y="17749"/>
                    <a:pt x="103177" y="17749"/>
                  </a:cubicBezTo>
                  <a:lnTo>
                    <a:pt x="40928" y="17749"/>
                  </a:lnTo>
                  <a:lnTo>
                    <a:pt x="33028" y="68244"/>
                  </a:lnTo>
                  <a:lnTo>
                    <a:pt x="88995" y="68244"/>
                  </a:lnTo>
                  <a:cubicBezTo>
                    <a:pt x="90708" y="68244"/>
                    <a:pt x="91565" y="69099"/>
                    <a:pt x="91375" y="70997"/>
                  </a:cubicBezTo>
                  <a:lnTo>
                    <a:pt x="89661" y="82956"/>
                  </a:lnTo>
                  <a:cubicBezTo>
                    <a:pt x="89471" y="84665"/>
                    <a:pt x="88329" y="85329"/>
                    <a:pt x="86901" y="85329"/>
                  </a:cubicBezTo>
                  <a:lnTo>
                    <a:pt x="30458" y="85329"/>
                  </a:lnTo>
                  <a:lnTo>
                    <a:pt x="22082" y="138767"/>
                  </a:lnTo>
                  <a:lnTo>
                    <a:pt x="83475" y="138767"/>
                  </a:lnTo>
                  <a:cubicBezTo>
                    <a:pt x="85188" y="138767"/>
                    <a:pt x="86045" y="139621"/>
                    <a:pt x="85854" y="141519"/>
                  </a:cubicBezTo>
                  <a:lnTo>
                    <a:pt x="84141" y="154143"/>
                  </a:lnTo>
                  <a:cubicBezTo>
                    <a:pt x="83951" y="155852"/>
                    <a:pt x="82808" y="156516"/>
                    <a:pt x="81381" y="156516"/>
                  </a:cubicBezTo>
                  <a:lnTo>
                    <a:pt x="2475" y="156516"/>
                  </a:lnTo>
                  <a:cubicBezTo>
                    <a:pt x="761" y="156516"/>
                    <a:pt x="-95" y="155662"/>
                    <a:pt x="95" y="153764"/>
                  </a:cubicBezTo>
                  <a:close/>
                </a:path>
              </a:pathLst>
            </a:custGeom>
            <a:grpFill/>
            <a:ln w="9505"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E812E168-669A-27DD-09B5-FCB6269642CB}"/>
                </a:ext>
              </a:extLst>
            </p:cNvPr>
            <p:cNvSpPr/>
            <p:nvPr/>
          </p:nvSpPr>
          <p:spPr>
            <a:xfrm>
              <a:off x="6414667" y="3717354"/>
              <a:ext cx="92615" cy="122061"/>
            </a:xfrm>
            <a:custGeom>
              <a:avLst/>
              <a:gdLst>
                <a:gd name="connsiteX0" fmla="*/ 97 w 92615"/>
                <a:gd name="connsiteY0" fmla="*/ 92828 h 122061"/>
                <a:gd name="connsiteX1" fmla="*/ 2001 w 92615"/>
                <a:gd name="connsiteY1" fmla="*/ 89601 h 122061"/>
                <a:gd name="connsiteX2" fmla="*/ 12947 w 92615"/>
                <a:gd name="connsiteY2" fmla="*/ 85994 h 122061"/>
                <a:gd name="connsiteX3" fmla="*/ 16183 w 92615"/>
                <a:gd name="connsiteY3" fmla="*/ 87702 h 122061"/>
                <a:gd name="connsiteX4" fmla="*/ 44262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0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0 w 92615"/>
                <a:gd name="connsiteY13" fmla="*/ 15281 h 122061"/>
                <a:gd name="connsiteX14" fmla="*/ 30365 w 92615"/>
                <a:gd name="connsiteY14" fmla="*/ 32176 h 122061"/>
                <a:gd name="connsiteX15" fmla="*/ 52638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7" y="85994"/>
                  </a:lnTo>
                  <a:cubicBezTo>
                    <a:pt x="14470" y="85614"/>
                    <a:pt x="15707" y="85994"/>
                    <a:pt x="16183" y="87702"/>
                  </a:cubicBezTo>
                  <a:cubicBezTo>
                    <a:pt x="19419" y="98997"/>
                    <a:pt x="28842" y="106496"/>
                    <a:pt x="44262" y="106496"/>
                  </a:cubicBezTo>
                  <a:cubicBezTo>
                    <a:pt x="57968" y="106496"/>
                    <a:pt x="67200" y="98997"/>
                    <a:pt x="67200" y="88082"/>
                  </a:cubicBezTo>
                  <a:cubicBezTo>
                    <a:pt x="67200" y="78685"/>
                    <a:pt x="63107" y="74414"/>
                    <a:pt x="44071" y="66916"/>
                  </a:cubicBezTo>
                  <a:cubicBezTo>
                    <a:pt x="19419" y="57329"/>
                    <a:pt x="11709" y="48312"/>
                    <a:pt x="11709" y="33126"/>
                  </a:cubicBezTo>
                  <a:cubicBezTo>
                    <a:pt x="11709" y="13478"/>
                    <a:pt x="28461" y="0"/>
                    <a:pt x="51590" y="0"/>
                  </a:cubicBezTo>
                  <a:cubicBezTo>
                    <a:pt x="74720" y="0"/>
                    <a:pt x="89378" y="10915"/>
                    <a:pt x="92519" y="27810"/>
                  </a:cubicBezTo>
                  <a:cubicBezTo>
                    <a:pt x="92899" y="29329"/>
                    <a:pt x="92138" y="30373"/>
                    <a:pt x="90615" y="30848"/>
                  </a:cubicBezTo>
                  <a:lnTo>
                    <a:pt x="79669" y="34075"/>
                  </a:lnTo>
                  <a:cubicBezTo>
                    <a:pt x="78146" y="34454"/>
                    <a:pt x="76909" y="33885"/>
                    <a:pt x="76433" y="32176"/>
                  </a:cubicBezTo>
                  <a:cubicBezTo>
                    <a:pt x="73387" y="21071"/>
                    <a:pt x="64440" y="15281"/>
                    <a:pt x="51590" y="15281"/>
                  </a:cubicBezTo>
                  <a:cubicBezTo>
                    <a:pt x="38741" y="15281"/>
                    <a:pt x="30365" y="21926"/>
                    <a:pt x="30365" y="32176"/>
                  </a:cubicBezTo>
                  <a:cubicBezTo>
                    <a:pt x="30365" y="39865"/>
                    <a:pt x="34839" y="44610"/>
                    <a:pt x="52638" y="51634"/>
                  </a:cubicBezTo>
                  <a:cubicBezTo>
                    <a:pt x="77956" y="61505"/>
                    <a:pt x="85666" y="71092"/>
                    <a:pt x="85666" y="86943"/>
                  </a:cubicBezTo>
                  <a:cubicBezTo>
                    <a:pt x="85666" y="108773"/>
                    <a:pt x="67866" y="122062"/>
                    <a:pt x="43405" y="122062"/>
                  </a:cubicBezTo>
                  <a:cubicBezTo>
                    <a:pt x="20466" y="122062"/>
                    <a:pt x="3714" y="110482"/>
                    <a:pt x="97" y="92923"/>
                  </a:cubicBezTo>
                  <a:close/>
                </a:path>
              </a:pathLst>
            </a:custGeom>
            <a:grpFill/>
            <a:ln w="9505"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9B195E50-4473-2730-6792-DAE119D6DC3B}"/>
                </a:ext>
              </a:extLst>
            </p:cNvPr>
            <p:cNvSpPr/>
            <p:nvPr/>
          </p:nvSpPr>
          <p:spPr>
            <a:xfrm>
              <a:off x="6521652" y="3717354"/>
              <a:ext cx="92615" cy="122061"/>
            </a:xfrm>
            <a:custGeom>
              <a:avLst/>
              <a:gdLst>
                <a:gd name="connsiteX0" fmla="*/ 97 w 92615"/>
                <a:gd name="connsiteY0" fmla="*/ 92828 h 122061"/>
                <a:gd name="connsiteX1" fmla="*/ 2001 w 92615"/>
                <a:gd name="connsiteY1" fmla="*/ 89601 h 122061"/>
                <a:gd name="connsiteX2" fmla="*/ 12946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1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1 w 92615"/>
                <a:gd name="connsiteY13" fmla="*/ 15281 h 122061"/>
                <a:gd name="connsiteX14" fmla="*/ 30365 w 92615"/>
                <a:gd name="connsiteY14" fmla="*/ 32176 h 122061"/>
                <a:gd name="connsiteX15" fmla="*/ 52637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6" y="85994"/>
                  </a:lnTo>
                  <a:cubicBezTo>
                    <a:pt x="14469" y="85614"/>
                    <a:pt x="15707" y="85994"/>
                    <a:pt x="16183" y="87702"/>
                  </a:cubicBezTo>
                  <a:cubicBezTo>
                    <a:pt x="19419" y="98997"/>
                    <a:pt x="28842" y="106496"/>
                    <a:pt x="44261" y="106496"/>
                  </a:cubicBezTo>
                  <a:cubicBezTo>
                    <a:pt x="57968" y="106496"/>
                    <a:pt x="67200" y="98997"/>
                    <a:pt x="67200" y="88082"/>
                  </a:cubicBezTo>
                  <a:cubicBezTo>
                    <a:pt x="67200" y="78685"/>
                    <a:pt x="63108" y="74414"/>
                    <a:pt x="44071" y="66916"/>
                  </a:cubicBezTo>
                  <a:cubicBezTo>
                    <a:pt x="19419" y="57329"/>
                    <a:pt x="11709" y="48312"/>
                    <a:pt x="11709" y="33126"/>
                  </a:cubicBezTo>
                  <a:cubicBezTo>
                    <a:pt x="11709" y="13478"/>
                    <a:pt x="28461" y="0"/>
                    <a:pt x="51591" y="0"/>
                  </a:cubicBezTo>
                  <a:cubicBezTo>
                    <a:pt x="74720" y="0"/>
                    <a:pt x="89378" y="10915"/>
                    <a:pt x="92519" y="27810"/>
                  </a:cubicBezTo>
                  <a:cubicBezTo>
                    <a:pt x="92900" y="29329"/>
                    <a:pt x="92138" y="30373"/>
                    <a:pt x="90615" y="30848"/>
                  </a:cubicBezTo>
                  <a:lnTo>
                    <a:pt x="79669" y="34075"/>
                  </a:lnTo>
                  <a:cubicBezTo>
                    <a:pt x="78146" y="34454"/>
                    <a:pt x="76909" y="33885"/>
                    <a:pt x="76433" y="32176"/>
                  </a:cubicBezTo>
                  <a:cubicBezTo>
                    <a:pt x="73387" y="21071"/>
                    <a:pt x="64440" y="15281"/>
                    <a:pt x="51591" y="15281"/>
                  </a:cubicBezTo>
                  <a:cubicBezTo>
                    <a:pt x="38741" y="15281"/>
                    <a:pt x="30365" y="21926"/>
                    <a:pt x="30365" y="32176"/>
                  </a:cubicBezTo>
                  <a:cubicBezTo>
                    <a:pt x="30365" y="39865"/>
                    <a:pt x="34838" y="44610"/>
                    <a:pt x="52637"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4A60D222-1E3F-0E2E-0B71-273E687B6BA8}"/>
                </a:ext>
              </a:extLst>
            </p:cNvPr>
            <p:cNvSpPr/>
            <p:nvPr/>
          </p:nvSpPr>
          <p:spPr>
            <a:xfrm>
              <a:off x="6634632"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7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7"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8"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982481E7-D083-CBBF-A5AA-72DFCFD9B773}"/>
                </a:ext>
              </a:extLst>
            </p:cNvPr>
            <p:cNvSpPr/>
            <p:nvPr/>
          </p:nvSpPr>
          <p:spPr>
            <a:xfrm>
              <a:off x="6748541"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2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2" y="2468"/>
                    <a:pt x="20585" y="2468"/>
                  </a:cubicBezTo>
                  <a:lnTo>
                    <a:pt x="33245" y="2468"/>
                  </a:lnTo>
                  <a:cubicBezTo>
                    <a:pt x="34958" y="2468"/>
                    <a:pt x="35815" y="3322"/>
                    <a:pt x="35624" y="5220"/>
                  </a:cubicBezTo>
                  <a:lnTo>
                    <a:pt x="33245" y="20787"/>
                  </a:lnTo>
                  <a:cubicBezTo>
                    <a:pt x="42287" y="7688"/>
                    <a:pt x="55517" y="0"/>
                    <a:pt x="69890" y="0"/>
                  </a:cubicBezTo>
                  <a:cubicBezTo>
                    <a:pt x="91591" y="0"/>
                    <a:pt x="102728" y="17085"/>
                    <a:pt x="98635" y="42332"/>
                  </a:cubicBezTo>
                  <a:lnTo>
                    <a:pt x="86452" y="117411"/>
                  </a:lnTo>
                  <a:cubicBezTo>
                    <a:pt x="86261" y="119119"/>
                    <a:pt x="85119" y="119784"/>
                    <a:pt x="83691" y="119784"/>
                  </a:cubicBezTo>
                  <a:lnTo>
                    <a:pt x="70175" y="119784"/>
                  </a:lnTo>
                  <a:cubicBezTo>
                    <a:pt x="68462" y="119784"/>
                    <a:pt x="67605" y="118929"/>
                    <a:pt x="67796" y="117031"/>
                  </a:cubicBezTo>
                  <a:lnTo>
                    <a:pt x="79598" y="43851"/>
                  </a:lnTo>
                  <a:cubicBezTo>
                    <a:pt x="82358" y="25627"/>
                    <a:pt x="75981" y="17085"/>
                    <a:pt x="63037" y="17085"/>
                  </a:cubicBezTo>
                  <a:close/>
                </a:path>
              </a:pathLst>
            </a:custGeom>
            <a:grpFill/>
            <a:ln w="9505"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4535E410-E8FA-D8BB-38E5-C81A2DA97C0D}"/>
                </a:ext>
              </a:extLst>
            </p:cNvPr>
            <p:cNvSpPr/>
            <p:nvPr/>
          </p:nvSpPr>
          <p:spPr>
            <a:xfrm>
              <a:off x="6873420"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39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9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7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39"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9"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7"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474654DA-472B-E3E0-CFC2-18C0AE792295}"/>
                </a:ext>
              </a:extLst>
            </p:cNvPr>
            <p:cNvSpPr/>
            <p:nvPr/>
          </p:nvSpPr>
          <p:spPr>
            <a:xfrm>
              <a:off x="6946806"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1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8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7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5" y="45654"/>
                    <a:pt x="19063" y="44990"/>
                    <a:pt x="20585" y="44990"/>
                  </a:cubicBezTo>
                  <a:lnTo>
                    <a:pt x="34291" y="44990"/>
                  </a:lnTo>
                  <a:cubicBezTo>
                    <a:pt x="36005" y="44990"/>
                    <a:pt x="36862"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9" y="664"/>
                    <a:pt x="26011" y="0"/>
                    <a:pt x="27438" y="0"/>
                  </a:cubicBezTo>
                  <a:lnTo>
                    <a:pt x="41145" y="0"/>
                  </a:lnTo>
                  <a:cubicBezTo>
                    <a:pt x="42858" y="0"/>
                    <a:pt x="43715" y="854"/>
                    <a:pt x="43524" y="2753"/>
                  </a:cubicBezTo>
                  <a:lnTo>
                    <a:pt x="40098" y="24393"/>
                  </a:lnTo>
                  <a:cubicBezTo>
                    <a:pt x="39907" y="26102"/>
                    <a:pt x="38765" y="26766"/>
                    <a:pt x="37337" y="26766"/>
                  </a:cubicBezTo>
                  <a:lnTo>
                    <a:pt x="23822" y="26766"/>
                  </a:lnTo>
                  <a:cubicBezTo>
                    <a:pt x="22108" y="26766"/>
                    <a:pt x="21252" y="25912"/>
                    <a:pt x="21442" y="24014"/>
                  </a:cubicBezTo>
                  <a:close/>
                </a:path>
              </a:pathLst>
            </a:custGeom>
            <a:grpFill/>
            <a:ln w="9505"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071DF36F-E5FC-3BB2-F04B-EF4328D10EDE}"/>
                </a:ext>
              </a:extLst>
            </p:cNvPr>
            <p:cNvSpPr/>
            <p:nvPr/>
          </p:nvSpPr>
          <p:spPr>
            <a:xfrm>
              <a:off x="7003343" y="3718493"/>
              <a:ext cx="101822" cy="120922"/>
            </a:xfrm>
            <a:custGeom>
              <a:avLst/>
              <a:gdLst>
                <a:gd name="connsiteX0" fmla="*/ 979 w 101822"/>
                <a:gd name="connsiteY0" fmla="*/ 76312 h 120922"/>
                <a:gd name="connsiteX1" fmla="*/ 6309 w 101822"/>
                <a:gd name="connsiteY1" fmla="*/ 43187 h 120922"/>
                <a:gd name="connsiteX2" fmla="*/ 55423 w 101822"/>
                <a:gd name="connsiteY2" fmla="*/ 0 h 120922"/>
                <a:gd name="connsiteX3" fmla="*/ 100253 w 101822"/>
                <a:gd name="connsiteY3" fmla="*/ 10915 h 120922"/>
                <a:gd name="connsiteX4" fmla="*/ 101776 w 101822"/>
                <a:gd name="connsiteY4" fmla="*/ 14142 h 120922"/>
                <a:gd name="connsiteX5" fmla="*/ 85691 w 101822"/>
                <a:gd name="connsiteY5" fmla="*/ 116177 h 120922"/>
                <a:gd name="connsiteX6" fmla="*/ 82930 w 101822"/>
                <a:gd name="connsiteY6" fmla="*/ 118550 h 120922"/>
                <a:gd name="connsiteX7" fmla="*/ 70271 w 101822"/>
                <a:gd name="connsiteY7" fmla="*/ 118550 h 120922"/>
                <a:gd name="connsiteX8" fmla="*/ 67892 w 101822"/>
                <a:gd name="connsiteY8" fmla="*/ 115797 h 120922"/>
                <a:gd name="connsiteX9" fmla="*/ 70462 w 101822"/>
                <a:gd name="connsiteY9" fmla="*/ 98902 h 120922"/>
                <a:gd name="connsiteX10" fmla="*/ 31818 w 101822"/>
                <a:gd name="connsiteY10" fmla="*/ 120923 h 120922"/>
                <a:gd name="connsiteX11" fmla="*/ 884 w 101822"/>
                <a:gd name="connsiteY11" fmla="*/ 76407 h 120922"/>
                <a:gd name="connsiteX12" fmla="*/ 38956 w 101822"/>
                <a:gd name="connsiteY12" fmla="*/ 103933 h 120922"/>
                <a:gd name="connsiteX13" fmla="*/ 73031 w 101822"/>
                <a:gd name="connsiteY13" fmla="*/ 76787 h 120922"/>
                <a:gd name="connsiteX14" fmla="*/ 81788 w 101822"/>
                <a:gd name="connsiteY14" fmla="*/ 21356 h 120922"/>
                <a:gd name="connsiteX15" fmla="*/ 55613 w 101822"/>
                <a:gd name="connsiteY15" fmla="*/ 16041 h 120922"/>
                <a:gd name="connsiteX16" fmla="*/ 24679 w 101822"/>
                <a:gd name="connsiteY16" fmla="*/ 44895 h 120922"/>
                <a:gd name="connsiteX17" fmla="*/ 19920 w 101822"/>
                <a:gd name="connsiteY17" fmla="*/ 74889 h 120922"/>
                <a:gd name="connsiteX18" fmla="*/ 38766 w 101822"/>
                <a:gd name="connsiteY18" fmla="*/ 103933 h 12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822" h="120922">
                  <a:moveTo>
                    <a:pt x="979" y="76312"/>
                  </a:moveTo>
                  <a:lnTo>
                    <a:pt x="6309" y="43187"/>
                  </a:lnTo>
                  <a:cubicBezTo>
                    <a:pt x="10782" y="15851"/>
                    <a:pt x="25631" y="0"/>
                    <a:pt x="55423" y="0"/>
                  </a:cubicBezTo>
                  <a:cubicBezTo>
                    <a:pt x="69986" y="0"/>
                    <a:pt x="86071" y="3892"/>
                    <a:pt x="100253" y="10915"/>
                  </a:cubicBezTo>
                  <a:cubicBezTo>
                    <a:pt x="101586" y="11580"/>
                    <a:pt x="101967" y="12624"/>
                    <a:pt x="101776" y="14142"/>
                  </a:cubicBezTo>
                  <a:lnTo>
                    <a:pt x="85691" y="116177"/>
                  </a:lnTo>
                  <a:cubicBezTo>
                    <a:pt x="85500" y="117885"/>
                    <a:pt x="84453" y="118550"/>
                    <a:pt x="82930" y="118550"/>
                  </a:cubicBezTo>
                  <a:lnTo>
                    <a:pt x="70271" y="118550"/>
                  </a:lnTo>
                  <a:cubicBezTo>
                    <a:pt x="68558" y="118550"/>
                    <a:pt x="67701" y="117696"/>
                    <a:pt x="67892" y="115797"/>
                  </a:cubicBezTo>
                  <a:lnTo>
                    <a:pt x="70462" y="98902"/>
                  </a:lnTo>
                  <a:cubicBezTo>
                    <a:pt x="60848" y="113045"/>
                    <a:pt x="47332" y="120923"/>
                    <a:pt x="31818" y="120923"/>
                  </a:cubicBezTo>
                  <a:cubicBezTo>
                    <a:pt x="9259" y="120923"/>
                    <a:pt x="-3590" y="104028"/>
                    <a:pt x="884" y="76407"/>
                  </a:cubicBezTo>
                  <a:close/>
                  <a:moveTo>
                    <a:pt x="38956" y="103933"/>
                  </a:moveTo>
                  <a:cubicBezTo>
                    <a:pt x="52662" y="103933"/>
                    <a:pt x="65512" y="94726"/>
                    <a:pt x="73031" y="76787"/>
                  </a:cubicBezTo>
                  <a:lnTo>
                    <a:pt x="81788" y="21356"/>
                  </a:lnTo>
                  <a:cubicBezTo>
                    <a:pt x="73603" y="18129"/>
                    <a:pt x="64180" y="16041"/>
                    <a:pt x="55613" y="16041"/>
                  </a:cubicBezTo>
                  <a:cubicBezTo>
                    <a:pt x="37148" y="16041"/>
                    <a:pt x="27725" y="26292"/>
                    <a:pt x="24679" y="44895"/>
                  </a:cubicBezTo>
                  <a:lnTo>
                    <a:pt x="19920" y="74889"/>
                  </a:lnTo>
                  <a:cubicBezTo>
                    <a:pt x="16684" y="95011"/>
                    <a:pt x="24394" y="103933"/>
                    <a:pt x="38766" y="103933"/>
                  </a:cubicBezTo>
                  <a:close/>
                </a:path>
              </a:pathLst>
            </a:custGeom>
            <a:grpFill/>
            <a:ln w="9505" cap="flat">
              <a:noFill/>
              <a:prstDash val="solid"/>
              <a:miter/>
            </a:ln>
          </p:spPr>
          <p:txBody>
            <a:bodyPr rtlCol="0" anchor="ctr"/>
            <a:lstStyle/>
            <a:p>
              <a:endParaRPr lang="en-US"/>
            </a:p>
          </p:txBody>
        </p:sp>
        <p:sp>
          <p:nvSpPr>
            <p:cNvPr id="1041" name="Freeform 1040">
              <a:extLst>
                <a:ext uri="{FF2B5EF4-FFF2-40B4-BE49-F238E27FC236}">
                  <a16:creationId xmlns:a16="http://schemas.microsoft.com/office/drawing/2014/main" id="{1F8FD57B-9762-761C-C460-6AB1CAB9D553}"/>
                </a:ext>
              </a:extLst>
            </p:cNvPr>
            <p:cNvSpPr/>
            <p:nvPr/>
          </p:nvSpPr>
          <p:spPr>
            <a:xfrm>
              <a:off x="7124605" y="3674547"/>
              <a:ext cx="43740" cy="162400"/>
            </a:xfrm>
            <a:custGeom>
              <a:avLst/>
              <a:gdLst>
                <a:gd name="connsiteX0" fmla="*/ 26 w 43740"/>
                <a:gd name="connsiteY0" fmla="*/ 159648 h 162400"/>
                <a:gd name="connsiteX1" fmla="*/ 24869 w 43740"/>
                <a:gd name="connsiteY1" fmla="*/ 2373 h 162400"/>
                <a:gd name="connsiteX2" fmla="*/ 27629 w 43740"/>
                <a:gd name="connsiteY2" fmla="*/ 0 h 162400"/>
                <a:gd name="connsiteX3" fmla="*/ 41335 w 43740"/>
                <a:gd name="connsiteY3" fmla="*/ 0 h 162400"/>
                <a:gd name="connsiteX4" fmla="*/ 43715 w 43740"/>
                <a:gd name="connsiteY4" fmla="*/ 2753 h 162400"/>
                <a:gd name="connsiteX5" fmla="*/ 18872 w 43740"/>
                <a:gd name="connsiteY5" fmla="*/ 160028 h 162400"/>
                <a:gd name="connsiteX6" fmla="*/ 16112 w 43740"/>
                <a:gd name="connsiteY6" fmla="*/ 162401 h 162400"/>
                <a:gd name="connsiteX7" fmla="*/ 2406 w 43740"/>
                <a:gd name="connsiteY7" fmla="*/ 162401 h 162400"/>
                <a:gd name="connsiteX8" fmla="*/ 26 w 43740"/>
                <a:gd name="connsiteY8" fmla="*/ 159648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62400">
                  <a:moveTo>
                    <a:pt x="26" y="159648"/>
                  </a:moveTo>
                  <a:lnTo>
                    <a:pt x="24869" y="2373"/>
                  </a:lnTo>
                  <a:cubicBezTo>
                    <a:pt x="25059" y="664"/>
                    <a:pt x="26201" y="0"/>
                    <a:pt x="27629" y="0"/>
                  </a:cubicBezTo>
                  <a:lnTo>
                    <a:pt x="41335" y="0"/>
                  </a:lnTo>
                  <a:cubicBezTo>
                    <a:pt x="43048" y="0"/>
                    <a:pt x="43905" y="854"/>
                    <a:pt x="43715" y="2753"/>
                  </a:cubicBezTo>
                  <a:lnTo>
                    <a:pt x="18872" y="160028"/>
                  </a:lnTo>
                  <a:cubicBezTo>
                    <a:pt x="18682" y="161737"/>
                    <a:pt x="17635" y="162401"/>
                    <a:pt x="16112" y="162401"/>
                  </a:cubicBezTo>
                  <a:lnTo>
                    <a:pt x="2406" y="162401"/>
                  </a:lnTo>
                  <a:cubicBezTo>
                    <a:pt x="692" y="162401"/>
                    <a:pt x="-164" y="161547"/>
                    <a:pt x="26" y="159648"/>
                  </a:cubicBezTo>
                  <a:close/>
                </a:path>
              </a:pathLst>
            </a:custGeom>
            <a:grpFill/>
            <a:ln w="9505" cap="flat">
              <a:noFill/>
              <a:prstDash val="solid"/>
              <a:miter/>
            </a:ln>
          </p:spPr>
          <p:txBody>
            <a:bodyPr rtlCol="0" anchor="ctr"/>
            <a:lstStyle/>
            <a:p>
              <a:endParaRPr lang="en-US"/>
            </a:p>
          </p:txBody>
        </p:sp>
        <p:sp>
          <p:nvSpPr>
            <p:cNvPr id="1042" name="Freeform 1041">
              <a:extLst>
                <a:ext uri="{FF2B5EF4-FFF2-40B4-BE49-F238E27FC236}">
                  <a16:creationId xmlns:a16="http://schemas.microsoft.com/office/drawing/2014/main" id="{70BC7F1E-866B-075B-59F9-2802E250E51C}"/>
                </a:ext>
              </a:extLst>
            </p:cNvPr>
            <p:cNvSpPr/>
            <p:nvPr/>
          </p:nvSpPr>
          <p:spPr>
            <a:xfrm>
              <a:off x="7234565" y="3717354"/>
              <a:ext cx="92615" cy="122061"/>
            </a:xfrm>
            <a:custGeom>
              <a:avLst/>
              <a:gdLst>
                <a:gd name="connsiteX0" fmla="*/ 97 w 92615"/>
                <a:gd name="connsiteY0" fmla="*/ 92828 h 122061"/>
                <a:gd name="connsiteX1" fmla="*/ 2001 w 92615"/>
                <a:gd name="connsiteY1" fmla="*/ 89601 h 122061"/>
                <a:gd name="connsiteX2" fmla="*/ 12947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1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1 w 92615"/>
                <a:gd name="connsiteY13" fmla="*/ 15281 h 122061"/>
                <a:gd name="connsiteX14" fmla="*/ 30365 w 92615"/>
                <a:gd name="connsiteY14" fmla="*/ 32176 h 122061"/>
                <a:gd name="connsiteX15" fmla="*/ 52637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7" y="85994"/>
                  </a:lnTo>
                  <a:cubicBezTo>
                    <a:pt x="14470" y="85614"/>
                    <a:pt x="15707" y="85994"/>
                    <a:pt x="16183" y="87702"/>
                  </a:cubicBezTo>
                  <a:cubicBezTo>
                    <a:pt x="19419" y="98997"/>
                    <a:pt x="28842" y="106496"/>
                    <a:pt x="44261" y="106496"/>
                  </a:cubicBezTo>
                  <a:cubicBezTo>
                    <a:pt x="57968" y="106496"/>
                    <a:pt x="67200" y="98997"/>
                    <a:pt x="67200" y="88082"/>
                  </a:cubicBezTo>
                  <a:cubicBezTo>
                    <a:pt x="67200" y="78685"/>
                    <a:pt x="63107" y="74414"/>
                    <a:pt x="44071" y="66916"/>
                  </a:cubicBezTo>
                  <a:cubicBezTo>
                    <a:pt x="19419" y="57329"/>
                    <a:pt x="11709" y="48312"/>
                    <a:pt x="11709" y="33126"/>
                  </a:cubicBezTo>
                  <a:cubicBezTo>
                    <a:pt x="11709" y="13478"/>
                    <a:pt x="28461" y="0"/>
                    <a:pt x="51591" y="0"/>
                  </a:cubicBezTo>
                  <a:cubicBezTo>
                    <a:pt x="74720" y="0"/>
                    <a:pt x="89378" y="10915"/>
                    <a:pt x="92519" y="27810"/>
                  </a:cubicBezTo>
                  <a:cubicBezTo>
                    <a:pt x="92900" y="29329"/>
                    <a:pt x="92138" y="30373"/>
                    <a:pt x="90615" y="30848"/>
                  </a:cubicBezTo>
                  <a:lnTo>
                    <a:pt x="79669" y="34075"/>
                  </a:lnTo>
                  <a:cubicBezTo>
                    <a:pt x="78146" y="34454"/>
                    <a:pt x="76909" y="33885"/>
                    <a:pt x="76433" y="32176"/>
                  </a:cubicBezTo>
                  <a:cubicBezTo>
                    <a:pt x="73387" y="21071"/>
                    <a:pt x="64440" y="15281"/>
                    <a:pt x="51591" y="15281"/>
                  </a:cubicBezTo>
                  <a:cubicBezTo>
                    <a:pt x="38741" y="15281"/>
                    <a:pt x="30365" y="21926"/>
                    <a:pt x="30365" y="32176"/>
                  </a:cubicBezTo>
                  <a:cubicBezTo>
                    <a:pt x="30365" y="39865"/>
                    <a:pt x="34838" y="44610"/>
                    <a:pt x="52637"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endParaRPr lang="en-US"/>
            </a:p>
          </p:txBody>
        </p:sp>
        <p:sp>
          <p:nvSpPr>
            <p:cNvPr id="1043" name="Freeform 1042">
              <a:extLst>
                <a:ext uri="{FF2B5EF4-FFF2-40B4-BE49-F238E27FC236}">
                  <a16:creationId xmlns:a16="http://schemas.microsoft.com/office/drawing/2014/main" id="{29F45B6F-AD4B-5064-CA81-68151F39BF9A}"/>
                </a:ext>
              </a:extLst>
            </p:cNvPr>
            <p:cNvSpPr/>
            <p:nvPr/>
          </p:nvSpPr>
          <p:spPr>
            <a:xfrm>
              <a:off x="7347555"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1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3"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8"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1" y="105262"/>
                  </a:cubicBezTo>
                  <a:close/>
                </a:path>
              </a:pathLst>
            </a:custGeom>
            <a:grpFill/>
            <a:ln w="9505" cap="flat">
              <a:noFill/>
              <a:prstDash val="solid"/>
              <a:miter/>
            </a:ln>
          </p:spPr>
          <p:txBody>
            <a:bodyPr rtlCol="0" anchor="ctr"/>
            <a:lstStyle/>
            <a:p>
              <a:endParaRPr lang="en-US"/>
            </a:p>
          </p:txBody>
        </p:sp>
        <p:sp>
          <p:nvSpPr>
            <p:cNvPr id="1044" name="Freeform 1043">
              <a:extLst>
                <a:ext uri="{FF2B5EF4-FFF2-40B4-BE49-F238E27FC236}">
                  <a16:creationId xmlns:a16="http://schemas.microsoft.com/office/drawing/2014/main" id="{FD5DDD8B-F685-4CEC-A9C9-F848BADEE772}"/>
                </a:ext>
              </a:extLst>
            </p:cNvPr>
            <p:cNvSpPr/>
            <p:nvPr/>
          </p:nvSpPr>
          <p:spPr>
            <a:xfrm>
              <a:off x="7464120" y="3674547"/>
              <a:ext cx="43740" cy="162400"/>
            </a:xfrm>
            <a:custGeom>
              <a:avLst/>
              <a:gdLst>
                <a:gd name="connsiteX0" fmla="*/ 26 w 43740"/>
                <a:gd name="connsiteY0" fmla="*/ 159648 h 162400"/>
                <a:gd name="connsiteX1" fmla="*/ 24869 w 43740"/>
                <a:gd name="connsiteY1" fmla="*/ 2373 h 162400"/>
                <a:gd name="connsiteX2" fmla="*/ 27629 w 43740"/>
                <a:gd name="connsiteY2" fmla="*/ 0 h 162400"/>
                <a:gd name="connsiteX3" fmla="*/ 41335 w 43740"/>
                <a:gd name="connsiteY3" fmla="*/ 0 h 162400"/>
                <a:gd name="connsiteX4" fmla="*/ 43715 w 43740"/>
                <a:gd name="connsiteY4" fmla="*/ 2753 h 162400"/>
                <a:gd name="connsiteX5" fmla="*/ 18872 w 43740"/>
                <a:gd name="connsiteY5" fmla="*/ 160028 h 162400"/>
                <a:gd name="connsiteX6" fmla="*/ 16112 w 43740"/>
                <a:gd name="connsiteY6" fmla="*/ 162401 h 162400"/>
                <a:gd name="connsiteX7" fmla="*/ 2406 w 43740"/>
                <a:gd name="connsiteY7" fmla="*/ 162401 h 162400"/>
                <a:gd name="connsiteX8" fmla="*/ 26 w 43740"/>
                <a:gd name="connsiteY8" fmla="*/ 159648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62400">
                  <a:moveTo>
                    <a:pt x="26" y="159648"/>
                  </a:moveTo>
                  <a:lnTo>
                    <a:pt x="24869" y="2373"/>
                  </a:lnTo>
                  <a:cubicBezTo>
                    <a:pt x="25059" y="664"/>
                    <a:pt x="26201" y="0"/>
                    <a:pt x="27629" y="0"/>
                  </a:cubicBezTo>
                  <a:lnTo>
                    <a:pt x="41335" y="0"/>
                  </a:lnTo>
                  <a:cubicBezTo>
                    <a:pt x="43049" y="0"/>
                    <a:pt x="43905" y="854"/>
                    <a:pt x="43715" y="2753"/>
                  </a:cubicBezTo>
                  <a:lnTo>
                    <a:pt x="18872" y="160028"/>
                  </a:lnTo>
                  <a:cubicBezTo>
                    <a:pt x="18682" y="161737"/>
                    <a:pt x="17635" y="162401"/>
                    <a:pt x="16112" y="162401"/>
                  </a:cubicBezTo>
                  <a:lnTo>
                    <a:pt x="2406" y="162401"/>
                  </a:lnTo>
                  <a:cubicBezTo>
                    <a:pt x="692" y="162401"/>
                    <a:pt x="-164" y="161547"/>
                    <a:pt x="26" y="159648"/>
                  </a:cubicBezTo>
                  <a:close/>
                </a:path>
              </a:pathLst>
            </a:custGeom>
            <a:grpFill/>
            <a:ln w="9505" cap="flat">
              <a:noFill/>
              <a:prstDash val="solid"/>
              <a:miter/>
            </a:ln>
          </p:spPr>
          <p:txBody>
            <a:bodyPr rtlCol="0" anchor="ctr"/>
            <a:lstStyle/>
            <a:p>
              <a:endParaRPr lang="en-US"/>
            </a:p>
          </p:txBody>
        </p:sp>
        <p:sp>
          <p:nvSpPr>
            <p:cNvPr id="1045" name="Freeform 1044">
              <a:extLst>
                <a:ext uri="{FF2B5EF4-FFF2-40B4-BE49-F238E27FC236}">
                  <a16:creationId xmlns:a16="http://schemas.microsoft.com/office/drawing/2014/main" id="{F5A9E0EF-DAE8-9698-F1D9-A0DB7613DF5C}"/>
                </a:ext>
              </a:extLst>
            </p:cNvPr>
            <p:cNvSpPr/>
            <p:nvPr/>
          </p:nvSpPr>
          <p:spPr>
            <a:xfrm>
              <a:off x="7522893" y="3719442"/>
              <a:ext cx="99471" cy="119783"/>
            </a:xfrm>
            <a:custGeom>
              <a:avLst/>
              <a:gdLst>
                <a:gd name="connsiteX0" fmla="*/ 36435 w 99471"/>
                <a:gd name="connsiteY0" fmla="*/ 102699 h 119783"/>
                <a:gd name="connsiteX1" fmla="*/ 68797 w 99471"/>
                <a:gd name="connsiteY1" fmla="*/ 77451 h 119783"/>
                <a:gd name="connsiteX2" fmla="*/ 80599 w 99471"/>
                <a:gd name="connsiteY2" fmla="*/ 2373 h 119783"/>
                <a:gd name="connsiteX3" fmla="*/ 83360 w 99471"/>
                <a:gd name="connsiteY3" fmla="*/ 0 h 119783"/>
                <a:gd name="connsiteX4" fmla="*/ 97066 w 99471"/>
                <a:gd name="connsiteY4" fmla="*/ 0 h 119783"/>
                <a:gd name="connsiteX5" fmla="*/ 99445 w 99471"/>
                <a:gd name="connsiteY5" fmla="*/ 2753 h 119783"/>
                <a:gd name="connsiteX6" fmla="*/ 81646 w 99471"/>
                <a:gd name="connsiteY6" fmla="*/ 115038 h 119783"/>
                <a:gd name="connsiteX7" fmla="*/ 78886 w 99471"/>
                <a:gd name="connsiteY7" fmla="*/ 117411 h 119783"/>
                <a:gd name="connsiteX8" fmla="*/ 66227 w 99471"/>
                <a:gd name="connsiteY8" fmla="*/ 117411 h 119783"/>
                <a:gd name="connsiteX9" fmla="*/ 63847 w 99471"/>
                <a:gd name="connsiteY9" fmla="*/ 114658 h 119783"/>
                <a:gd name="connsiteX10" fmla="*/ 66227 w 99471"/>
                <a:gd name="connsiteY10" fmla="*/ 98997 h 119783"/>
                <a:gd name="connsiteX11" fmla="*/ 29581 w 99471"/>
                <a:gd name="connsiteY11" fmla="*/ 119784 h 119783"/>
                <a:gd name="connsiteX12" fmla="*/ 837 w 99471"/>
                <a:gd name="connsiteY12" fmla="*/ 77451 h 119783"/>
                <a:gd name="connsiteX13" fmla="*/ 13115 w 99471"/>
                <a:gd name="connsiteY13" fmla="*/ 2373 h 119783"/>
                <a:gd name="connsiteX14" fmla="*/ 15875 w 99471"/>
                <a:gd name="connsiteY14" fmla="*/ 0 h 119783"/>
                <a:gd name="connsiteX15" fmla="*/ 29391 w 99471"/>
                <a:gd name="connsiteY15" fmla="*/ 0 h 119783"/>
                <a:gd name="connsiteX16" fmla="*/ 31771 w 99471"/>
                <a:gd name="connsiteY16" fmla="*/ 2753 h 119783"/>
                <a:gd name="connsiteX17" fmla="*/ 19968 w 99471"/>
                <a:gd name="connsiteY17" fmla="*/ 75933 h 119783"/>
                <a:gd name="connsiteX18" fmla="*/ 36530 w 99471"/>
                <a:gd name="connsiteY18" fmla="*/ 102699 h 11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783">
                  <a:moveTo>
                    <a:pt x="36435" y="102699"/>
                  </a:moveTo>
                  <a:cubicBezTo>
                    <a:pt x="49760" y="102699"/>
                    <a:pt x="61753" y="93682"/>
                    <a:pt x="68797" y="77451"/>
                  </a:cubicBezTo>
                  <a:lnTo>
                    <a:pt x="80599" y="2373"/>
                  </a:lnTo>
                  <a:cubicBezTo>
                    <a:pt x="80789" y="664"/>
                    <a:pt x="81932" y="0"/>
                    <a:pt x="83360" y="0"/>
                  </a:cubicBezTo>
                  <a:lnTo>
                    <a:pt x="97066" y="0"/>
                  </a:lnTo>
                  <a:cubicBezTo>
                    <a:pt x="98779" y="0"/>
                    <a:pt x="99636" y="854"/>
                    <a:pt x="99445" y="2753"/>
                  </a:cubicBezTo>
                  <a:lnTo>
                    <a:pt x="81646" y="115038"/>
                  </a:lnTo>
                  <a:cubicBezTo>
                    <a:pt x="81456" y="116746"/>
                    <a:pt x="80314" y="117411"/>
                    <a:pt x="78886" y="117411"/>
                  </a:cubicBezTo>
                  <a:lnTo>
                    <a:pt x="66227" y="117411"/>
                  </a:lnTo>
                  <a:cubicBezTo>
                    <a:pt x="64513" y="117411"/>
                    <a:pt x="63657" y="116557"/>
                    <a:pt x="63847" y="114658"/>
                  </a:cubicBezTo>
                  <a:lnTo>
                    <a:pt x="66227" y="98997"/>
                  </a:lnTo>
                  <a:cubicBezTo>
                    <a:pt x="57185" y="112001"/>
                    <a:pt x="43954" y="119784"/>
                    <a:pt x="29581" y="119784"/>
                  </a:cubicBezTo>
                  <a:cubicBezTo>
                    <a:pt x="7880" y="119784"/>
                    <a:pt x="-3256" y="102699"/>
                    <a:pt x="837" y="77451"/>
                  </a:cubicBezTo>
                  <a:lnTo>
                    <a:pt x="13115" y="2373"/>
                  </a:lnTo>
                  <a:cubicBezTo>
                    <a:pt x="13305" y="664"/>
                    <a:pt x="14353" y="0"/>
                    <a:pt x="15875" y="0"/>
                  </a:cubicBezTo>
                  <a:lnTo>
                    <a:pt x="29391" y="0"/>
                  </a:lnTo>
                  <a:cubicBezTo>
                    <a:pt x="31104" y="0"/>
                    <a:pt x="31961" y="854"/>
                    <a:pt x="31771" y="2753"/>
                  </a:cubicBezTo>
                  <a:lnTo>
                    <a:pt x="19968" y="75933"/>
                  </a:lnTo>
                  <a:cubicBezTo>
                    <a:pt x="17208" y="94156"/>
                    <a:pt x="23585" y="102699"/>
                    <a:pt x="36530" y="102699"/>
                  </a:cubicBezTo>
                  <a:close/>
                </a:path>
              </a:pathLst>
            </a:custGeom>
            <a:grpFill/>
            <a:ln w="9505" cap="flat">
              <a:noFill/>
              <a:prstDash val="solid"/>
              <a:miter/>
            </a:ln>
          </p:spPr>
          <p:txBody>
            <a:bodyPr rtlCol="0" anchor="ctr"/>
            <a:lstStyle/>
            <a:p>
              <a:endParaRPr lang="en-US"/>
            </a:p>
          </p:txBody>
        </p:sp>
        <p:sp>
          <p:nvSpPr>
            <p:cNvPr id="1047" name="Freeform 1046">
              <a:extLst>
                <a:ext uri="{FF2B5EF4-FFF2-40B4-BE49-F238E27FC236}">
                  <a16:creationId xmlns:a16="http://schemas.microsoft.com/office/drawing/2014/main" id="{35524D53-3125-1E56-A45E-821DB865442D}"/>
                </a:ext>
              </a:extLst>
            </p:cNvPr>
            <p:cNvSpPr/>
            <p:nvPr/>
          </p:nvSpPr>
          <p:spPr>
            <a:xfrm>
              <a:off x="7644680"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40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9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7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40"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9"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7"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endParaRPr lang="en-US"/>
            </a:p>
          </p:txBody>
        </p:sp>
        <p:sp>
          <p:nvSpPr>
            <p:cNvPr id="1048" name="Freeform 1047">
              <a:extLst>
                <a:ext uri="{FF2B5EF4-FFF2-40B4-BE49-F238E27FC236}">
                  <a16:creationId xmlns:a16="http://schemas.microsoft.com/office/drawing/2014/main" id="{63DE2087-FD40-BE8A-1BD9-E6FDEB366C62}"/>
                </a:ext>
              </a:extLst>
            </p:cNvPr>
            <p:cNvSpPr/>
            <p:nvPr/>
          </p:nvSpPr>
          <p:spPr>
            <a:xfrm>
              <a:off x="7717970"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2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9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7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5" y="45654"/>
                    <a:pt x="19062" y="44990"/>
                    <a:pt x="20585" y="44990"/>
                  </a:cubicBezTo>
                  <a:lnTo>
                    <a:pt x="34292" y="44990"/>
                  </a:lnTo>
                  <a:cubicBezTo>
                    <a:pt x="36005" y="44990"/>
                    <a:pt x="36861"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8" y="664"/>
                    <a:pt x="26011" y="0"/>
                    <a:pt x="27439" y="0"/>
                  </a:cubicBezTo>
                  <a:lnTo>
                    <a:pt x="41145" y="0"/>
                  </a:lnTo>
                  <a:cubicBezTo>
                    <a:pt x="42858" y="0"/>
                    <a:pt x="43715" y="854"/>
                    <a:pt x="43524" y="2753"/>
                  </a:cubicBezTo>
                  <a:lnTo>
                    <a:pt x="40098" y="24393"/>
                  </a:lnTo>
                  <a:cubicBezTo>
                    <a:pt x="39907" y="26102"/>
                    <a:pt x="38765" y="26766"/>
                    <a:pt x="37337" y="26766"/>
                  </a:cubicBezTo>
                  <a:lnTo>
                    <a:pt x="23822" y="26766"/>
                  </a:lnTo>
                  <a:cubicBezTo>
                    <a:pt x="22108" y="26766"/>
                    <a:pt x="21252" y="25912"/>
                    <a:pt x="21442" y="24014"/>
                  </a:cubicBezTo>
                  <a:close/>
                </a:path>
              </a:pathLst>
            </a:custGeom>
            <a:grpFill/>
            <a:ln w="9505" cap="flat">
              <a:noFill/>
              <a:prstDash val="solid"/>
              <a:miter/>
            </a:ln>
          </p:spPr>
          <p:txBody>
            <a:bodyPr rtlCol="0" anchor="ctr"/>
            <a:lstStyle/>
            <a:p>
              <a:endParaRPr lang="en-US"/>
            </a:p>
          </p:txBody>
        </p:sp>
        <p:sp>
          <p:nvSpPr>
            <p:cNvPr id="1049" name="Freeform 1048">
              <a:extLst>
                <a:ext uri="{FF2B5EF4-FFF2-40B4-BE49-F238E27FC236}">
                  <a16:creationId xmlns:a16="http://schemas.microsoft.com/office/drawing/2014/main" id="{20B1D926-B9DB-9747-3BE8-233A8FCF3A1E}"/>
                </a:ext>
              </a:extLst>
            </p:cNvPr>
            <p:cNvSpPr/>
            <p:nvPr/>
          </p:nvSpPr>
          <p:spPr>
            <a:xfrm>
              <a:off x="7775589"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1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3"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8"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1" y="105262"/>
                  </a:cubicBezTo>
                  <a:close/>
                </a:path>
              </a:pathLst>
            </a:custGeom>
            <a:grpFill/>
            <a:ln w="9505" cap="flat">
              <a:noFill/>
              <a:prstDash val="solid"/>
              <a:miter/>
            </a:ln>
          </p:spPr>
          <p:txBody>
            <a:bodyPr rtlCol="0" anchor="ctr"/>
            <a:lstStyle/>
            <a:p>
              <a:endParaRPr lang="en-US"/>
            </a:p>
          </p:txBody>
        </p:sp>
        <p:sp>
          <p:nvSpPr>
            <p:cNvPr id="1050" name="Freeform 1049">
              <a:extLst>
                <a:ext uri="{FF2B5EF4-FFF2-40B4-BE49-F238E27FC236}">
                  <a16:creationId xmlns:a16="http://schemas.microsoft.com/office/drawing/2014/main" id="{F1E2A81F-F984-800F-BA87-C1F9A447A2F9}"/>
                </a:ext>
              </a:extLst>
            </p:cNvPr>
            <p:cNvSpPr/>
            <p:nvPr/>
          </p:nvSpPr>
          <p:spPr>
            <a:xfrm>
              <a:off x="7892153"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2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2" y="2468"/>
                    <a:pt x="20585" y="2468"/>
                  </a:cubicBezTo>
                  <a:lnTo>
                    <a:pt x="33245" y="2468"/>
                  </a:lnTo>
                  <a:cubicBezTo>
                    <a:pt x="34958" y="2468"/>
                    <a:pt x="35815" y="3322"/>
                    <a:pt x="35624" y="5220"/>
                  </a:cubicBezTo>
                  <a:lnTo>
                    <a:pt x="33245" y="20787"/>
                  </a:lnTo>
                  <a:cubicBezTo>
                    <a:pt x="42287" y="7688"/>
                    <a:pt x="55517" y="0"/>
                    <a:pt x="69890" y="0"/>
                  </a:cubicBezTo>
                  <a:cubicBezTo>
                    <a:pt x="91591" y="0"/>
                    <a:pt x="102728" y="17085"/>
                    <a:pt x="98635" y="42332"/>
                  </a:cubicBezTo>
                  <a:lnTo>
                    <a:pt x="86452" y="117411"/>
                  </a:lnTo>
                  <a:cubicBezTo>
                    <a:pt x="86261" y="119119"/>
                    <a:pt x="85119" y="119784"/>
                    <a:pt x="83691" y="119784"/>
                  </a:cubicBezTo>
                  <a:lnTo>
                    <a:pt x="70175" y="119784"/>
                  </a:lnTo>
                  <a:cubicBezTo>
                    <a:pt x="68462" y="119784"/>
                    <a:pt x="67605" y="118929"/>
                    <a:pt x="67796" y="117031"/>
                  </a:cubicBezTo>
                  <a:lnTo>
                    <a:pt x="79598" y="43851"/>
                  </a:lnTo>
                  <a:cubicBezTo>
                    <a:pt x="82358" y="25627"/>
                    <a:pt x="75981" y="17085"/>
                    <a:pt x="63037" y="17085"/>
                  </a:cubicBezTo>
                  <a:close/>
                </a:path>
              </a:pathLst>
            </a:custGeom>
            <a:grpFill/>
            <a:ln w="9505" cap="flat">
              <a:noFill/>
              <a:prstDash val="solid"/>
              <a:miter/>
            </a:ln>
          </p:spPr>
          <p:txBody>
            <a:bodyPr rtlCol="0" anchor="ctr"/>
            <a:lstStyle/>
            <a:p>
              <a:endParaRPr lang="en-US"/>
            </a:p>
          </p:txBody>
        </p:sp>
        <p:sp>
          <p:nvSpPr>
            <p:cNvPr id="1051" name="Freeform 1050">
              <a:extLst>
                <a:ext uri="{FF2B5EF4-FFF2-40B4-BE49-F238E27FC236}">
                  <a16:creationId xmlns:a16="http://schemas.microsoft.com/office/drawing/2014/main" id="{263D387E-E64F-D147-ABA1-07B7E4AFC0BB}"/>
                </a:ext>
              </a:extLst>
            </p:cNvPr>
            <p:cNvSpPr/>
            <p:nvPr/>
          </p:nvSpPr>
          <p:spPr>
            <a:xfrm>
              <a:off x="8010679" y="3717354"/>
              <a:ext cx="92615" cy="122061"/>
            </a:xfrm>
            <a:custGeom>
              <a:avLst/>
              <a:gdLst>
                <a:gd name="connsiteX0" fmla="*/ 97 w 92615"/>
                <a:gd name="connsiteY0" fmla="*/ 92828 h 122061"/>
                <a:gd name="connsiteX1" fmla="*/ 2001 w 92615"/>
                <a:gd name="connsiteY1" fmla="*/ 89601 h 122061"/>
                <a:gd name="connsiteX2" fmla="*/ 12946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0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0 w 92615"/>
                <a:gd name="connsiteY13" fmla="*/ 15281 h 122061"/>
                <a:gd name="connsiteX14" fmla="*/ 30365 w 92615"/>
                <a:gd name="connsiteY14" fmla="*/ 32176 h 122061"/>
                <a:gd name="connsiteX15" fmla="*/ 52637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6" y="85994"/>
                  </a:lnTo>
                  <a:cubicBezTo>
                    <a:pt x="14469" y="85614"/>
                    <a:pt x="15707" y="85994"/>
                    <a:pt x="16183" y="87702"/>
                  </a:cubicBezTo>
                  <a:cubicBezTo>
                    <a:pt x="19419" y="98997"/>
                    <a:pt x="28842" y="106496"/>
                    <a:pt x="44261" y="106496"/>
                  </a:cubicBezTo>
                  <a:cubicBezTo>
                    <a:pt x="57968" y="106496"/>
                    <a:pt x="67200" y="98997"/>
                    <a:pt x="67200" y="88082"/>
                  </a:cubicBezTo>
                  <a:cubicBezTo>
                    <a:pt x="67200" y="78685"/>
                    <a:pt x="63108" y="74414"/>
                    <a:pt x="44071" y="66916"/>
                  </a:cubicBezTo>
                  <a:cubicBezTo>
                    <a:pt x="19419" y="57329"/>
                    <a:pt x="11709" y="48312"/>
                    <a:pt x="11709" y="33126"/>
                  </a:cubicBezTo>
                  <a:cubicBezTo>
                    <a:pt x="11709" y="13478"/>
                    <a:pt x="28461" y="0"/>
                    <a:pt x="51590" y="0"/>
                  </a:cubicBezTo>
                  <a:cubicBezTo>
                    <a:pt x="74720" y="0"/>
                    <a:pt x="89378" y="10915"/>
                    <a:pt x="92519" y="27810"/>
                  </a:cubicBezTo>
                  <a:cubicBezTo>
                    <a:pt x="92900" y="29329"/>
                    <a:pt x="92138" y="30373"/>
                    <a:pt x="90615" y="30848"/>
                  </a:cubicBezTo>
                  <a:lnTo>
                    <a:pt x="79669" y="34075"/>
                  </a:lnTo>
                  <a:cubicBezTo>
                    <a:pt x="78146" y="34454"/>
                    <a:pt x="76909" y="33885"/>
                    <a:pt x="76433" y="32176"/>
                  </a:cubicBezTo>
                  <a:cubicBezTo>
                    <a:pt x="73387" y="21071"/>
                    <a:pt x="64440" y="15281"/>
                    <a:pt x="51590" y="15281"/>
                  </a:cubicBezTo>
                  <a:cubicBezTo>
                    <a:pt x="38741" y="15281"/>
                    <a:pt x="30365" y="21926"/>
                    <a:pt x="30365" y="32176"/>
                  </a:cubicBezTo>
                  <a:cubicBezTo>
                    <a:pt x="30365" y="39865"/>
                    <a:pt x="34838" y="44610"/>
                    <a:pt x="52637"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endParaRPr lang="en-US"/>
            </a:p>
          </p:txBody>
        </p:sp>
        <p:sp>
          <p:nvSpPr>
            <p:cNvPr id="1052" name="Freeform 1051">
              <a:extLst>
                <a:ext uri="{FF2B5EF4-FFF2-40B4-BE49-F238E27FC236}">
                  <a16:creationId xmlns:a16="http://schemas.microsoft.com/office/drawing/2014/main" id="{91ED0184-584B-9849-6055-1FA54A11955D}"/>
                </a:ext>
              </a:extLst>
            </p:cNvPr>
            <p:cNvSpPr/>
            <p:nvPr/>
          </p:nvSpPr>
          <p:spPr>
            <a:xfrm>
              <a:off x="8120304" y="3803347"/>
              <a:ext cx="22800" cy="33600"/>
            </a:xfrm>
            <a:custGeom>
              <a:avLst/>
              <a:gdLst>
                <a:gd name="connsiteX0" fmla="*/ 26 w 22800"/>
                <a:gd name="connsiteY0" fmla="*/ 30848 h 33600"/>
                <a:gd name="connsiteX1" fmla="*/ 4500 w 22800"/>
                <a:gd name="connsiteY1" fmla="*/ 2373 h 33600"/>
                <a:gd name="connsiteX2" fmla="*/ 7260 w 22800"/>
                <a:gd name="connsiteY2" fmla="*/ 0 h 33600"/>
                <a:gd name="connsiteX3" fmla="*/ 20395 w 22800"/>
                <a:gd name="connsiteY3" fmla="*/ 0 h 33600"/>
                <a:gd name="connsiteX4" fmla="*/ 22775 w 22800"/>
                <a:gd name="connsiteY4" fmla="*/ 2753 h 33600"/>
                <a:gd name="connsiteX5" fmla="*/ 18491 w 22800"/>
                <a:gd name="connsiteY5" fmla="*/ 31227 h 33600"/>
                <a:gd name="connsiteX6" fmla="*/ 15731 w 22800"/>
                <a:gd name="connsiteY6" fmla="*/ 33600 h 33600"/>
                <a:gd name="connsiteX7" fmla="*/ 2406 w 22800"/>
                <a:gd name="connsiteY7" fmla="*/ 33600 h 33600"/>
                <a:gd name="connsiteX8" fmla="*/ 26 w 22800"/>
                <a:gd name="connsiteY8" fmla="*/ 30848 h 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00" h="33600">
                  <a:moveTo>
                    <a:pt x="26" y="30848"/>
                  </a:moveTo>
                  <a:lnTo>
                    <a:pt x="4500" y="2373"/>
                  </a:lnTo>
                  <a:cubicBezTo>
                    <a:pt x="4690" y="664"/>
                    <a:pt x="5737" y="0"/>
                    <a:pt x="7260" y="0"/>
                  </a:cubicBezTo>
                  <a:lnTo>
                    <a:pt x="20395" y="0"/>
                  </a:lnTo>
                  <a:cubicBezTo>
                    <a:pt x="22108" y="0"/>
                    <a:pt x="22965" y="854"/>
                    <a:pt x="22775" y="2753"/>
                  </a:cubicBezTo>
                  <a:lnTo>
                    <a:pt x="18491" y="31227"/>
                  </a:lnTo>
                  <a:cubicBezTo>
                    <a:pt x="18301" y="32936"/>
                    <a:pt x="17159" y="33600"/>
                    <a:pt x="15731" y="33600"/>
                  </a:cubicBezTo>
                  <a:lnTo>
                    <a:pt x="2406" y="33600"/>
                  </a:lnTo>
                  <a:cubicBezTo>
                    <a:pt x="692" y="33600"/>
                    <a:pt x="-164" y="32746"/>
                    <a:pt x="26" y="30848"/>
                  </a:cubicBezTo>
                  <a:close/>
                </a:path>
              </a:pathLst>
            </a:custGeom>
            <a:grpFill/>
            <a:ln w="9505" cap="flat">
              <a:noFill/>
              <a:prstDash val="solid"/>
              <a:miter/>
            </a:ln>
          </p:spPr>
          <p:txBody>
            <a:bodyPr rtlCol="0" anchor="ctr"/>
            <a:lstStyle/>
            <a:p>
              <a:endParaRPr lang="en-US"/>
            </a:p>
          </p:txBody>
        </p:sp>
        <p:sp>
          <p:nvSpPr>
            <p:cNvPr id="1053" name="Freeform 1052">
              <a:extLst>
                <a:ext uri="{FF2B5EF4-FFF2-40B4-BE49-F238E27FC236}">
                  <a16:creationId xmlns:a16="http://schemas.microsoft.com/office/drawing/2014/main" id="{D7C96786-A7F3-9C5C-4F2A-E94A95914FED}"/>
                </a:ext>
              </a:extLst>
            </p:cNvPr>
            <p:cNvSpPr/>
            <p:nvPr/>
          </p:nvSpPr>
          <p:spPr>
            <a:xfrm>
              <a:off x="8170860" y="3664124"/>
              <a:ext cx="92615" cy="50460"/>
            </a:xfrm>
            <a:custGeom>
              <a:avLst/>
              <a:gdLst>
                <a:gd name="connsiteX0" fmla="*/ 0 w 133445"/>
                <a:gd name="connsiteY0" fmla="*/ 7498 h 72705"/>
                <a:gd name="connsiteX1" fmla="*/ 0 w 133445"/>
                <a:gd name="connsiteY1" fmla="*/ 2563 h 72705"/>
                <a:gd name="connsiteX2" fmla="*/ 2570 w 133445"/>
                <a:gd name="connsiteY2" fmla="*/ 0 h 72705"/>
                <a:gd name="connsiteX3" fmla="*/ 52731 w 133445"/>
                <a:gd name="connsiteY3" fmla="*/ 0 h 72705"/>
                <a:gd name="connsiteX4" fmla="*/ 55301 w 133445"/>
                <a:gd name="connsiteY4" fmla="*/ 2563 h 72705"/>
                <a:gd name="connsiteX5" fmla="*/ 55301 w 133445"/>
                <a:gd name="connsiteY5" fmla="*/ 7498 h 72705"/>
                <a:gd name="connsiteX6" fmla="*/ 52731 w 133445"/>
                <a:gd name="connsiteY6" fmla="*/ 10061 h 72705"/>
                <a:gd name="connsiteX7" fmla="*/ 33409 w 133445"/>
                <a:gd name="connsiteY7" fmla="*/ 10061 h 72705"/>
                <a:gd name="connsiteX8" fmla="*/ 33409 w 133445"/>
                <a:gd name="connsiteY8" fmla="*/ 70143 h 72705"/>
                <a:gd name="connsiteX9" fmla="*/ 30839 w 133445"/>
                <a:gd name="connsiteY9" fmla="*/ 72705 h 72705"/>
                <a:gd name="connsiteX10" fmla="*/ 24652 w 133445"/>
                <a:gd name="connsiteY10" fmla="*/ 72705 h 72705"/>
                <a:gd name="connsiteX11" fmla="*/ 22082 w 133445"/>
                <a:gd name="connsiteY11" fmla="*/ 70143 h 72705"/>
                <a:gd name="connsiteX12" fmla="*/ 22082 w 133445"/>
                <a:gd name="connsiteY12" fmla="*/ 10061 h 72705"/>
                <a:gd name="connsiteX13" fmla="*/ 2570 w 133445"/>
                <a:gd name="connsiteY13" fmla="*/ 10061 h 72705"/>
                <a:gd name="connsiteX14" fmla="*/ 0 w 133445"/>
                <a:gd name="connsiteY14" fmla="*/ 7498 h 72705"/>
                <a:gd name="connsiteX15" fmla="*/ 66247 w 133445"/>
                <a:gd name="connsiteY15" fmla="*/ 70143 h 72705"/>
                <a:gd name="connsiteX16" fmla="*/ 66247 w 133445"/>
                <a:gd name="connsiteY16" fmla="*/ 2563 h 72705"/>
                <a:gd name="connsiteX17" fmla="*/ 68817 w 133445"/>
                <a:gd name="connsiteY17" fmla="*/ 0 h 72705"/>
                <a:gd name="connsiteX18" fmla="*/ 77859 w 133445"/>
                <a:gd name="connsiteY18" fmla="*/ 0 h 72705"/>
                <a:gd name="connsiteX19" fmla="*/ 80619 w 133445"/>
                <a:gd name="connsiteY19" fmla="*/ 2183 h 72705"/>
                <a:gd name="connsiteX20" fmla="*/ 99751 w 133445"/>
                <a:gd name="connsiteY20" fmla="*/ 59512 h 72705"/>
                <a:gd name="connsiteX21" fmla="*/ 118882 w 133445"/>
                <a:gd name="connsiteY21" fmla="*/ 2183 h 72705"/>
                <a:gd name="connsiteX22" fmla="*/ 121643 w 133445"/>
                <a:gd name="connsiteY22" fmla="*/ 0 h 72705"/>
                <a:gd name="connsiteX23" fmla="*/ 130875 w 133445"/>
                <a:gd name="connsiteY23" fmla="*/ 0 h 72705"/>
                <a:gd name="connsiteX24" fmla="*/ 133445 w 133445"/>
                <a:gd name="connsiteY24" fmla="*/ 2563 h 72705"/>
                <a:gd name="connsiteX25" fmla="*/ 133445 w 133445"/>
                <a:gd name="connsiteY25" fmla="*/ 70143 h 72705"/>
                <a:gd name="connsiteX26" fmla="*/ 130875 w 133445"/>
                <a:gd name="connsiteY26" fmla="*/ 72705 h 72705"/>
                <a:gd name="connsiteX27" fmla="*/ 125545 w 133445"/>
                <a:gd name="connsiteY27" fmla="*/ 72705 h 72705"/>
                <a:gd name="connsiteX28" fmla="*/ 122975 w 133445"/>
                <a:gd name="connsiteY28" fmla="*/ 70143 h 72705"/>
                <a:gd name="connsiteX29" fmla="*/ 122975 w 133445"/>
                <a:gd name="connsiteY29" fmla="*/ 31227 h 72705"/>
                <a:gd name="connsiteX30" fmla="*/ 123166 w 133445"/>
                <a:gd name="connsiteY30" fmla="*/ 17939 h 72705"/>
                <a:gd name="connsiteX31" fmla="*/ 105367 w 133445"/>
                <a:gd name="connsiteY31" fmla="*/ 70522 h 72705"/>
                <a:gd name="connsiteX32" fmla="*/ 102606 w 133445"/>
                <a:gd name="connsiteY32" fmla="*/ 72705 h 72705"/>
                <a:gd name="connsiteX33" fmla="*/ 96800 w 133445"/>
                <a:gd name="connsiteY33" fmla="*/ 72705 h 72705"/>
                <a:gd name="connsiteX34" fmla="*/ 94040 w 133445"/>
                <a:gd name="connsiteY34" fmla="*/ 70522 h 72705"/>
                <a:gd name="connsiteX35" fmla="*/ 76621 w 133445"/>
                <a:gd name="connsiteY35" fmla="*/ 18793 h 72705"/>
                <a:gd name="connsiteX36" fmla="*/ 76812 w 133445"/>
                <a:gd name="connsiteY36" fmla="*/ 31227 h 72705"/>
                <a:gd name="connsiteX37" fmla="*/ 76812 w 133445"/>
                <a:gd name="connsiteY37" fmla="*/ 70143 h 72705"/>
                <a:gd name="connsiteX38" fmla="*/ 74242 w 133445"/>
                <a:gd name="connsiteY38" fmla="*/ 72705 h 72705"/>
                <a:gd name="connsiteX39" fmla="*/ 68912 w 133445"/>
                <a:gd name="connsiteY39" fmla="*/ 72705 h 72705"/>
                <a:gd name="connsiteX40" fmla="*/ 66342 w 133445"/>
                <a:gd name="connsiteY40" fmla="*/ 70143 h 7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33445" h="72705">
                  <a:moveTo>
                    <a:pt x="0" y="7498"/>
                  </a:moveTo>
                  <a:lnTo>
                    <a:pt x="0" y="2563"/>
                  </a:lnTo>
                  <a:cubicBezTo>
                    <a:pt x="0" y="1044"/>
                    <a:pt x="1047" y="0"/>
                    <a:pt x="2570" y="0"/>
                  </a:cubicBezTo>
                  <a:lnTo>
                    <a:pt x="52731" y="0"/>
                  </a:lnTo>
                  <a:cubicBezTo>
                    <a:pt x="54254" y="0"/>
                    <a:pt x="55301" y="1044"/>
                    <a:pt x="55301" y="2563"/>
                  </a:cubicBezTo>
                  <a:lnTo>
                    <a:pt x="55301" y="7498"/>
                  </a:lnTo>
                  <a:cubicBezTo>
                    <a:pt x="55301" y="9017"/>
                    <a:pt x="54254" y="10061"/>
                    <a:pt x="52731" y="10061"/>
                  </a:cubicBezTo>
                  <a:lnTo>
                    <a:pt x="33409" y="10061"/>
                  </a:lnTo>
                  <a:lnTo>
                    <a:pt x="33409" y="70143"/>
                  </a:lnTo>
                  <a:cubicBezTo>
                    <a:pt x="33409" y="71661"/>
                    <a:pt x="32362" y="72705"/>
                    <a:pt x="30839" y="72705"/>
                  </a:cubicBezTo>
                  <a:lnTo>
                    <a:pt x="24652" y="72705"/>
                  </a:lnTo>
                  <a:cubicBezTo>
                    <a:pt x="23129" y="72705"/>
                    <a:pt x="22082" y="71661"/>
                    <a:pt x="22082" y="70143"/>
                  </a:cubicBezTo>
                  <a:lnTo>
                    <a:pt x="22082" y="10061"/>
                  </a:lnTo>
                  <a:lnTo>
                    <a:pt x="2570" y="10061"/>
                  </a:lnTo>
                  <a:cubicBezTo>
                    <a:pt x="1047" y="10061"/>
                    <a:pt x="0" y="9017"/>
                    <a:pt x="0" y="7498"/>
                  </a:cubicBezTo>
                  <a:close/>
                  <a:moveTo>
                    <a:pt x="66247" y="70143"/>
                  </a:moveTo>
                  <a:lnTo>
                    <a:pt x="66247" y="2563"/>
                  </a:lnTo>
                  <a:cubicBezTo>
                    <a:pt x="66247" y="1044"/>
                    <a:pt x="67294" y="0"/>
                    <a:pt x="68817" y="0"/>
                  </a:cubicBezTo>
                  <a:lnTo>
                    <a:pt x="77859" y="0"/>
                  </a:lnTo>
                  <a:cubicBezTo>
                    <a:pt x="79382" y="0"/>
                    <a:pt x="80238" y="854"/>
                    <a:pt x="80619" y="2183"/>
                  </a:cubicBezTo>
                  <a:lnTo>
                    <a:pt x="99751" y="59512"/>
                  </a:lnTo>
                  <a:lnTo>
                    <a:pt x="118882" y="2183"/>
                  </a:lnTo>
                  <a:cubicBezTo>
                    <a:pt x="119263" y="854"/>
                    <a:pt x="120120" y="0"/>
                    <a:pt x="121643" y="0"/>
                  </a:cubicBezTo>
                  <a:lnTo>
                    <a:pt x="130875" y="0"/>
                  </a:lnTo>
                  <a:cubicBezTo>
                    <a:pt x="132398" y="0"/>
                    <a:pt x="133445" y="1044"/>
                    <a:pt x="133445" y="2563"/>
                  </a:cubicBezTo>
                  <a:lnTo>
                    <a:pt x="133445" y="70143"/>
                  </a:lnTo>
                  <a:cubicBezTo>
                    <a:pt x="133445" y="71661"/>
                    <a:pt x="132398" y="72705"/>
                    <a:pt x="130875" y="72705"/>
                  </a:cubicBezTo>
                  <a:lnTo>
                    <a:pt x="125545" y="72705"/>
                  </a:lnTo>
                  <a:cubicBezTo>
                    <a:pt x="124022" y="72705"/>
                    <a:pt x="122975" y="71661"/>
                    <a:pt x="122975" y="70143"/>
                  </a:cubicBezTo>
                  <a:lnTo>
                    <a:pt x="122975" y="31227"/>
                  </a:lnTo>
                  <a:cubicBezTo>
                    <a:pt x="122975" y="27146"/>
                    <a:pt x="122975" y="22495"/>
                    <a:pt x="123166" y="17939"/>
                  </a:cubicBezTo>
                  <a:lnTo>
                    <a:pt x="105367" y="70522"/>
                  </a:lnTo>
                  <a:cubicBezTo>
                    <a:pt x="104986" y="71756"/>
                    <a:pt x="104034" y="72705"/>
                    <a:pt x="102606" y="72705"/>
                  </a:cubicBezTo>
                  <a:lnTo>
                    <a:pt x="96800" y="72705"/>
                  </a:lnTo>
                  <a:cubicBezTo>
                    <a:pt x="95277" y="72705"/>
                    <a:pt x="94420" y="71851"/>
                    <a:pt x="94040" y="70522"/>
                  </a:cubicBezTo>
                  <a:lnTo>
                    <a:pt x="76621" y="18793"/>
                  </a:lnTo>
                  <a:cubicBezTo>
                    <a:pt x="76812" y="23065"/>
                    <a:pt x="76812" y="27146"/>
                    <a:pt x="76812" y="31227"/>
                  </a:cubicBezTo>
                  <a:lnTo>
                    <a:pt x="76812" y="70143"/>
                  </a:lnTo>
                  <a:cubicBezTo>
                    <a:pt x="76812" y="71661"/>
                    <a:pt x="75765" y="72705"/>
                    <a:pt x="74242" y="72705"/>
                  </a:cubicBezTo>
                  <a:lnTo>
                    <a:pt x="68912" y="72705"/>
                  </a:lnTo>
                  <a:cubicBezTo>
                    <a:pt x="67389" y="72705"/>
                    <a:pt x="66342" y="71661"/>
                    <a:pt x="66342" y="70143"/>
                  </a:cubicBezTo>
                  <a:close/>
                </a:path>
              </a:pathLst>
            </a:custGeom>
            <a:grpFill/>
            <a:ln w="9505" cap="flat">
              <a:noFill/>
              <a:prstDash val="solid"/>
              <a:miter/>
            </a:ln>
          </p:spPr>
          <p:txBody>
            <a:bodyPr rtlCol="0" anchor="ctr"/>
            <a:lstStyle/>
            <a:p>
              <a:endParaRPr lang="en-US"/>
            </a:p>
          </p:txBody>
        </p:sp>
      </p:grpSp>
      <p:sp>
        <p:nvSpPr>
          <p:cNvPr id="1026" name="Title Placeholder 1">
            <a:extLst>
              <a:ext uri="{FF2B5EF4-FFF2-40B4-BE49-F238E27FC236}">
                <a16:creationId xmlns:a16="http://schemas.microsoft.com/office/drawing/2014/main" id="{194CAAC6-71F4-4496-9A3C-3DB3D8DEAE48}"/>
              </a:ext>
            </a:extLst>
          </p:cNvPr>
          <p:cNvSpPr>
            <a:spLocks noGrp="1"/>
          </p:cNvSpPr>
          <p:nvPr>
            <p:ph type="title"/>
          </p:nvPr>
        </p:nvSpPr>
        <p:spPr bwMode="auto">
          <a:xfrm>
            <a:off x="609600" y="274638"/>
            <a:ext cx="10972800" cy="71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altLang="en-US"/>
              <a:t>Click to edit Master title style</a:t>
            </a:r>
          </a:p>
        </p:txBody>
      </p:sp>
      <p:sp>
        <p:nvSpPr>
          <p:cNvPr id="1027" name="Text Placeholder 2">
            <a:extLst>
              <a:ext uri="{FF2B5EF4-FFF2-40B4-BE49-F238E27FC236}">
                <a16:creationId xmlns:a16="http://schemas.microsoft.com/office/drawing/2014/main" id="{3FABDA1E-F9F3-46ED-94D6-9118AEC9B437}"/>
              </a:ext>
            </a:extLst>
          </p:cNvPr>
          <p:cNvSpPr>
            <a:spLocks noGrp="1"/>
          </p:cNvSpPr>
          <p:nvPr>
            <p:ph type="body" idx="1"/>
          </p:nvPr>
        </p:nvSpPr>
        <p:spPr bwMode="auto">
          <a:xfrm>
            <a:off x="609600" y="1192192"/>
            <a:ext cx="10972800" cy="498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2383B012-1D02-44C2-B1DC-B9F182B68DCE}"/>
              </a:ext>
            </a:extLst>
          </p:cNvPr>
          <p:cNvSpPr>
            <a:spLocks noGrp="1"/>
          </p:cNvSpPr>
          <p:nvPr>
            <p:ph type="sldNum" sz="quarter" idx="4"/>
          </p:nvPr>
        </p:nvSpPr>
        <p:spPr>
          <a:xfrm>
            <a:off x="11207632" y="6373548"/>
            <a:ext cx="374767" cy="365125"/>
          </a:xfrm>
          <a:prstGeom prst="rect">
            <a:avLst/>
          </a:prstGeom>
        </p:spPr>
        <p:txBody>
          <a:bodyPr vert="horz" wrap="square" lIns="0" tIns="0" rIns="0" bIns="0" numCol="1" anchor="ctr" anchorCtr="0" compatLnSpc="1">
            <a:prstTxWarp prst="textNoShape">
              <a:avLst/>
            </a:prstTxWarp>
          </a:bodyPr>
          <a:lstStyle>
            <a:lvl1pPr algn="r" eaLnBrk="1" hangingPunct="1">
              <a:defRPr sz="800">
                <a:solidFill>
                  <a:schemeClr val="bg2"/>
                </a:solidFill>
                <a:latin typeface="Arial" panose="020B0604020202020204" pitchFamily="34" charset="0"/>
                <a:cs typeface="Arial" panose="020B0604020202020204" pitchFamily="34" charset="0"/>
              </a:defRPr>
            </a:lvl1pPr>
          </a:lstStyle>
          <a:p>
            <a:fld id="{73283993-E7C3-4F97-9AD8-5128A0C3BCAE}" type="slidenum">
              <a:rPr lang="en-US" altLang="en-US" smtClean="0"/>
              <a:pPr/>
              <a:t>‹#›</a:t>
            </a:fld>
            <a:endParaRPr lang="en-US" altLang="en-US" dirty="0"/>
          </a:p>
        </p:txBody>
      </p:sp>
    </p:spTree>
    <p:extLst>
      <p:ext uri="{BB962C8B-B14F-4D97-AF65-F5344CB8AC3E}">
        <p14:creationId xmlns:p14="http://schemas.microsoft.com/office/powerpoint/2010/main" val="335360267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Lst>
  <p:hf hdr="0" ftr="0" dt="0"/>
  <p:txStyles>
    <p:titleStyle>
      <a:lvl1pPr algn="l" rtl="0" eaLnBrk="0" fontAlgn="base" hangingPunct="0">
        <a:spcBef>
          <a:spcPct val="0"/>
        </a:spcBef>
        <a:spcAft>
          <a:spcPct val="0"/>
        </a:spcAft>
        <a:defRPr kumimoji="0" lang="en-US" altLang="en-US" sz="2800" b="0" i="0" u="none" strike="noStrike" kern="1200" cap="none" spc="0" normalizeH="0" baseline="0" dirty="0">
          <a:ln>
            <a:noFill/>
          </a:ln>
          <a:solidFill>
            <a:schemeClr val="tx2"/>
          </a:solidFill>
          <a:effectLst/>
          <a:uLnTx/>
          <a:uFillTx/>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lnSpc>
          <a:spcPct val="90000"/>
        </a:lnSpc>
        <a:spcBef>
          <a:spcPts val="600"/>
        </a:spcBef>
        <a:spcAft>
          <a:spcPct val="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90000"/>
        </a:lnSpc>
        <a:spcBef>
          <a:spcPts val="600"/>
        </a:spcBef>
        <a:spcAft>
          <a:spcPct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600"/>
        </a:spcBef>
        <a:spcAft>
          <a:spcPct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840">
          <p15:clr>
            <a:srgbClr val="F26B43"/>
          </p15:clr>
        </p15:guide>
        <p15:guide id="3" pos="384">
          <p15:clr>
            <a:srgbClr val="F26B43"/>
          </p15:clr>
        </p15:guide>
        <p15:guide id="4" pos="72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oleObject" Target="../embeddings/oleObject23.bin"/><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notesSlide" Target="../notesSlides/notesSlide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slideLayout" Target="../slideLayouts/slideLayout7.xml"/><Relationship Id="rId5" Type="http://schemas.openxmlformats.org/officeDocument/2006/relationships/tags" Target="../tags/tag28.xml"/><Relationship Id="rId15" Type="http://schemas.openxmlformats.org/officeDocument/2006/relationships/chart" Target="../charts/chart3.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1.xml"/><Relationship Id="rId1" Type="http://schemas.openxmlformats.org/officeDocument/2006/relationships/tags" Target="../tags/tag3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6.xml"/><Relationship Id="rId1" Type="http://schemas.openxmlformats.org/officeDocument/2006/relationships/tags" Target="../tags/tag35.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1.xml"/><Relationship Id="rId1" Type="http://schemas.openxmlformats.org/officeDocument/2006/relationships/tags" Target="../tags/tag36.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10.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1.xml"/><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30.png"/><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29.png"/><Relationship Id="rId5" Type="http://schemas.openxmlformats.org/officeDocument/2006/relationships/chart" Target="../charts/chart1.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oleObject" Target="../embeddings/oleObject18.bin"/><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oleObject" Target="../embeddings/oleObject20.bin"/><Relationship Id="rId7" Type="http://schemas.openxmlformats.org/officeDocument/2006/relationships/image" Target="../media/image37.jpeg"/><Relationship Id="rId12" Type="http://schemas.openxmlformats.org/officeDocument/2006/relationships/image" Target="../media/image42.pn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36.jpeg"/><Relationship Id="rId11" Type="http://schemas.openxmlformats.org/officeDocument/2006/relationships/image" Target="../media/image41.svg"/><Relationship Id="rId5" Type="http://schemas.openxmlformats.org/officeDocument/2006/relationships/image" Target="../media/image35.jpg"/><Relationship Id="rId10" Type="http://schemas.openxmlformats.org/officeDocument/2006/relationships/image" Target="../media/image40.png"/><Relationship Id="rId4" Type="http://schemas.openxmlformats.org/officeDocument/2006/relationships/image" Target="../media/image1.emf"/><Relationship Id="rId9" Type="http://schemas.openxmlformats.org/officeDocument/2006/relationships/image" Target="../media/image39.svg"/><Relationship Id="rId1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22.xml"/><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22.bin"/><Relationship Id="rId7" Type="http://schemas.openxmlformats.org/officeDocument/2006/relationships/diagramQuickStyle" Target="../diagrams/quickStyle1.xml"/><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B0FDF5-DBC5-583F-ED78-FDAAEFEDEBB3}"/>
              </a:ext>
            </a:extLst>
          </p:cNvPr>
          <p:cNvGraphicFramePr>
            <a:graphicFrameLocks noChangeAspect="1"/>
          </p:cNvGraphicFramePr>
          <p:nvPr>
            <p:custDataLst>
              <p:tags r:id="rId1"/>
            </p:custDataLst>
            <p:extLst>
              <p:ext uri="{D42A27DB-BD31-4B8C-83A1-F6EECF244321}">
                <p14:modId xmlns:p14="http://schemas.microsoft.com/office/powerpoint/2010/main" val="19735187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4B0FDF5-DBC5-583F-ED78-FDAAEFEDEBB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DDEAEC92-EB91-65C0-9375-F886412B7B99}"/>
              </a:ext>
            </a:extLst>
          </p:cNvPr>
          <p:cNvSpPr>
            <a:spLocks noGrp="1"/>
          </p:cNvSpPr>
          <p:nvPr>
            <p:ph type="ctrTitle"/>
          </p:nvPr>
        </p:nvSpPr>
        <p:spPr/>
        <p:txBody>
          <a:bodyPr vert="horz"/>
          <a:lstStyle/>
          <a:p>
            <a:r>
              <a:rPr lang="en-US" dirty="0"/>
              <a:t>Investor Presentation</a:t>
            </a:r>
            <a:endParaRPr lang="en-US" b="0" dirty="0"/>
          </a:p>
        </p:txBody>
      </p:sp>
      <p:sp>
        <p:nvSpPr>
          <p:cNvPr id="10" name="Subtitle 9">
            <a:extLst>
              <a:ext uri="{FF2B5EF4-FFF2-40B4-BE49-F238E27FC236}">
                <a16:creationId xmlns:a16="http://schemas.microsoft.com/office/drawing/2014/main" id="{25CE8E0A-B182-A689-8363-FA891428B963}"/>
              </a:ext>
            </a:extLst>
          </p:cNvPr>
          <p:cNvSpPr>
            <a:spLocks noGrp="1"/>
          </p:cNvSpPr>
          <p:nvPr>
            <p:ph type="subTitle" idx="1"/>
          </p:nvPr>
        </p:nvSpPr>
        <p:spPr/>
        <p:txBody>
          <a:bodyPr>
            <a:normAutofit lnSpcReduction="10000"/>
          </a:bodyPr>
          <a:lstStyle/>
          <a:p>
            <a:r>
              <a:rPr lang="en-US"/>
              <a:t>July </a:t>
            </a:r>
            <a:r>
              <a:rPr lang="en-US" dirty="0"/>
              <a:t>2024</a:t>
            </a:r>
          </a:p>
        </p:txBody>
      </p:sp>
    </p:spTree>
    <p:extLst>
      <p:ext uri="{BB962C8B-B14F-4D97-AF65-F5344CB8AC3E}">
        <p14:creationId xmlns:p14="http://schemas.microsoft.com/office/powerpoint/2010/main" val="29085504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71E94E5-25A9-493D-9CD5-48F857A54B5D}"/>
              </a:ext>
            </a:extLst>
          </p:cNvPr>
          <p:cNvGraphicFramePr>
            <a:graphicFrameLocks noChangeAspect="1"/>
          </p:cNvGraphicFramePr>
          <p:nvPr>
            <p:custDataLst>
              <p:tags r:id="rId1"/>
            </p:custDataLst>
            <p:extLst>
              <p:ext uri="{D42A27DB-BD31-4B8C-83A1-F6EECF244321}">
                <p14:modId xmlns:p14="http://schemas.microsoft.com/office/powerpoint/2010/main" val="4130181574"/>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59" imgH="360" progId="TCLayout.ActiveDocument.1">
                  <p:embed/>
                </p:oleObj>
              </mc:Choice>
              <mc:Fallback>
                <p:oleObj name="think-cell Slide" r:id="rId13" imgW="359" imgH="360" progId="TCLayout.ActiveDocument.1">
                  <p:embed/>
                  <p:pic>
                    <p:nvPicPr>
                      <p:cNvPr id="9" name="Object 8" hidden="1">
                        <a:extLst>
                          <a:ext uri="{FF2B5EF4-FFF2-40B4-BE49-F238E27FC236}">
                            <a16:creationId xmlns:a16="http://schemas.microsoft.com/office/drawing/2014/main" id="{371E94E5-25A9-493D-9CD5-48F857A54B5D}"/>
                          </a:ext>
                        </a:extLst>
                      </p:cNvPr>
                      <p:cNvPicPr/>
                      <p:nvPr/>
                    </p:nvPicPr>
                    <p:blipFill>
                      <a:blip r:embed="rId14"/>
                      <a:stretch>
                        <a:fillRect/>
                      </a:stretch>
                    </p:blipFill>
                    <p:spPr>
                      <a:xfrm>
                        <a:off x="1525588" y="1588"/>
                        <a:ext cx="1588" cy="1588"/>
                      </a:xfrm>
                      <a:prstGeom prst="rect">
                        <a:avLst/>
                      </a:prstGeom>
                    </p:spPr>
                  </p:pic>
                </p:oleObj>
              </mc:Fallback>
            </mc:AlternateContent>
          </a:graphicData>
        </a:graphic>
      </p:graphicFrame>
      <p:sp>
        <p:nvSpPr>
          <p:cNvPr id="20" name="Arrow: Left 19">
            <a:extLst>
              <a:ext uri="{FF2B5EF4-FFF2-40B4-BE49-F238E27FC236}">
                <a16:creationId xmlns:a16="http://schemas.microsoft.com/office/drawing/2014/main" id="{741C776D-491F-C370-DAF6-4CDD6C18D078}"/>
              </a:ext>
            </a:extLst>
          </p:cNvPr>
          <p:cNvSpPr/>
          <p:nvPr/>
        </p:nvSpPr>
        <p:spPr>
          <a:xfrm>
            <a:off x="7125678" y="1001127"/>
            <a:ext cx="4461484" cy="545806"/>
          </a:xfrm>
          <a:prstGeom prst="leftArrow">
            <a:avLst>
              <a:gd name="adj1" fmla="val 100000"/>
              <a:gd name="adj2" fmla="val 0"/>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6F8A9D4B-C565-52CC-9CB6-CCA760BE92A4}"/>
              </a:ext>
            </a:extLst>
          </p:cNvPr>
          <p:cNvSpPr>
            <a:spLocks noGrp="1"/>
          </p:cNvSpPr>
          <p:nvPr>
            <p:ph type="title"/>
          </p:nvPr>
        </p:nvSpPr>
        <p:spPr/>
        <p:txBody>
          <a:bodyPr vert="horz">
            <a:normAutofit/>
          </a:bodyPr>
          <a:lstStyle/>
          <a:p>
            <a:pPr indent="12700" fontAlgn="base">
              <a:spcBef>
                <a:spcPct val="0"/>
              </a:spcBef>
              <a:spcAft>
                <a:spcPct val="0"/>
              </a:spcAft>
            </a:pPr>
            <a:r>
              <a:rPr lang="en-US" b="1" dirty="0">
                <a:solidFill>
                  <a:schemeClr val="bg1"/>
                </a:solidFill>
                <a:latin typeface="Arial" panose="020B0604020202020204" pitchFamily="34" charset="0"/>
                <a:cs typeface="Arial" panose="020B0604020202020204" pitchFamily="34" charset="0"/>
              </a:rPr>
              <a:t>Balanced Approach to Capital Allocation</a:t>
            </a:r>
          </a:p>
        </p:txBody>
      </p:sp>
      <p:grpSp>
        <p:nvGrpSpPr>
          <p:cNvPr id="3" name="Group 2">
            <a:extLst>
              <a:ext uri="{FF2B5EF4-FFF2-40B4-BE49-F238E27FC236}">
                <a16:creationId xmlns:a16="http://schemas.microsoft.com/office/drawing/2014/main" id="{55DA66A4-7348-5DCB-B8CE-C398ED864FFB}"/>
              </a:ext>
            </a:extLst>
          </p:cNvPr>
          <p:cNvGrpSpPr/>
          <p:nvPr/>
        </p:nvGrpSpPr>
        <p:grpSpPr>
          <a:xfrm>
            <a:off x="100828" y="1713563"/>
            <a:ext cx="7024850" cy="3963987"/>
            <a:chOff x="3150796" y="4185097"/>
            <a:chExt cx="5631164" cy="1855893"/>
          </a:xfrm>
        </p:grpSpPr>
        <p:sp>
          <p:nvSpPr>
            <p:cNvPr id="1194" name="Rectangle 1193">
              <a:extLst>
                <a:ext uri="{FF2B5EF4-FFF2-40B4-BE49-F238E27FC236}">
                  <a16:creationId xmlns:a16="http://schemas.microsoft.com/office/drawing/2014/main" id="{0A45EA7D-2B14-7594-F54A-412BD4A57A39}"/>
                </a:ext>
              </a:extLst>
            </p:cNvPr>
            <p:cNvSpPr/>
            <p:nvPr/>
          </p:nvSpPr>
          <p:spPr>
            <a:xfrm>
              <a:off x="4985772" y="4185097"/>
              <a:ext cx="1961212" cy="297900"/>
            </a:xfrm>
            <a:prstGeom prst="rect">
              <a:avLst/>
            </a:prstGeom>
            <a:solidFill>
              <a:srgbClr val="61A6C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12700" algn="ctr" defTabSz="914400"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ree Cash Flow</a:t>
              </a:r>
              <a:endParaRPr kumimoji="0" lang="en-US" sz="120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95" name="TextBox 1194">
              <a:extLst>
                <a:ext uri="{FF2B5EF4-FFF2-40B4-BE49-F238E27FC236}">
                  <a16:creationId xmlns:a16="http://schemas.microsoft.com/office/drawing/2014/main" id="{F75EEC46-FED2-1485-DE44-74E7E8B91E74}"/>
                </a:ext>
              </a:extLst>
            </p:cNvPr>
            <p:cNvSpPr txBox="1"/>
            <p:nvPr/>
          </p:nvSpPr>
          <p:spPr>
            <a:xfrm>
              <a:off x="3189134" y="5680018"/>
              <a:ext cx="2228571" cy="360972"/>
            </a:xfrm>
            <a:prstGeom prst="rect">
              <a:avLst/>
            </a:prstGeom>
            <a:noFill/>
          </p:spPr>
          <p:txBody>
            <a:bodyPr wrap="square" rtlCol="0">
              <a:noAutofit/>
            </a:bodyPr>
            <a:lstStyle/>
            <a:p>
              <a:pPr marR="0" lvl="0" algn="ctr" defTabSz="914400" rtl="0" eaLnBrk="1" fontAlgn="auto" latinLnBrk="0" hangingPunct="1">
                <a:lnSpc>
                  <a:spcPct val="90000"/>
                </a:lnSpc>
                <a:spcBef>
                  <a:spcPts val="600"/>
                </a:spcBef>
                <a:spcAft>
                  <a:spcPts val="0"/>
                </a:spcAft>
                <a:buClrTx/>
                <a:buSzTx/>
                <a:tabLst/>
                <a:defRPr/>
              </a:pPr>
              <a:r>
                <a:rPr kumimoji="0" lang="en-US" sz="1400" b="1" i="0" u="none" strike="noStrike" kern="1200" cap="none" spc="0" normalizeH="0" baseline="0" noProof="0" dirty="0">
                  <a:ln>
                    <a:noFill/>
                  </a:ln>
                  <a:solidFill>
                    <a:srgbClr val="61A6CC"/>
                  </a:solidFill>
                  <a:effectLst/>
                  <a:uLnTx/>
                  <a:uFillTx/>
                  <a:latin typeface="Arial" panose="020B0604020202020204" pitchFamily="34" charset="0"/>
                  <a:ea typeface="+mn-ea"/>
                  <a:cs typeface="Arial" panose="020B0604020202020204" pitchFamily="34" charset="0"/>
                </a:rPr>
                <a:t>shareholder returns </a:t>
              </a:r>
            </a:p>
            <a:p>
              <a:pPr marR="0" lvl="0" algn="ctr" defTabSz="914400" rtl="0" eaLnBrk="1" fontAlgn="auto" latinLnBrk="0" hangingPunct="1">
                <a:lnSpc>
                  <a:spcPct val="90000"/>
                </a:lnSpc>
                <a:spcBef>
                  <a:spcPts val="600"/>
                </a:spcBef>
                <a:spcAft>
                  <a:spcPts val="0"/>
                </a:spcAft>
                <a:buClrTx/>
                <a:buSzTx/>
                <a:tabLst/>
                <a:defRPr/>
              </a:pPr>
              <a:r>
                <a:rPr lang="en-US" sz="1200" dirty="0">
                  <a:solidFill>
                    <a:schemeClr val="tx2"/>
                  </a:solidFill>
                  <a:latin typeface="Arial" panose="020B0604020202020204" pitchFamily="34" charset="0"/>
                  <a:cs typeface="Arial" panose="020B0604020202020204" pitchFamily="34" charset="0"/>
                </a:rPr>
                <a:t>Dividends and share repurchases</a:t>
              </a:r>
              <a:endParaRPr lang="en-US" sz="1400" dirty="0">
                <a:solidFill>
                  <a:schemeClr val="tx2"/>
                </a:solidFill>
                <a:latin typeface="Arial" panose="020B0604020202020204" pitchFamily="34" charset="0"/>
                <a:cs typeface="Arial" panose="020B0604020202020204" pitchFamily="34" charset="0"/>
              </a:endParaRPr>
            </a:p>
          </p:txBody>
        </p:sp>
        <p:sp>
          <p:nvSpPr>
            <p:cNvPr id="1196" name="TextBox 1195">
              <a:extLst>
                <a:ext uri="{FF2B5EF4-FFF2-40B4-BE49-F238E27FC236}">
                  <a16:creationId xmlns:a16="http://schemas.microsoft.com/office/drawing/2014/main" id="{190D662A-D821-6498-BF00-22B7D9E8956C}"/>
                </a:ext>
              </a:extLst>
            </p:cNvPr>
            <p:cNvSpPr txBox="1"/>
            <p:nvPr/>
          </p:nvSpPr>
          <p:spPr>
            <a:xfrm>
              <a:off x="6533551" y="5680018"/>
              <a:ext cx="2228571" cy="360972"/>
            </a:xfrm>
            <a:prstGeom prst="rect">
              <a:avLst/>
            </a:prstGeom>
            <a:noFill/>
          </p:spPr>
          <p:txBody>
            <a:bodyPr wrap="square" rtlCol="0">
              <a:noAutofit/>
            </a:bodyPr>
            <a:lstStyle/>
            <a:p>
              <a:pPr marR="0" lvl="0" algn="ctr" defTabSz="914400" rtl="0" eaLnBrk="1" fontAlgn="auto" latinLnBrk="0" hangingPunct="1">
                <a:lnSpc>
                  <a:spcPct val="90000"/>
                </a:lnSpc>
                <a:spcBef>
                  <a:spcPts val="600"/>
                </a:spcBef>
                <a:spcAft>
                  <a:spcPts val="0"/>
                </a:spcAft>
                <a:buClrTx/>
                <a:buSzTx/>
                <a:tabLst/>
                <a:defRPr/>
              </a:pPr>
              <a:r>
                <a:rPr kumimoji="0" lang="en-US" sz="1400" b="1" i="0" u="none" strike="noStrike" kern="1200" cap="none" spc="0" normalizeH="0" baseline="0" noProof="0" dirty="0">
                  <a:ln>
                    <a:noFill/>
                  </a:ln>
                  <a:solidFill>
                    <a:srgbClr val="61A6CC"/>
                  </a:solidFill>
                  <a:effectLst/>
                  <a:uLnTx/>
                  <a:uFillTx/>
                  <a:latin typeface="Arial" panose="020B0604020202020204" pitchFamily="34" charset="0"/>
                  <a:ea typeface="+mn-ea"/>
                  <a:cs typeface="Arial" panose="020B0604020202020204" pitchFamily="34" charset="0"/>
                </a:rPr>
                <a:t>balance sheet strength</a:t>
              </a:r>
            </a:p>
            <a:p>
              <a:pPr marR="0" lvl="0" algn="ctr" defTabSz="914400" rtl="0" eaLnBrk="1" fontAlgn="auto" latinLnBrk="0" hangingPunct="1">
                <a:lnSpc>
                  <a:spcPct val="90000"/>
                </a:lnSpc>
                <a:spcBef>
                  <a:spcPts val="600"/>
                </a:spcBef>
                <a:spcAft>
                  <a:spcPts val="0"/>
                </a:spcAft>
                <a:buClrTx/>
                <a:buSzTx/>
                <a:tabLst/>
                <a:defRPr/>
              </a:pPr>
              <a:r>
                <a:rPr kumimoji="0" lang="en-US" sz="120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M&amp;A flexibility</a:t>
              </a:r>
              <a:endParaRPr kumimoji="0" lang="en-US" sz="140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p:txBody>
        </p:sp>
        <p:sp>
          <p:nvSpPr>
            <p:cNvPr id="1197" name="Rectangle 1196">
              <a:extLst>
                <a:ext uri="{FF2B5EF4-FFF2-40B4-BE49-F238E27FC236}">
                  <a16:creationId xmlns:a16="http://schemas.microsoft.com/office/drawing/2014/main" id="{9691FC30-45DD-96DD-0B74-022C57255939}"/>
                </a:ext>
              </a:extLst>
            </p:cNvPr>
            <p:cNvSpPr/>
            <p:nvPr/>
          </p:nvSpPr>
          <p:spPr>
            <a:xfrm>
              <a:off x="4978999" y="5284860"/>
              <a:ext cx="1974669" cy="215434"/>
            </a:xfrm>
            <a:prstGeom prst="rect">
              <a:avLst/>
            </a:prstGeom>
            <a:solidFill>
              <a:srgbClr val="61A6CC"/>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1270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pending on M&amp;A opportunity set</a:t>
              </a:r>
            </a:p>
          </p:txBody>
        </p:sp>
        <p:sp>
          <p:nvSpPr>
            <p:cNvPr id="1198" name="Oval 1197">
              <a:extLst>
                <a:ext uri="{FF2B5EF4-FFF2-40B4-BE49-F238E27FC236}">
                  <a16:creationId xmlns:a16="http://schemas.microsoft.com/office/drawing/2014/main" id="{AEF6DB97-041E-882A-949F-C21430919947}"/>
                </a:ext>
              </a:extLst>
            </p:cNvPr>
            <p:cNvSpPr/>
            <p:nvPr/>
          </p:nvSpPr>
          <p:spPr>
            <a:xfrm>
              <a:off x="3960909" y="5241679"/>
              <a:ext cx="638570" cy="332271"/>
            </a:xfrm>
            <a:prstGeom prst="ellipse">
              <a:avLst/>
            </a:prstGeom>
            <a:solidFill>
              <a:schemeClr val="bg1"/>
            </a:solidFill>
            <a:ln w="19050">
              <a:solidFill>
                <a:srgbClr val="003055"/>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3055"/>
                  </a:solidFill>
                  <a:latin typeface="Arial" panose="020B0604020202020204" pitchFamily="34" charset="0"/>
                  <a:cs typeface="Arial" panose="020B0604020202020204" pitchFamily="34" charset="0"/>
                </a:rPr>
                <a:t>~50%</a:t>
              </a:r>
              <a:endParaRPr kumimoji="0" lang="en-US" sz="2000" b="1" i="0" u="none" strike="noStrike" kern="1200" cap="none" spc="0" normalizeH="0" baseline="0" noProof="0" dirty="0">
                <a:ln>
                  <a:noFill/>
                </a:ln>
                <a:solidFill>
                  <a:srgbClr val="003055"/>
                </a:solidFill>
                <a:effectLst/>
                <a:uLnTx/>
                <a:uFillTx/>
                <a:latin typeface="Arial" panose="020B0604020202020204" pitchFamily="34" charset="0"/>
                <a:ea typeface="+mn-ea"/>
                <a:cs typeface="Arial" panose="020B0604020202020204" pitchFamily="34" charset="0"/>
              </a:endParaRPr>
            </a:p>
          </p:txBody>
        </p:sp>
        <p:sp>
          <p:nvSpPr>
            <p:cNvPr id="1199" name="Oval 1198">
              <a:extLst>
                <a:ext uri="{FF2B5EF4-FFF2-40B4-BE49-F238E27FC236}">
                  <a16:creationId xmlns:a16="http://schemas.microsoft.com/office/drawing/2014/main" id="{8930B500-0976-09C3-EEFB-2CCC81E7BD12}"/>
                </a:ext>
              </a:extLst>
            </p:cNvPr>
            <p:cNvSpPr/>
            <p:nvPr/>
          </p:nvSpPr>
          <p:spPr>
            <a:xfrm>
              <a:off x="7317994" y="5239291"/>
              <a:ext cx="638570" cy="328107"/>
            </a:xfrm>
            <a:prstGeom prst="ellipse">
              <a:avLst/>
            </a:prstGeom>
            <a:solidFill>
              <a:schemeClr val="bg1"/>
            </a:solidFill>
            <a:ln w="19050">
              <a:solidFill>
                <a:srgbClr val="003055"/>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3055"/>
                  </a:solidFill>
                  <a:latin typeface="Arial" panose="020B0604020202020204" pitchFamily="34" charset="0"/>
                  <a:cs typeface="Arial" panose="020B0604020202020204" pitchFamily="34" charset="0"/>
                </a:rPr>
                <a:t>~50%</a:t>
              </a:r>
              <a:endParaRPr kumimoji="0" lang="en-US" sz="2000" b="1" i="0" u="none" strike="noStrike" kern="1200" cap="none" spc="0" normalizeH="0" baseline="0" noProof="0" dirty="0">
                <a:ln>
                  <a:noFill/>
                </a:ln>
                <a:solidFill>
                  <a:srgbClr val="003055"/>
                </a:solidFill>
                <a:effectLst/>
                <a:uLnTx/>
                <a:uFillTx/>
                <a:latin typeface="Arial" panose="020B0604020202020204" pitchFamily="34" charset="0"/>
                <a:ea typeface="+mn-ea"/>
                <a:cs typeface="Arial" panose="020B0604020202020204" pitchFamily="34" charset="0"/>
              </a:endParaRPr>
            </a:p>
          </p:txBody>
        </p:sp>
        <p:grpSp>
          <p:nvGrpSpPr>
            <p:cNvPr id="1200" name="Group 1199">
              <a:extLst>
                <a:ext uri="{FF2B5EF4-FFF2-40B4-BE49-F238E27FC236}">
                  <a16:creationId xmlns:a16="http://schemas.microsoft.com/office/drawing/2014/main" id="{46343E77-9399-A8A2-2160-4A3682A8A87B}"/>
                </a:ext>
              </a:extLst>
            </p:cNvPr>
            <p:cNvGrpSpPr/>
            <p:nvPr/>
          </p:nvGrpSpPr>
          <p:grpSpPr>
            <a:xfrm>
              <a:off x="4684804" y="5265506"/>
              <a:ext cx="2563059" cy="270464"/>
              <a:chOff x="3597787" y="3932119"/>
              <a:chExt cx="4996266" cy="347044"/>
            </a:xfrm>
          </p:grpSpPr>
          <p:sp>
            <p:nvSpPr>
              <p:cNvPr id="1205" name="Triangle 4">
                <a:extLst>
                  <a:ext uri="{FF2B5EF4-FFF2-40B4-BE49-F238E27FC236}">
                    <a16:creationId xmlns:a16="http://schemas.microsoft.com/office/drawing/2014/main" id="{17A8E46F-EE80-3E74-3E1F-8E89286C5881}"/>
                  </a:ext>
                </a:extLst>
              </p:cNvPr>
              <p:cNvSpPr/>
              <p:nvPr/>
            </p:nvSpPr>
            <p:spPr>
              <a:xfrm rot="16200000">
                <a:off x="3636301" y="3893605"/>
                <a:ext cx="347042" cy="424070"/>
              </a:xfrm>
              <a:prstGeom prst="triangle">
                <a:avLst/>
              </a:prstGeom>
              <a:solidFill>
                <a:srgbClr val="61A6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07" name="Triangle 5">
                <a:extLst>
                  <a:ext uri="{FF2B5EF4-FFF2-40B4-BE49-F238E27FC236}">
                    <a16:creationId xmlns:a16="http://schemas.microsoft.com/office/drawing/2014/main" id="{592F6450-518F-30B4-DB0A-A56671D840AD}"/>
                  </a:ext>
                </a:extLst>
              </p:cNvPr>
              <p:cNvSpPr/>
              <p:nvPr/>
            </p:nvSpPr>
            <p:spPr>
              <a:xfrm rot="5400000">
                <a:off x="8208496" y="3893607"/>
                <a:ext cx="347043" cy="424070"/>
              </a:xfrm>
              <a:prstGeom prst="triangle">
                <a:avLst/>
              </a:prstGeom>
              <a:solidFill>
                <a:srgbClr val="61A6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201" name="Rectangle 1200">
              <a:extLst>
                <a:ext uri="{FF2B5EF4-FFF2-40B4-BE49-F238E27FC236}">
                  <a16:creationId xmlns:a16="http://schemas.microsoft.com/office/drawing/2014/main" id="{D1C30CD2-6041-F541-CCF0-1F75E2451CB5}"/>
                </a:ext>
              </a:extLst>
            </p:cNvPr>
            <p:cNvSpPr/>
            <p:nvPr/>
          </p:nvSpPr>
          <p:spPr>
            <a:xfrm>
              <a:off x="3150796" y="4864852"/>
              <a:ext cx="5631164" cy="2393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12700" algn="ctr" defTabSz="914400" rtl="0" eaLnBrk="1" fontAlgn="base" latinLnBrk="0" hangingPunct="1">
                <a:lnSpc>
                  <a:spcPct val="100000"/>
                </a:lnSpc>
                <a:spcBef>
                  <a:spcPct val="0"/>
                </a:spcBef>
                <a:spcAft>
                  <a:spcPct val="0"/>
                </a:spcAft>
                <a:buClrTx/>
                <a:buSzTx/>
                <a:buFontTx/>
                <a:buNone/>
                <a:tabLst/>
                <a:defRPr/>
              </a:pPr>
              <a:r>
                <a:rPr kumimoji="0" lang="en-US" sz="1050" b="1" i="1" u="none" strike="noStrike" kern="1200" cap="none" spc="0" normalizeH="0" baseline="0" noProof="0" dirty="0">
                  <a:ln>
                    <a:noFill/>
                  </a:ln>
                  <a:solidFill>
                    <a:srgbClr val="003055"/>
                  </a:solidFill>
                  <a:effectLst/>
                  <a:uLnTx/>
                  <a:uFillTx/>
                  <a:latin typeface="Arial" panose="020B0604020202020204" pitchFamily="34" charset="0"/>
                  <a:ea typeface="+mn-ea"/>
                  <a:cs typeface="Arial" panose="020B0604020202020204" pitchFamily="34" charset="0"/>
                </a:rPr>
                <a:t>At target net leverage </a:t>
              </a:r>
              <a:br>
                <a:rPr kumimoji="0" lang="en-US" sz="1050" b="1" i="1" u="none" strike="noStrike" kern="1200" cap="none" spc="0" normalizeH="0" baseline="0" noProof="0" dirty="0">
                  <a:ln>
                    <a:noFill/>
                  </a:ln>
                  <a:solidFill>
                    <a:srgbClr val="003055"/>
                  </a:solidFill>
                  <a:effectLst/>
                  <a:uLnTx/>
                  <a:uFillTx/>
                  <a:latin typeface="Arial" panose="020B0604020202020204" pitchFamily="34" charset="0"/>
                  <a:ea typeface="+mn-ea"/>
                  <a:cs typeface="Arial" panose="020B0604020202020204" pitchFamily="34" charset="0"/>
                </a:rPr>
              </a:br>
              <a:r>
                <a:rPr kumimoji="0" lang="en-US" sz="1050" b="1" i="1" u="none" strike="noStrike" kern="1200" cap="none" spc="0" normalizeH="0" baseline="0" noProof="0" dirty="0">
                  <a:ln>
                    <a:noFill/>
                  </a:ln>
                  <a:solidFill>
                    <a:srgbClr val="003055"/>
                  </a:solidFill>
                  <a:effectLst/>
                  <a:uLnTx/>
                  <a:uFillTx/>
                  <a:latin typeface="Arial" panose="020B0604020202020204" pitchFamily="34" charset="0"/>
                  <a:ea typeface="+mn-ea"/>
                  <a:cs typeface="Arial" panose="020B0604020202020204" pitchFamily="34" charset="0"/>
                </a:rPr>
                <a:t>2X EBITDA</a:t>
              </a:r>
            </a:p>
          </p:txBody>
        </p:sp>
        <p:grpSp>
          <p:nvGrpSpPr>
            <p:cNvPr id="1202" name="Group 1201">
              <a:extLst>
                <a:ext uri="{FF2B5EF4-FFF2-40B4-BE49-F238E27FC236}">
                  <a16:creationId xmlns:a16="http://schemas.microsoft.com/office/drawing/2014/main" id="{9299718B-507B-BD0E-5288-F68EC0A02AF6}"/>
                </a:ext>
              </a:extLst>
            </p:cNvPr>
            <p:cNvGrpSpPr/>
            <p:nvPr/>
          </p:nvGrpSpPr>
          <p:grpSpPr>
            <a:xfrm>
              <a:off x="4645930" y="4482977"/>
              <a:ext cx="2643262" cy="713861"/>
              <a:chOff x="3522002" y="2099352"/>
              <a:chExt cx="5152606" cy="752316"/>
            </a:xfrm>
          </p:grpSpPr>
          <p:cxnSp>
            <p:nvCxnSpPr>
              <p:cNvPr id="1203" name="Straight Arrow Connector 1202">
                <a:extLst>
                  <a:ext uri="{FF2B5EF4-FFF2-40B4-BE49-F238E27FC236}">
                    <a16:creationId xmlns:a16="http://schemas.microsoft.com/office/drawing/2014/main" id="{547B0ED8-7B6E-24C4-467E-37B054558D24}"/>
                  </a:ext>
                </a:extLst>
              </p:cNvPr>
              <p:cNvCxnSpPr>
                <a:stCxn id="1194" idx="2"/>
              </p:cNvCxnSpPr>
              <p:nvPr/>
            </p:nvCxnSpPr>
            <p:spPr>
              <a:xfrm flipH="1">
                <a:off x="3522002" y="2099359"/>
                <a:ext cx="2573999" cy="752309"/>
              </a:xfrm>
              <a:prstGeom prst="straightConnector1">
                <a:avLst/>
              </a:prstGeom>
              <a:ln w="38100">
                <a:solidFill>
                  <a:srgbClr val="003055"/>
                </a:solidFill>
                <a:tailEnd type="triangle"/>
              </a:ln>
            </p:spPr>
            <p:style>
              <a:lnRef idx="1">
                <a:schemeClr val="accent1"/>
              </a:lnRef>
              <a:fillRef idx="0">
                <a:schemeClr val="accent1"/>
              </a:fillRef>
              <a:effectRef idx="0">
                <a:schemeClr val="accent1"/>
              </a:effectRef>
              <a:fontRef idx="minor">
                <a:schemeClr val="tx1"/>
              </a:fontRef>
            </p:style>
          </p:cxnSp>
          <p:cxnSp>
            <p:nvCxnSpPr>
              <p:cNvPr id="1204" name="Straight Arrow Connector 1203">
                <a:extLst>
                  <a:ext uri="{FF2B5EF4-FFF2-40B4-BE49-F238E27FC236}">
                    <a16:creationId xmlns:a16="http://schemas.microsoft.com/office/drawing/2014/main" id="{21630EDB-0296-FD28-1697-D9A1B2FCF0C1}"/>
                  </a:ext>
                </a:extLst>
              </p:cNvPr>
              <p:cNvCxnSpPr>
                <a:cxnSpLocks/>
              </p:cNvCxnSpPr>
              <p:nvPr/>
            </p:nvCxnSpPr>
            <p:spPr>
              <a:xfrm>
                <a:off x="6096001" y="2099352"/>
                <a:ext cx="2578607" cy="749808"/>
              </a:xfrm>
              <a:prstGeom prst="straightConnector1">
                <a:avLst/>
              </a:prstGeom>
              <a:ln w="38100">
                <a:solidFill>
                  <a:srgbClr val="003055"/>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2" name="TextBox 1">
            <a:extLst>
              <a:ext uri="{FF2B5EF4-FFF2-40B4-BE49-F238E27FC236}">
                <a16:creationId xmlns:a16="http://schemas.microsoft.com/office/drawing/2014/main" id="{E8962A8C-62FF-2637-1DD4-E4613EB0E22C}"/>
              </a:ext>
            </a:extLst>
          </p:cNvPr>
          <p:cNvSpPr txBox="1"/>
          <p:nvPr/>
        </p:nvSpPr>
        <p:spPr>
          <a:xfrm>
            <a:off x="7210425" y="1068948"/>
            <a:ext cx="4335463" cy="338554"/>
          </a:xfrm>
          <a:prstGeom prst="rect">
            <a:avLst/>
          </a:prstGeom>
          <a:noFill/>
        </p:spPr>
        <p:txBody>
          <a:bodyPr wrap="square" rtlCol="0">
            <a:spAutoFit/>
          </a:bodyPr>
          <a:lstStyle/>
          <a:p>
            <a:r>
              <a:rPr lang="en-US" sz="1600" dirty="0">
                <a:solidFill>
                  <a:srgbClr val="003055"/>
                </a:solidFill>
                <a:latin typeface="Arial" panose="020B0604020202020204" pitchFamily="34" charset="0"/>
                <a:cs typeface="Arial" panose="020B0604020202020204" pitchFamily="34" charset="0"/>
              </a:rPr>
              <a:t>Capex 2024 target $90-100M</a:t>
            </a:r>
          </a:p>
        </p:txBody>
      </p:sp>
      <p:sp>
        <p:nvSpPr>
          <p:cNvPr id="21" name="Arrow: Left 20">
            <a:extLst>
              <a:ext uri="{FF2B5EF4-FFF2-40B4-BE49-F238E27FC236}">
                <a16:creationId xmlns:a16="http://schemas.microsoft.com/office/drawing/2014/main" id="{8078287E-B6A2-D278-715D-04DC356C92D0}"/>
              </a:ext>
            </a:extLst>
          </p:cNvPr>
          <p:cNvSpPr/>
          <p:nvPr/>
        </p:nvSpPr>
        <p:spPr>
          <a:xfrm>
            <a:off x="7125678" y="1690967"/>
            <a:ext cx="4461484" cy="545806"/>
          </a:xfrm>
          <a:prstGeom prst="leftArrow">
            <a:avLst>
              <a:gd name="adj1" fmla="val 100000"/>
              <a:gd name="adj2" fmla="val 0"/>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095A0570-4BB6-ED47-A759-B07E01848B10}"/>
              </a:ext>
            </a:extLst>
          </p:cNvPr>
          <p:cNvSpPr txBox="1"/>
          <p:nvPr/>
        </p:nvSpPr>
        <p:spPr>
          <a:xfrm>
            <a:off x="7210425" y="1773795"/>
            <a:ext cx="4335463" cy="338554"/>
          </a:xfrm>
          <a:prstGeom prst="rect">
            <a:avLst/>
          </a:prstGeom>
          <a:noFill/>
        </p:spPr>
        <p:txBody>
          <a:bodyPr wrap="square" rtlCol="0">
            <a:spAutoFit/>
          </a:bodyPr>
          <a:lstStyle/>
          <a:p>
            <a:r>
              <a:rPr lang="en-US" sz="1600" dirty="0">
                <a:solidFill>
                  <a:srgbClr val="003055"/>
                </a:solidFill>
                <a:latin typeface="Arial" panose="020B0604020202020204" pitchFamily="34" charset="0"/>
                <a:cs typeface="Arial" panose="020B0604020202020204" pitchFamily="34" charset="0"/>
              </a:rPr>
              <a:t>FCF 2024 target $140-160M</a:t>
            </a:r>
          </a:p>
        </p:txBody>
      </p:sp>
      <p:sp>
        <p:nvSpPr>
          <p:cNvPr id="23" name="Arrow: Left 22">
            <a:extLst>
              <a:ext uri="{FF2B5EF4-FFF2-40B4-BE49-F238E27FC236}">
                <a16:creationId xmlns:a16="http://schemas.microsoft.com/office/drawing/2014/main" id="{48BF7529-288A-69F5-A3AE-C91045C801B1}"/>
              </a:ext>
            </a:extLst>
          </p:cNvPr>
          <p:cNvSpPr/>
          <p:nvPr/>
        </p:nvSpPr>
        <p:spPr>
          <a:xfrm>
            <a:off x="7121020" y="2400300"/>
            <a:ext cx="4507417" cy="1520825"/>
          </a:xfrm>
          <a:prstGeom prst="leftArrow">
            <a:avLst>
              <a:gd name="adj1" fmla="val 100000"/>
              <a:gd name="adj2" fmla="val 0"/>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06" name="Chart 1205">
            <a:extLst>
              <a:ext uri="{FF2B5EF4-FFF2-40B4-BE49-F238E27FC236}">
                <a16:creationId xmlns:a16="http://schemas.microsoft.com/office/drawing/2014/main" id="{178842BE-B703-D793-A790-1AC9C05FF97A}"/>
              </a:ext>
            </a:extLst>
          </p:cNvPr>
          <p:cNvGraphicFramePr/>
          <p:nvPr>
            <p:custDataLst>
              <p:tags r:id="rId2"/>
            </p:custDataLst>
            <p:extLst>
              <p:ext uri="{D42A27DB-BD31-4B8C-83A1-F6EECF244321}">
                <p14:modId xmlns:p14="http://schemas.microsoft.com/office/powerpoint/2010/main" val="2020733114"/>
              </p:ext>
            </p:extLst>
          </p:nvPr>
        </p:nvGraphicFramePr>
        <p:xfrm>
          <a:off x="7289800" y="2833688"/>
          <a:ext cx="4194175" cy="1098550"/>
        </p:xfrm>
        <a:graphic>
          <a:graphicData uri="http://schemas.openxmlformats.org/drawingml/2006/chart">
            <c:chart xmlns:c="http://schemas.openxmlformats.org/drawingml/2006/chart" xmlns:r="http://schemas.openxmlformats.org/officeDocument/2006/relationships" r:id="rId15"/>
          </a:graphicData>
        </a:graphic>
      </p:graphicFrame>
      <p:sp>
        <p:nvSpPr>
          <p:cNvPr id="29" name="Text Placeholder 2">
            <a:extLst>
              <a:ext uri="{FF2B5EF4-FFF2-40B4-BE49-F238E27FC236}">
                <a16:creationId xmlns:a16="http://schemas.microsoft.com/office/drawing/2014/main" id="{613BD993-F1DF-80E9-626B-AE4A2B155CF3}"/>
              </a:ext>
            </a:extLst>
          </p:cNvPr>
          <p:cNvSpPr>
            <a:spLocks noGrp="1"/>
          </p:cNvSpPr>
          <p:nvPr>
            <p:custDataLst>
              <p:tags r:id="rId3"/>
            </p:custDataLst>
          </p:nvPr>
        </p:nvSpPr>
        <p:spPr bwMode="auto">
          <a:xfrm>
            <a:off x="7408863" y="3740150"/>
            <a:ext cx="42862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954339-638C-415E-85CF-391E6FA1216B}" type="datetime'M''''''''''''''''a''y''''-1''4'''''''''''''''''''''''''''">
              <a:rPr lang="en-US" altLang="en-US" sz="1050" smtClean="0">
                <a:latin typeface="+mn-lt"/>
                <a:cs typeface="+mn-cs"/>
              </a:rPr>
              <a:pPr/>
              <a:t>May-14</a:t>
            </a:fld>
            <a:endParaRPr lang="en-US" sz="1050">
              <a:latin typeface="+mn-lt"/>
              <a:cs typeface="+mn-cs"/>
            </a:endParaRPr>
          </a:p>
        </p:txBody>
      </p:sp>
      <p:sp>
        <p:nvSpPr>
          <p:cNvPr id="1185" name="Text Placeholder 2">
            <a:extLst>
              <a:ext uri="{FF2B5EF4-FFF2-40B4-BE49-F238E27FC236}">
                <a16:creationId xmlns:a16="http://schemas.microsoft.com/office/drawing/2014/main" id="{B979BD8F-64B4-017C-75B4-5AE9FB6F8106}"/>
              </a:ext>
            </a:extLst>
          </p:cNvPr>
          <p:cNvSpPr>
            <a:spLocks noGrp="1"/>
          </p:cNvSpPr>
          <p:nvPr>
            <p:custDataLst>
              <p:tags r:id="rId4"/>
            </p:custDataLst>
          </p:nvPr>
        </p:nvSpPr>
        <p:spPr bwMode="auto">
          <a:xfrm>
            <a:off x="7983538" y="3740150"/>
            <a:ext cx="2857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274796-718C-4A81-9816-6C3D07ED21D8}" type="datetime'''''''''''''2''0''''''''''''''''''''''''''''14'''''''''">
              <a:rPr lang="en-US" altLang="en-US" sz="1050" smtClean="0">
                <a:latin typeface="+mn-lt"/>
                <a:cs typeface="+mn-cs"/>
              </a:rPr>
              <a:pPr/>
              <a:t>2014</a:t>
            </a:fld>
            <a:endParaRPr lang="en-US" sz="1050">
              <a:latin typeface="+mn-lt"/>
              <a:cs typeface="+mn-cs"/>
            </a:endParaRPr>
          </a:p>
        </p:txBody>
      </p:sp>
      <p:sp>
        <p:nvSpPr>
          <p:cNvPr id="28" name="Text Placeholder 2">
            <a:extLst>
              <a:ext uri="{FF2B5EF4-FFF2-40B4-BE49-F238E27FC236}">
                <a16:creationId xmlns:a16="http://schemas.microsoft.com/office/drawing/2014/main" id="{379CAF2A-E134-58A3-0563-E8CAF9422E6F}"/>
              </a:ext>
            </a:extLst>
          </p:cNvPr>
          <p:cNvSpPr>
            <a:spLocks noGrp="1"/>
          </p:cNvSpPr>
          <p:nvPr>
            <p:custDataLst>
              <p:tags r:id="rId5"/>
            </p:custDataLst>
          </p:nvPr>
        </p:nvSpPr>
        <p:spPr bwMode="auto">
          <a:xfrm>
            <a:off x="8488363" y="3740150"/>
            <a:ext cx="2857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0C61FA-194D-427C-ADF1-2C0B24C8C60B}" type="datetime'''''''''''2''0''''''''''''''''''''''''''''16'''''''">
              <a:rPr lang="en-US" altLang="en-US" sz="1050" smtClean="0">
                <a:latin typeface="+mn-lt"/>
                <a:cs typeface="+mn-cs"/>
              </a:rPr>
              <a:pPr/>
              <a:t>2016</a:t>
            </a:fld>
            <a:endParaRPr lang="en-US" sz="1050">
              <a:latin typeface="+mn-lt"/>
              <a:cs typeface="+mn-cs"/>
            </a:endParaRPr>
          </a:p>
        </p:txBody>
      </p:sp>
      <p:sp>
        <p:nvSpPr>
          <p:cNvPr id="30" name="Text Placeholder 2">
            <a:extLst>
              <a:ext uri="{FF2B5EF4-FFF2-40B4-BE49-F238E27FC236}">
                <a16:creationId xmlns:a16="http://schemas.microsoft.com/office/drawing/2014/main" id="{6B77EA6C-8C8C-F678-141C-F42176821F9E}"/>
              </a:ext>
            </a:extLst>
          </p:cNvPr>
          <p:cNvSpPr>
            <a:spLocks noGrp="1"/>
          </p:cNvSpPr>
          <p:nvPr>
            <p:custDataLst>
              <p:tags r:id="rId6"/>
            </p:custDataLst>
          </p:nvPr>
        </p:nvSpPr>
        <p:spPr bwMode="auto">
          <a:xfrm>
            <a:off x="8991600" y="3740150"/>
            <a:ext cx="2857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1F60A7C-AC4A-4A62-944F-47BE090B1D59}" type="datetime'2''0''1''''''''''''''8'''''''''''''''''''''''''">
              <a:rPr lang="en-US" altLang="en-US" sz="1050" smtClean="0">
                <a:latin typeface="+mn-lt"/>
                <a:cs typeface="+mn-cs"/>
              </a:rPr>
              <a:pPr/>
              <a:t>2018</a:t>
            </a:fld>
            <a:endParaRPr lang="en-US" sz="1050">
              <a:latin typeface="+mn-lt"/>
              <a:cs typeface="+mn-cs"/>
            </a:endParaRPr>
          </a:p>
        </p:txBody>
      </p:sp>
      <p:sp>
        <p:nvSpPr>
          <p:cNvPr id="27" name="Text Placeholder 2">
            <a:extLst>
              <a:ext uri="{FF2B5EF4-FFF2-40B4-BE49-F238E27FC236}">
                <a16:creationId xmlns:a16="http://schemas.microsoft.com/office/drawing/2014/main" id="{3563D074-4130-1B28-2ED1-17C2235B3456}"/>
              </a:ext>
            </a:extLst>
          </p:cNvPr>
          <p:cNvSpPr>
            <a:spLocks noGrp="1"/>
          </p:cNvSpPr>
          <p:nvPr>
            <p:custDataLst>
              <p:tags r:id="rId7"/>
            </p:custDataLst>
          </p:nvPr>
        </p:nvSpPr>
        <p:spPr bwMode="auto">
          <a:xfrm>
            <a:off x="9494838" y="3740150"/>
            <a:ext cx="2857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FE0A42-2F91-4694-A0AD-D3755C061BBD}" type="datetime'''''''''2''''''''''''0''2''''''''''''''''''''''0'''">
              <a:rPr lang="en-US" altLang="en-US" sz="1050" smtClean="0">
                <a:latin typeface="+mn-lt"/>
                <a:cs typeface="+mn-cs"/>
              </a:rPr>
              <a:pPr/>
              <a:t>2020</a:t>
            </a:fld>
            <a:endParaRPr lang="en-US" sz="1050">
              <a:latin typeface="+mn-lt"/>
              <a:cs typeface="+mn-cs"/>
            </a:endParaRPr>
          </a:p>
        </p:txBody>
      </p:sp>
      <p:sp>
        <p:nvSpPr>
          <p:cNvPr id="1184" name="Text Placeholder 2">
            <a:extLst>
              <a:ext uri="{FF2B5EF4-FFF2-40B4-BE49-F238E27FC236}">
                <a16:creationId xmlns:a16="http://schemas.microsoft.com/office/drawing/2014/main" id="{6C13A63E-5788-3FBE-8237-584EA179627E}"/>
              </a:ext>
            </a:extLst>
          </p:cNvPr>
          <p:cNvSpPr>
            <a:spLocks noGrp="1"/>
          </p:cNvSpPr>
          <p:nvPr>
            <p:custDataLst>
              <p:tags r:id="rId8"/>
            </p:custDataLst>
          </p:nvPr>
        </p:nvSpPr>
        <p:spPr bwMode="auto">
          <a:xfrm>
            <a:off x="9998075" y="3740150"/>
            <a:ext cx="2857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29BA142-F223-4EB9-832A-44B230241B31}" type="datetime'''''''''''''2''''''''0''''''''''''''''''''''''''''22'''''''''">
              <a:rPr lang="en-US" altLang="en-US" sz="1050" smtClean="0">
                <a:latin typeface="+mn-lt"/>
                <a:cs typeface="+mn-cs"/>
              </a:rPr>
              <a:pPr/>
              <a:t>2022</a:t>
            </a:fld>
            <a:endParaRPr lang="en-US" sz="1050">
              <a:latin typeface="+mn-lt"/>
              <a:cs typeface="+mn-cs"/>
            </a:endParaRPr>
          </a:p>
        </p:txBody>
      </p:sp>
      <p:sp>
        <p:nvSpPr>
          <p:cNvPr id="31" name="Text Placeholder 2">
            <a:extLst>
              <a:ext uri="{FF2B5EF4-FFF2-40B4-BE49-F238E27FC236}">
                <a16:creationId xmlns:a16="http://schemas.microsoft.com/office/drawing/2014/main" id="{52AFB5CF-6DCE-42E8-FD99-3C7FC8A63C74}"/>
              </a:ext>
            </a:extLst>
          </p:cNvPr>
          <p:cNvSpPr>
            <a:spLocks noGrp="1"/>
          </p:cNvSpPr>
          <p:nvPr>
            <p:custDataLst>
              <p:tags r:id="rId9"/>
            </p:custDataLst>
          </p:nvPr>
        </p:nvSpPr>
        <p:spPr bwMode="auto">
          <a:xfrm>
            <a:off x="10502900" y="3740150"/>
            <a:ext cx="285750"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DE0DB0D-74E9-40EF-907A-B172260B0E95}" type="datetime'''2''''''''''''''0''''''''''''''''''2''''3'''''''''''''''">
              <a:rPr lang="en-US" altLang="en-US" sz="1050" smtClean="0">
                <a:latin typeface="+mn-lt"/>
                <a:cs typeface="+mn-cs"/>
              </a:rPr>
              <a:pPr/>
              <a:t>2023</a:t>
            </a:fld>
            <a:endParaRPr lang="en-US" sz="1050">
              <a:latin typeface="+mn-lt"/>
              <a:cs typeface="+mn-cs"/>
            </a:endParaRPr>
          </a:p>
        </p:txBody>
      </p:sp>
      <p:sp>
        <p:nvSpPr>
          <p:cNvPr id="1217" name="Text Placeholder 2">
            <a:extLst>
              <a:ext uri="{FF2B5EF4-FFF2-40B4-BE49-F238E27FC236}">
                <a16:creationId xmlns:a16="http://schemas.microsoft.com/office/drawing/2014/main" id="{9D643B66-060D-9B85-D49A-994668E2921F}"/>
              </a:ext>
            </a:extLst>
          </p:cNvPr>
          <p:cNvSpPr>
            <a:spLocks noGrp="1"/>
          </p:cNvSpPr>
          <p:nvPr>
            <p:custDataLst>
              <p:tags r:id="rId10"/>
            </p:custDataLst>
          </p:nvPr>
        </p:nvSpPr>
        <p:spPr bwMode="auto">
          <a:xfrm>
            <a:off x="10912475" y="3740150"/>
            <a:ext cx="47466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4131EE-CF51-4778-A61C-155A1125249D}" type="datetime'Q''''''''''''''''1 20''''''''''''2''''''''''''''''4'''''''">
              <a:rPr lang="en-US" altLang="en-US" sz="1050" smtClean="0">
                <a:latin typeface="+mn-lt"/>
                <a:cs typeface="+mn-cs"/>
              </a:rPr>
              <a:pPr/>
              <a:t>Q1 2024</a:t>
            </a:fld>
            <a:endParaRPr lang="en-US" sz="1050">
              <a:latin typeface="+mn-lt"/>
              <a:cs typeface="+mn-cs"/>
            </a:endParaRPr>
          </a:p>
        </p:txBody>
      </p:sp>
      <p:sp>
        <p:nvSpPr>
          <p:cNvPr id="6" name="TextBox 5">
            <a:extLst>
              <a:ext uri="{FF2B5EF4-FFF2-40B4-BE49-F238E27FC236}">
                <a16:creationId xmlns:a16="http://schemas.microsoft.com/office/drawing/2014/main" id="{FEDD35D0-4446-90FF-0684-4781EED668B7}"/>
              </a:ext>
            </a:extLst>
          </p:cNvPr>
          <p:cNvSpPr txBox="1"/>
          <p:nvPr/>
        </p:nvSpPr>
        <p:spPr>
          <a:xfrm>
            <a:off x="7185620" y="2409825"/>
            <a:ext cx="4442818" cy="338554"/>
          </a:xfrm>
          <a:prstGeom prst="rect">
            <a:avLst/>
          </a:prstGeom>
          <a:noFill/>
        </p:spPr>
        <p:txBody>
          <a:bodyPr wrap="square" rtlCol="0">
            <a:spAutoFit/>
          </a:bodyPr>
          <a:lstStyle/>
          <a:p>
            <a:r>
              <a:rPr lang="en-US" sz="1600" dirty="0">
                <a:solidFill>
                  <a:srgbClr val="003055"/>
                </a:solidFill>
                <a:latin typeface="Arial" panose="020B0604020202020204" pitchFamily="34" charset="0"/>
                <a:cs typeface="Arial" panose="020B0604020202020204" pitchFamily="34" charset="0"/>
              </a:rPr>
              <a:t>Strong balance sheet &amp; at target net leverage</a:t>
            </a:r>
          </a:p>
        </p:txBody>
      </p:sp>
      <p:sp>
        <p:nvSpPr>
          <p:cNvPr id="1187" name="Arrow: Left 1186">
            <a:extLst>
              <a:ext uri="{FF2B5EF4-FFF2-40B4-BE49-F238E27FC236}">
                <a16:creationId xmlns:a16="http://schemas.microsoft.com/office/drawing/2014/main" id="{24349E50-689E-479C-64AF-D327E5E286A0}"/>
              </a:ext>
            </a:extLst>
          </p:cNvPr>
          <p:cNvSpPr/>
          <p:nvPr/>
        </p:nvSpPr>
        <p:spPr>
          <a:xfrm>
            <a:off x="7121020" y="4047390"/>
            <a:ext cx="4507417" cy="2258159"/>
          </a:xfrm>
          <a:prstGeom prst="leftArrow">
            <a:avLst>
              <a:gd name="adj1" fmla="val 100000"/>
              <a:gd name="adj2" fmla="val 0"/>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DE957F2-E82C-3F1F-86DA-9D2452AD9B10}"/>
              </a:ext>
            </a:extLst>
          </p:cNvPr>
          <p:cNvSpPr txBox="1"/>
          <p:nvPr/>
        </p:nvSpPr>
        <p:spPr>
          <a:xfrm>
            <a:off x="7168523" y="4084652"/>
            <a:ext cx="4516816" cy="338554"/>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solidFill>
                  <a:srgbClr val="003055"/>
                </a:solidFill>
                <a:latin typeface="Arial" panose="020B0604020202020204" pitchFamily="34" charset="0"/>
                <a:cs typeface="Arial" panose="020B0604020202020204" pitchFamily="34" charset="0"/>
              </a:rPr>
              <a:t>Ongoing $75M Share Repurchase program</a:t>
            </a:r>
          </a:p>
        </p:txBody>
      </p:sp>
      <p:sp>
        <p:nvSpPr>
          <p:cNvPr id="7" name="TextBox 6">
            <a:extLst>
              <a:ext uri="{FF2B5EF4-FFF2-40B4-BE49-F238E27FC236}">
                <a16:creationId xmlns:a16="http://schemas.microsoft.com/office/drawing/2014/main" id="{02FCFF48-0E62-5531-917A-BD33B327918F}"/>
              </a:ext>
            </a:extLst>
          </p:cNvPr>
          <p:cNvSpPr txBox="1"/>
          <p:nvPr/>
        </p:nvSpPr>
        <p:spPr>
          <a:xfrm>
            <a:off x="7182188" y="4641745"/>
            <a:ext cx="4547850" cy="1661993"/>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solidFill>
                  <a:srgbClr val="003055"/>
                </a:solidFill>
                <a:latin typeface="Arial" panose="020B0604020202020204" pitchFamily="34" charset="0"/>
                <a:cs typeface="Arial" panose="020B0604020202020204" pitchFamily="34" charset="0"/>
              </a:rPr>
              <a:t>M&amp;A focus:</a:t>
            </a:r>
          </a:p>
          <a:p>
            <a:pPr lvl="1" indent="-173038">
              <a:buClr>
                <a:srgbClr val="132246"/>
              </a:buClr>
              <a:buFont typeface="Calibri" panose="020F0502020204030204" pitchFamily="34" charset="0"/>
              <a:buChar char="-"/>
            </a:pPr>
            <a:r>
              <a:rPr lang="en-US" sz="1400" dirty="0">
                <a:solidFill>
                  <a:srgbClr val="003055"/>
                </a:solidFill>
                <a:latin typeface="Arial" panose="020B0604020202020204" pitchFamily="34" charset="0"/>
                <a:cs typeface="Arial" panose="020B0604020202020204" pitchFamily="34" charset="0"/>
              </a:rPr>
              <a:t>Acceleration of our organic strategy</a:t>
            </a:r>
          </a:p>
          <a:p>
            <a:pPr lvl="1" indent="-173038">
              <a:buClr>
                <a:srgbClr val="132246"/>
              </a:buClr>
              <a:buFont typeface="Calibri" panose="020F0502020204030204" pitchFamily="34" charset="0"/>
              <a:buChar char="-"/>
            </a:pPr>
            <a:r>
              <a:rPr lang="en-US" sz="1400" dirty="0">
                <a:solidFill>
                  <a:srgbClr val="003055"/>
                </a:solidFill>
                <a:latin typeface="Arial" panose="020B0604020202020204" pitchFamily="34" charset="0"/>
                <a:cs typeface="Arial" panose="020B0604020202020204" pitchFamily="34" charset="0"/>
              </a:rPr>
              <a:t>Further deployment of core technologies</a:t>
            </a:r>
          </a:p>
          <a:p>
            <a:pPr lvl="1" indent="-173038">
              <a:buClr>
                <a:srgbClr val="132246"/>
              </a:buClr>
              <a:buFont typeface="Calibri" panose="020F0502020204030204" pitchFamily="34" charset="0"/>
              <a:buChar char="-"/>
            </a:pPr>
            <a:r>
              <a:rPr lang="en-US" sz="1400" dirty="0">
                <a:solidFill>
                  <a:srgbClr val="003055"/>
                </a:solidFill>
                <a:latin typeface="Arial" panose="020B0604020202020204" pitchFamily="34" charset="0"/>
                <a:cs typeface="Arial" panose="020B0604020202020204" pitchFamily="34" charset="0"/>
              </a:rPr>
              <a:t>Companies/technologies extending our core capabilities</a:t>
            </a:r>
          </a:p>
          <a:p>
            <a:pPr lvl="1" indent="-173038">
              <a:buClr>
                <a:srgbClr val="132246"/>
              </a:buClr>
              <a:buFont typeface="Calibri" panose="020F0502020204030204" pitchFamily="34" charset="0"/>
              <a:buChar char="-"/>
            </a:pPr>
            <a:r>
              <a:rPr lang="en-US" sz="1400" dirty="0">
                <a:solidFill>
                  <a:srgbClr val="003055"/>
                </a:solidFill>
                <a:latin typeface="Arial" panose="020B0604020202020204" pitchFamily="34" charset="0"/>
                <a:cs typeface="Arial" panose="020B0604020202020204" pitchFamily="34" charset="0"/>
              </a:rPr>
              <a:t>Accretive bolt-</a:t>
            </a:r>
            <a:r>
              <a:rPr lang="en-US" sz="1400" dirty="0" err="1">
                <a:solidFill>
                  <a:srgbClr val="003055"/>
                </a:solidFill>
                <a:latin typeface="Arial" panose="020B0604020202020204" pitchFamily="34" charset="0"/>
                <a:cs typeface="Arial" panose="020B0604020202020204" pitchFamily="34" charset="0"/>
              </a:rPr>
              <a:t>ons</a:t>
            </a:r>
            <a:r>
              <a:rPr lang="en-US" sz="1400" dirty="0">
                <a:solidFill>
                  <a:srgbClr val="003055"/>
                </a:solidFill>
                <a:latin typeface="Arial" panose="020B0604020202020204" pitchFamily="34" charset="0"/>
                <a:cs typeface="Arial" panose="020B0604020202020204" pitchFamily="34" charset="0"/>
              </a:rPr>
              <a:t> as well as transformational</a:t>
            </a:r>
          </a:p>
          <a:p>
            <a:pPr marL="742950" lvl="1" indent="-285750">
              <a:buFont typeface="Wingdings" panose="05000000000000000000" pitchFamily="2" charset="2"/>
              <a:buChar char="§"/>
            </a:pPr>
            <a:endParaRPr lang="en-US" sz="1600" dirty="0">
              <a:solidFill>
                <a:srgbClr val="00305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6933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00D9A4F-ED33-83FD-7F3B-3A92A70D04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0" name="Object 9" hidden="1">
                        <a:extLst>
                          <a:ext uri="{FF2B5EF4-FFF2-40B4-BE49-F238E27FC236}">
                            <a16:creationId xmlns:a16="http://schemas.microsoft.com/office/drawing/2014/main" id="{400D9A4F-ED33-83FD-7F3B-3A92A70D0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Arrow: Right 1">
            <a:extLst>
              <a:ext uri="{FF2B5EF4-FFF2-40B4-BE49-F238E27FC236}">
                <a16:creationId xmlns:a16="http://schemas.microsoft.com/office/drawing/2014/main" id="{A79FB54A-D060-0EC5-A49B-AA4048E101EC}"/>
              </a:ext>
            </a:extLst>
          </p:cNvPr>
          <p:cNvSpPr/>
          <p:nvPr/>
        </p:nvSpPr>
        <p:spPr>
          <a:xfrm>
            <a:off x="-1" y="-1"/>
            <a:ext cx="4350715" cy="6011191"/>
          </a:xfrm>
          <a:prstGeom prst="rightArrow">
            <a:avLst>
              <a:gd name="adj1" fmla="val 100000"/>
              <a:gd name="adj2" fmla="val 1836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48" name="Group 247">
            <a:extLst>
              <a:ext uri="{FF2B5EF4-FFF2-40B4-BE49-F238E27FC236}">
                <a16:creationId xmlns:a16="http://schemas.microsoft.com/office/drawing/2014/main" id="{E619F2DA-F9C6-1B96-828B-AC0D2E78EA94}"/>
              </a:ext>
            </a:extLst>
          </p:cNvPr>
          <p:cNvGrpSpPr/>
          <p:nvPr/>
        </p:nvGrpSpPr>
        <p:grpSpPr>
          <a:xfrm>
            <a:off x="5522244" y="730815"/>
            <a:ext cx="4707128" cy="4707128"/>
            <a:chOff x="5286854" y="730815"/>
            <a:chExt cx="4707128" cy="4707128"/>
          </a:xfrm>
        </p:grpSpPr>
        <p:sp>
          <p:nvSpPr>
            <p:cNvPr id="224" name="Oval 223">
              <a:extLst>
                <a:ext uri="{FF2B5EF4-FFF2-40B4-BE49-F238E27FC236}">
                  <a16:creationId xmlns:a16="http://schemas.microsoft.com/office/drawing/2014/main" id="{04135CBB-6E93-DBAB-0312-7E3D63135AB3}"/>
                </a:ext>
              </a:extLst>
            </p:cNvPr>
            <p:cNvSpPr/>
            <p:nvPr/>
          </p:nvSpPr>
          <p:spPr>
            <a:xfrm>
              <a:off x="5286854" y="730815"/>
              <a:ext cx="4707128" cy="4707128"/>
            </a:xfrm>
            <a:prstGeom prst="ellipse">
              <a:avLst/>
            </a:prstGeom>
            <a:solidFill>
              <a:schemeClr val="bg1"/>
            </a:solidFill>
            <a:ln w="254000">
              <a:solidFill>
                <a:schemeClr val="accent2"/>
              </a:solidFill>
            </a:ln>
            <a:effectLst>
              <a:outerShdw blurRad="527201"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7" name="Triangle 226">
              <a:extLst>
                <a:ext uri="{FF2B5EF4-FFF2-40B4-BE49-F238E27FC236}">
                  <a16:creationId xmlns:a16="http://schemas.microsoft.com/office/drawing/2014/main" id="{533EB619-9DEA-8134-4B12-1B73A094DB38}"/>
                </a:ext>
              </a:extLst>
            </p:cNvPr>
            <p:cNvSpPr/>
            <p:nvPr/>
          </p:nvSpPr>
          <p:spPr>
            <a:xfrm rot="8226776">
              <a:off x="9019162" y="1203896"/>
              <a:ext cx="616035" cy="531064"/>
            </a:xfrm>
            <a:prstGeom prst="triangl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8" name="Triangle 227">
              <a:extLst>
                <a:ext uri="{FF2B5EF4-FFF2-40B4-BE49-F238E27FC236}">
                  <a16:creationId xmlns:a16="http://schemas.microsoft.com/office/drawing/2014/main" id="{87138C32-D29B-EAD6-7215-8B75F6B47FD8}"/>
                </a:ext>
              </a:extLst>
            </p:cNvPr>
            <p:cNvSpPr/>
            <p:nvPr/>
          </p:nvSpPr>
          <p:spPr>
            <a:xfrm rot="18900000">
              <a:off x="5598484" y="4425181"/>
              <a:ext cx="616035" cy="531064"/>
            </a:xfrm>
            <a:prstGeom prst="triangl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9" name="Triangle 228">
              <a:extLst>
                <a:ext uri="{FF2B5EF4-FFF2-40B4-BE49-F238E27FC236}">
                  <a16:creationId xmlns:a16="http://schemas.microsoft.com/office/drawing/2014/main" id="{EB721C49-CADC-E2C7-67A0-FEE70B3B5EF7}"/>
                </a:ext>
              </a:extLst>
            </p:cNvPr>
            <p:cNvSpPr/>
            <p:nvPr/>
          </p:nvSpPr>
          <p:spPr>
            <a:xfrm rot="2731342">
              <a:off x="5638198" y="1175643"/>
              <a:ext cx="616035" cy="531064"/>
            </a:xfrm>
            <a:prstGeom prst="triangl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0" name="Triangle 229">
              <a:extLst>
                <a:ext uri="{FF2B5EF4-FFF2-40B4-BE49-F238E27FC236}">
                  <a16:creationId xmlns:a16="http://schemas.microsoft.com/office/drawing/2014/main" id="{B723F08C-98F8-C86E-28F6-FE0B12862299}"/>
                </a:ext>
              </a:extLst>
            </p:cNvPr>
            <p:cNvSpPr/>
            <p:nvPr/>
          </p:nvSpPr>
          <p:spPr>
            <a:xfrm rot="13500000">
              <a:off x="8983092" y="4480584"/>
              <a:ext cx="616035" cy="531064"/>
            </a:xfrm>
            <a:prstGeom prst="triangl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47" name="Group 246">
            <a:extLst>
              <a:ext uri="{FF2B5EF4-FFF2-40B4-BE49-F238E27FC236}">
                <a16:creationId xmlns:a16="http://schemas.microsoft.com/office/drawing/2014/main" id="{5F875854-B1A4-373E-6A6D-FADD268B0C32}"/>
              </a:ext>
            </a:extLst>
          </p:cNvPr>
          <p:cNvGrpSpPr/>
          <p:nvPr/>
        </p:nvGrpSpPr>
        <p:grpSpPr>
          <a:xfrm>
            <a:off x="4760545" y="233939"/>
            <a:ext cx="6230530" cy="5754151"/>
            <a:chOff x="4525155" y="233939"/>
            <a:chExt cx="6230530" cy="5754151"/>
          </a:xfrm>
          <a:solidFill>
            <a:srgbClr val="61A6CC"/>
          </a:solidFill>
        </p:grpSpPr>
        <p:grpSp>
          <p:nvGrpSpPr>
            <p:cNvPr id="241" name="Group 240">
              <a:extLst>
                <a:ext uri="{FF2B5EF4-FFF2-40B4-BE49-F238E27FC236}">
                  <a16:creationId xmlns:a16="http://schemas.microsoft.com/office/drawing/2014/main" id="{292AA7EA-E9FA-EF8A-433D-3EE4173428FC}"/>
                </a:ext>
              </a:extLst>
            </p:cNvPr>
            <p:cNvGrpSpPr/>
            <p:nvPr/>
          </p:nvGrpSpPr>
          <p:grpSpPr>
            <a:xfrm>
              <a:off x="4525155" y="233939"/>
              <a:ext cx="6230530" cy="5754151"/>
              <a:chOff x="4630731" y="115270"/>
              <a:chExt cx="6431920" cy="5940143"/>
            </a:xfrm>
            <a:grpFill/>
          </p:grpSpPr>
          <p:sp>
            <p:nvSpPr>
              <p:cNvPr id="238" name="Oval 237">
                <a:extLst>
                  <a:ext uri="{FF2B5EF4-FFF2-40B4-BE49-F238E27FC236}">
                    <a16:creationId xmlns:a16="http://schemas.microsoft.com/office/drawing/2014/main" id="{8CDF7098-1B7F-52A3-8615-4BA6FD102469}"/>
                  </a:ext>
                </a:extLst>
              </p:cNvPr>
              <p:cNvSpPr/>
              <p:nvPr/>
            </p:nvSpPr>
            <p:spPr>
              <a:xfrm>
                <a:off x="4630731" y="2221656"/>
                <a:ext cx="1672381" cy="16723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7" name="Oval 236">
                <a:extLst>
                  <a:ext uri="{FF2B5EF4-FFF2-40B4-BE49-F238E27FC236}">
                    <a16:creationId xmlns:a16="http://schemas.microsoft.com/office/drawing/2014/main" id="{4FC2826A-4B81-E8F5-CD54-ED5F2AA73C82}"/>
                  </a:ext>
                </a:extLst>
              </p:cNvPr>
              <p:cNvSpPr/>
              <p:nvPr/>
            </p:nvSpPr>
            <p:spPr>
              <a:xfrm>
                <a:off x="9390270" y="2221656"/>
                <a:ext cx="1672381" cy="16723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40" name="Group 239">
                <a:extLst>
                  <a:ext uri="{FF2B5EF4-FFF2-40B4-BE49-F238E27FC236}">
                    <a16:creationId xmlns:a16="http://schemas.microsoft.com/office/drawing/2014/main" id="{EA9DC42E-2E09-AB4B-86D7-3F111D98D089}"/>
                  </a:ext>
                </a:extLst>
              </p:cNvPr>
              <p:cNvGrpSpPr/>
              <p:nvPr/>
            </p:nvGrpSpPr>
            <p:grpSpPr>
              <a:xfrm>
                <a:off x="7010501" y="115270"/>
                <a:ext cx="1672381" cy="5940143"/>
                <a:chOff x="7010501" y="115270"/>
                <a:chExt cx="1672381" cy="5940143"/>
              </a:xfrm>
              <a:grpFill/>
            </p:grpSpPr>
            <p:sp>
              <p:nvSpPr>
                <p:cNvPr id="235" name="Oval 234">
                  <a:extLst>
                    <a:ext uri="{FF2B5EF4-FFF2-40B4-BE49-F238E27FC236}">
                      <a16:creationId xmlns:a16="http://schemas.microsoft.com/office/drawing/2014/main" id="{6E9436BC-BDFE-3814-864A-430BCC6AEFCE}"/>
                    </a:ext>
                  </a:extLst>
                </p:cNvPr>
                <p:cNvSpPr/>
                <p:nvPr/>
              </p:nvSpPr>
              <p:spPr>
                <a:xfrm>
                  <a:off x="7010501" y="4383032"/>
                  <a:ext cx="1672381" cy="16723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4" name="Oval 233">
                  <a:extLst>
                    <a:ext uri="{FF2B5EF4-FFF2-40B4-BE49-F238E27FC236}">
                      <a16:creationId xmlns:a16="http://schemas.microsoft.com/office/drawing/2014/main" id="{614F3DE2-AB44-8868-8C51-7D3D641E5219}"/>
                    </a:ext>
                  </a:extLst>
                </p:cNvPr>
                <p:cNvSpPr/>
                <p:nvPr/>
              </p:nvSpPr>
              <p:spPr>
                <a:xfrm>
                  <a:off x="7010501" y="115270"/>
                  <a:ext cx="1672381" cy="16723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7" name="TextBox 6">
              <a:extLst>
                <a:ext uri="{FF2B5EF4-FFF2-40B4-BE49-F238E27FC236}">
                  <a16:creationId xmlns:a16="http://schemas.microsoft.com/office/drawing/2014/main" id="{A555423F-698A-E12A-4C60-BF52B2D91BF8}"/>
                </a:ext>
              </a:extLst>
            </p:cNvPr>
            <p:cNvSpPr txBox="1"/>
            <p:nvPr/>
          </p:nvSpPr>
          <p:spPr>
            <a:xfrm>
              <a:off x="6661773" y="579720"/>
              <a:ext cx="1919166" cy="62609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MTI values </a:t>
              </a:r>
              <a:b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and culture</a:t>
              </a:r>
            </a:p>
          </p:txBody>
        </p:sp>
        <p:sp>
          <p:nvSpPr>
            <p:cNvPr id="220" name="TextBox 219">
              <a:extLst>
                <a:ext uri="{FF2B5EF4-FFF2-40B4-BE49-F238E27FC236}">
                  <a16:creationId xmlns:a16="http://schemas.microsoft.com/office/drawing/2014/main" id="{D15EDC14-3890-2BF8-9104-28C96FBE4B8D}"/>
                </a:ext>
              </a:extLst>
            </p:cNvPr>
            <p:cNvSpPr txBox="1"/>
            <p:nvPr/>
          </p:nvSpPr>
          <p:spPr>
            <a:xfrm>
              <a:off x="6757261" y="4899410"/>
              <a:ext cx="1823678" cy="626094"/>
            </a:xfrm>
            <a:prstGeom prst="rect">
              <a:avLst/>
            </a:prstGeom>
            <a:no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Global </a:t>
              </a:r>
              <a:b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mineral </a:t>
              </a:r>
              <a:b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reserves</a:t>
              </a:r>
            </a:p>
          </p:txBody>
        </p:sp>
        <p:sp>
          <p:nvSpPr>
            <p:cNvPr id="222" name="TextBox 221">
              <a:extLst>
                <a:ext uri="{FF2B5EF4-FFF2-40B4-BE49-F238E27FC236}">
                  <a16:creationId xmlns:a16="http://schemas.microsoft.com/office/drawing/2014/main" id="{0DA4FE65-4AB9-3820-512A-E90639E7D885}"/>
                </a:ext>
              </a:extLst>
            </p:cNvPr>
            <p:cNvSpPr txBox="1"/>
            <p:nvPr/>
          </p:nvSpPr>
          <p:spPr>
            <a:xfrm>
              <a:off x="4799064" y="2680138"/>
              <a:ext cx="1883569" cy="715312"/>
            </a:xfrm>
            <a:prstGeom prst="rect">
              <a:avLst/>
            </a:prstGeom>
            <a:grp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3" name="TextBox 222">
              <a:extLst>
                <a:ext uri="{FF2B5EF4-FFF2-40B4-BE49-F238E27FC236}">
                  <a16:creationId xmlns:a16="http://schemas.microsoft.com/office/drawing/2014/main" id="{B076B6BE-2E3B-A6B6-6383-D07AF54AE68C}"/>
                </a:ext>
              </a:extLst>
            </p:cNvPr>
            <p:cNvSpPr txBox="1"/>
            <p:nvPr/>
          </p:nvSpPr>
          <p:spPr>
            <a:xfrm>
              <a:off x="9487069" y="2769356"/>
              <a:ext cx="1060046" cy="626094"/>
            </a:xfrm>
            <a:prstGeom prst="rect">
              <a:avLst/>
            </a:prstGeom>
            <a:grp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MTI </a:t>
              </a:r>
              <a:b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Business System</a:t>
              </a:r>
            </a:p>
          </p:txBody>
        </p:sp>
      </p:grpSp>
      <p:sp>
        <p:nvSpPr>
          <p:cNvPr id="173" name="Rectangle 172">
            <a:extLst>
              <a:ext uri="{FF2B5EF4-FFF2-40B4-BE49-F238E27FC236}">
                <a16:creationId xmlns:a16="http://schemas.microsoft.com/office/drawing/2014/main" id="{6600F29E-A875-0179-5F48-DB65A2E0E1BE}"/>
              </a:ext>
            </a:extLst>
          </p:cNvPr>
          <p:cNvSpPr/>
          <p:nvPr/>
        </p:nvSpPr>
        <p:spPr>
          <a:xfrm>
            <a:off x="0" y="6026727"/>
            <a:ext cx="12192000" cy="831273"/>
          </a:xfrm>
          <a:prstGeom prst="rect">
            <a:avLst/>
          </a:prstGeom>
          <a:solidFill>
            <a:srgbClr val="003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32246"/>
              </a:solidFill>
              <a:effectLst/>
              <a:uLnTx/>
              <a:uFillTx/>
              <a:latin typeface="Arial" panose="020B0604020202020204"/>
              <a:ea typeface="+mn-ea"/>
              <a:cs typeface="+mn-cs"/>
            </a:endParaRPr>
          </a:p>
        </p:txBody>
      </p:sp>
      <p:sp>
        <p:nvSpPr>
          <p:cNvPr id="172" name="Title 1">
            <a:extLst>
              <a:ext uri="{FF2B5EF4-FFF2-40B4-BE49-F238E27FC236}">
                <a16:creationId xmlns:a16="http://schemas.microsoft.com/office/drawing/2014/main" id="{B7F45F3F-C89D-23EB-3561-83CF60A52B17}"/>
              </a:ext>
            </a:extLst>
          </p:cNvPr>
          <p:cNvSpPr txBox="1">
            <a:spLocks/>
          </p:cNvSpPr>
          <p:nvPr/>
        </p:nvSpPr>
        <p:spPr bwMode="auto">
          <a:xfrm>
            <a:off x="562575" y="1475537"/>
            <a:ext cx="2838161" cy="3032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kumimoji="0" lang="en-US" altLang="en-US" sz="2800" b="0" i="0" u="none" strike="noStrike" kern="1200" cap="none" spc="0" normalizeH="0" baseline="0" dirty="0">
                <a:ln>
                  <a:noFill/>
                </a:ln>
                <a:solidFill>
                  <a:schemeClr val="tx2"/>
                </a:solidFill>
                <a:effectLst/>
                <a:uLnTx/>
                <a:uFillTx/>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altLang="en-US" sz="3600" b="1" i="0" u="none" strike="noStrike" kern="1200" cap="none" spc="0" normalizeH="0" baseline="0" noProof="0" dirty="0">
                <a:ln>
                  <a:noFill/>
                </a:ln>
                <a:solidFill>
                  <a:srgbClr val="132246"/>
                </a:solidFill>
                <a:effectLst/>
                <a:uLnTx/>
                <a:uFillTx/>
                <a:latin typeface="Arial" panose="020B0604020202020204" pitchFamily="34" charset="0"/>
                <a:ea typeface="+mj-ea"/>
                <a:cs typeface="Arial" panose="020B0604020202020204" pitchFamily="34" charset="0"/>
              </a:rPr>
              <a:t>A powerful combination to drive shareholder value</a:t>
            </a:r>
          </a:p>
        </p:txBody>
      </p:sp>
      <p:grpSp>
        <p:nvGrpSpPr>
          <p:cNvPr id="174" name="Group 173">
            <a:extLst>
              <a:ext uri="{FF2B5EF4-FFF2-40B4-BE49-F238E27FC236}">
                <a16:creationId xmlns:a16="http://schemas.microsoft.com/office/drawing/2014/main" id="{1F994A88-F5FF-83B1-5840-DCB6EEB379A7}"/>
              </a:ext>
            </a:extLst>
          </p:cNvPr>
          <p:cNvGrpSpPr/>
          <p:nvPr/>
        </p:nvGrpSpPr>
        <p:grpSpPr>
          <a:xfrm>
            <a:off x="1759526" y="6210540"/>
            <a:ext cx="8690341" cy="432887"/>
            <a:chOff x="3885086" y="3664124"/>
            <a:chExt cx="4378389" cy="218098"/>
          </a:xfrm>
          <a:solidFill>
            <a:schemeClr val="bg1"/>
          </a:solidFill>
        </p:grpSpPr>
        <p:sp>
          <p:nvSpPr>
            <p:cNvPr id="175" name="Freeform 174">
              <a:extLst>
                <a:ext uri="{FF2B5EF4-FFF2-40B4-BE49-F238E27FC236}">
                  <a16:creationId xmlns:a16="http://schemas.microsoft.com/office/drawing/2014/main" id="{9F4EFAD5-A5A9-8F48-B391-AC8547FA1150}"/>
                </a:ext>
              </a:extLst>
            </p:cNvPr>
            <p:cNvSpPr/>
            <p:nvPr/>
          </p:nvSpPr>
          <p:spPr>
            <a:xfrm>
              <a:off x="3885086" y="3680337"/>
              <a:ext cx="43740" cy="156611"/>
            </a:xfrm>
            <a:custGeom>
              <a:avLst/>
              <a:gdLst>
                <a:gd name="connsiteX0" fmla="*/ 26 w 43740"/>
                <a:gd name="connsiteY0" fmla="*/ 153858 h 156611"/>
                <a:gd name="connsiteX1" fmla="*/ 24012 w 43740"/>
                <a:gd name="connsiteY1" fmla="*/ 2373 h 156611"/>
                <a:gd name="connsiteX2" fmla="*/ 26772 w 43740"/>
                <a:gd name="connsiteY2" fmla="*/ 0 h 156611"/>
                <a:gd name="connsiteX3" fmla="*/ 41335 w 43740"/>
                <a:gd name="connsiteY3" fmla="*/ 0 h 156611"/>
                <a:gd name="connsiteX4" fmla="*/ 43715 w 43740"/>
                <a:gd name="connsiteY4" fmla="*/ 2752 h 156611"/>
                <a:gd name="connsiteX5" fmla="*/ 19729 w 43740"/>
                <a:gd name="connsiteY5" fmla="*/ 154238 h 156611"/>
                <a:gd name="connsiteX6" fmla="*/ 16969 w 43740"/>
                <a:gd name="connsiteY6" fmla="*/ 156611 h 156611"/>
                <a:gd name="connsiteX7" fmla="*/ 2406 w 43740"/>
                <a:gd name="connsiteY7" fmla="*/ 156611 h 156611"/>
                <a:gd name="connsiteX8" fmla="*/ 26 w 43740"/>
                <a:gd name="connsiteY8" fmla="*/ 153858 h 15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56611">
                  <a:moveTo>
                    <a:pt x="26" y="153858"/>
                  </a:moveTo>
                  <a:lnTo>
                    <a:pt x="24012" y="2373"/>
                  </a:lnTo>
                  <a:cubicBezTo>
                    <a:pt x="24202" y="664"/>
                    <a:pt x="25249" y="0"/>
                    <a:pt x="26772" y="0"/>
                  </a:cubicBezTo>
                  <a:lnTo>
                    <a:pt x="41335" y="0"/>
                  </a:lnTo>
                  <a:cubicBezTo>
                    <a:pt x="43048" y="0"/>
                    <a:pt x="43905" y="854"/>
                    <a:pt x="43715" y="2752"/>
                  </a:cubicBezTo>
                  <a:lnTo>
                    <a:pt x="19729" y="154238"/>
                  </a:lnTo>
                  <a:cubicBezTo>
                    <a:pt x="19538" y="155947"/>
                    <a:pt x="18491" y="156611"/>
                    <a:pt x="16969" y="156611"/>
                  </a:cubicBezTo>
                  <a:lnTo>
                    <a:pt x="2406" y="156611"/>
                  </a:lnTo>
                  <a:cubicBezTo>
                    <a:pt x="692" y="156611"/>
                    <a:pt x="-164" y="155757"/>
                    <a:pt x="26" y="153858"/>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6" name="Freeform 175">
              <a:extLst>
                <a:ext uri="{FF2B5EF4-FFF2-40B4-BE49-F238E27FC236}">
                  <a16:creationId xmlns:a16="http://schemas.microsoft.com/office/drawing/2014/main" id="{EC4925B4-A82A-F2DB-6339-A54F9B15C323}"/>
                </a:ext>
              </a:extLst>
            </p:cNvPr>
            <p:cNvSpPr/>
            <p:nvPr/>
          </p:nvSpPr>
          <p:spPr>
            <a:xfrm>
              <a:off x="3942576"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1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3" y="2468"/>
                    <a:pt x="20585" y="2468"/>
                  </a:cubicBezTo>
                  <a:lnTo>
                    <a:pt x="33245" y="2468"/>
                  </a:lnTo>
                  <a:cubicBezTo>
                    <a:pt x="34958" y="2468"/>
                    <a:pt x="35815" y="3322"/>
                    <a:pt x="35624" y="5220"/>
                  </a:cubicBezTo>
                  <a:lnTo>
                    <a:pt x="33245" y="20787"/>
                  </a:lnTo>
                  <a:cubicBezTo>
                    <a:pt x="42287" y="7688"/>
                    <a:pt x="55517" y="0"/>
                    <a:pt x="69890" y="0"/>
                  </a:cubicBezTo>
                  <a:cubicBezTo>
                    <a:pt x="91591" y="0"/>
                    <a:pt x="102727" y="17085"/>
                    <a:pt x="98635" y="42332"/>
                  </a:cubicBezTo>
                  <a:lnTo>
                    <a:pt x="86451" y="117411"/>
                  </a:lnTo>
                  <a:cubicBezTo>
                    <a:pt x="86261" y="119119"/>
                    <a:pt x="85119" y="119784"/>
                    <a:pt x="83691" y="119784"/>
                  </a:cubicBezTo>
                  <a:lnTo>
                    <a:pt x="70175" y="119784"/>
                  </a:lnTo>
                  <a:cubicBezTo>
                    <a:pt x="68462" y="119784"/>
                    <a:pt x="67605" y="118929"/>
                    <a:pt x="67796" y="117031"/>
                  </a:cubicBezTo>
                  <a:lnTo>
                    <a:pt x="79598" y="43851"/>
                  </a:lnTo>
                  <a:cubicBezTo>
                    <a:pt x="82359" y="25627"/>
                    <a:pt x="75981" y="17085"/>
                    <a:pt x="63037" y="17085"/>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7" name="Freeform 176">
              <a:extLst>
                <a:ext uri="{FF2B5EF4-FFF2-40B4-BE49-F238E27FC236}">
                  <a16:creationId xmlns:a16="http://schemas.microsoft.com/office/drawing/2014/main" id="{45DCE5E0-1875-BEE8-E79A-C5C5D693777D}"/>
                </a:ext>
              </a:extLst>
            </p:cNvPr>
            <p:cNvSpPr/>
            <p:nvPr/>
          </p:nvSpPr>
          <p:spPr>
            <a:xfrm>
              <a:off x="4063933"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1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3" y="2468"/>
                    <a:pt x="20585" y="2468"/>
                  </a:cubicBezTo>
                  <a:lnTo>
                    <a:pt x="33245" y="2468"/>
                  </a:lnTo>
                  <a:cubicBezTo>
                    <a:pt x="34958" y="2468"/>
                    <a:pt x="35815" y="3322"/>
                    <a:pt x="35624" y="5220"/>
                  </a:cubicBezTo>
                  <a:lnTo>
                    <a:pt x="33245" y="20787"/>
                  </a:lnTo>
                  <a:cubicBezTo>
                    <a:pt x="42287" y="7688"/>
                    <a:pt x="55517" y="0"/>
                    <a:pt x="69890" y="0"/>
                  </a:cubicBezTo>
                  <a:cubicBezTo>
                    <a:pt x="91591" y="0"/>
                    <a:pt x="102727" y="17085"/>
                    <a:pt x="98635" y="42332"/>
                  </a:cubicBezTo>
                  <a:lnTo>
                    <a:pt x="86451" y="117411"/>
                  </a:lnTo>
                  <a:cubicBezTo>
                    <a:pt x="86261" y="119119"/>
                    <a:pt x="85119" y="119784"/>
                    <a:pt x="83691" y="119784"/>
                  </a:cubicBezTo>
                  <a:lnTo>
                    <a:pt x="70175" y="119784"/>
                  </a:lnTo>
                  <a:cubicBezTo>
                    <a:pt x="68462" y="119784"/>
                    <a:pt x="67605" y="118929"/>
                    <a:pt x="67796" y="117031"/>
                  </a:cubicBezTo>
                  <a:lnTo>
                    <a:pt x="79598" y="43851"/>
                  </a:lnTo>
                  <a:cubicBezTo>
                    <a:pt x="82359" y="25627"/>
                    <a:pt x="75981" y="17085"/>
                    <a:pt x="63037" y="17085"/>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8" name="Freeform 177">
              <a:extLst>
                <a:ext uri="{FF2B5EF4-FFF2-40B4-BE49-F238E27FC236}">
                  <a16:creationId xmlns:a16="http://schemas.microsoft.com/office/drawing/2014/main" id="{3E680AB2-0E25-A0B7-AD85-B6CDF7AFC2D7}"/>
                </a:ext>
              </a:extLst>
            </p:cNvPr>
            <p:cNvSpPr/>
            <p:nvPr/>
          </p:nvSpPr>
          <p:spPr>
            <a:xfrm>
              <a:off x="4188464"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0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2"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7"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0" y="105262"/>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Freeform 178">
              <a:extLst>
                <a:ext uri="{FF2B5EF4-FFF2-40B4-BE49-F238E27FC236}">
                  <a16:creationId xmlns:a16="http://schemas.microsoft.com/office/drawing/2014/main" id="{D2D68DBE-16F5-A62D-15E5-9C0FD2E6EFB3}"/>
                </a:ext>
              </a:extLst>
            </p:cNvPr>
            <p:cNvSpPr/>
            <p:nvPr/>
          </p:nvSpPr>
          <p:spPr>
            <a:xfrm>
              <a:off x="4308836" y="3719537"/>
              <a:ext cx="96873" cy="117505"/>
            </a:xfrm>
            <a:custGeom>
              <a:avLst/>
              <a:gdLst>
                <a:gd name="connsiteX0" fmla="*/ 18682 w 96873"/>
                <a:gd name="connsiteY0" fmla="*/ 115038 h 117505"/>
                <a:gd name="connsiteX1" fmla="*/ 26 w 96873"/>
                <a:gd name="connsiteY1" fmla="*/ 2753 h 117505"/>
                <a:gd name="connsiteX2" fmla="*/ 2406 w 96873"/>
                <a:gd name="connsiteY2" fmla="*/ 0 h 117505"/>
                <a:gd name="connsiteX3" fmla="*/ 16112 w 96873"/>
                <a:gd name="connsiteY3" fmla="*/ 0 h 117505"/>
                <a:gd name="connsiteX4" fmla="*/ 18872 w 96873"/>
                <a:gd name="connsiteY4" fmla="*/ 2373 h 117505"/>
                <a:gd name="connsiteX5" fmla="*/ 27914 w 96873"/>
                <a:gd name="connsiteY5" fmla="*/ 59512 h 117505"/>
                <a:gd name="connsiteX6" fmla="*/ 32674 w 96873"/>
                <a:gd name="connsiteY6" fmla="*/ 100326 h 117505"/>
                <a:gd name="connsiteX7" fmla="*/ 33054 w 96873"/>
                <a:gd name="connsiteY7" fmla="*/ 100326 h 117505"/>
                <a:gd name="connsiteX8" fmla="*/ 50473 w 96873"/>
                <a:gd name="connsiteY8" fmla="*/ 59512 h 117505"/>
                <a:gd name="connsiteX9" fmla="*/ 77695 w 96873"/>
                <a:gd name="connsiteY9" fmla="*/ 1993 h 117505"/>
                <a:gd name="connsiteX10" fmla="*/ 80740 w 96873"/>
                <a:gd name="connsiteY10" fmla="*/ 95 h 117505"/>
                <a:gd name="connsiteX11" fmla="*/ 94637 w 96873"/>
                <a:gd name="connsiteY11" fmla="*/ 95 h 117505"/>
                <a:gd name="connsiteX12" fmla="*/ 96541 w 96873"/>
                <a:gd name="connsiteY12" fmla="*/ 3037 h 117505"/>
                <a:gd name="connsiteX13" fmla="*/ 42287 w 96873"/>
                <a:gd name="connsiteY13" fmla="*/ 115607 h 117505"/>
                <a:gd name="connsiteX14" fmla="*/ 39241 w 96873"/>
                <a:gd name="connsiteY14" fmla="*/ 117506 h 117505"/>
                <a:gd name="connsiteX15" fmla="*/ 21442 w 96873"/>
                <a:gd name="connsiteY15" fmla="*/ 117506 h 117505"/>
                <a:gd name="connsiteX16" fmla="*/ 18682 w 96873"/>
                <a:gd name="connsiteY16" fmla="*/ 115133 h 11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873" h="117505">
                  <a:moveTo>
                    <a:pt x="18682" y="115038"/>
                  </a:moveTo>
                  <a:lnTo>
                    <a:pt x="26" y="2753"/>
                  </a:lnTo>
                  <a:cubicBezTo>
                    <a:pt x="-164" y="854"/>
                    <a:pt x="692" y="0"/>
                    <a:pt x="2406" y="0"/>
                  </a:cubicBezTo>
                  <a:lnTo>
                    <a:pt x="16112" y="0"/>
                  </a:lnTo>
                  <a:cubicBezTo>
                    <a:pt x="17635" y="0"/>
                    <a:pt x="18682" y="664"/>
                    <a:pt x="18872" y="2373"/>
                  </a:cubicBezTo>
                  <a:lnTo>
                    <a:pt x="27914" y="59512"/>
                  </a:lnTo>
                  <a:cubicBezTo>
                    <a:pt x="30104" y="74224"/>
                    <a:pt x="31817" y="88556"/>
                    <a:pt x="32674" y="100326"/>
                  </a:cubicBezTo>
                  <a:lnTo>
                    <a:pt x="33054" y="100326"/>
                  </a:lnTo>
                  <a:cubicBezTo>
                    <a:pt x="38670" y="86848"/>
                    <a:pt x="44000" y="73560"/>
                    <a:pt x="50473" y="59512"/>
                  </a:cubicBezTo>
                  <a:lnTo>
                    <a:pt x="77695" y="1993"/>
                  </a:lnTo>
                  <a:cubicBezTo>
                    <a:pt x="78361" y="664"/>
                    <a:pt x="79408" y="95"/>
                    <a:pt x="80740" y="95"/>
                  </a:cubicBezTo>
                  <a:lnTo>
                    <a:pt x="94637" y="95"/>
                  </a:lnTo>
                  <a:cubicBezTo>
                    <a:pt x="96541" y="95"/>
                    <a:pt x="97397" y="1139"/>
                    <a:pt x="96541" y="3037"/>
                  </a:cubicBezTo>
                  <a:lnTo>
                    <a:pt x="42287" y="115607"/>
                  </a:lnTo>
                  <a:cubicBezTo>
                    <a:pt x="41621" y="116841"/>
                    <a:pt x="40574" y="117506"/>
                    <a:pt x="39241" y="117506"/>
                  </a:cubicBezTo>
                  <a:lnTo>
                    <a:pt x="21442" y="117506"/>
                  </a:lnTo>
                  <a:cubicBezTo>
                    <a:pt x="19919" y="117506"/>
                    <a:pt x="18872" y="116841"/>
                    <a:pt x="18682" y="11513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0" name="Freeform 179">
              <a:extLst>
                <a:ext uri="{FF2B5EF4-FFF2-40B4-BE49-F238E27FC236}">
                  <a16:creationId xmlns:a16="http://schemas.microsoft.com/office/drawing/2014/main" id="{61E16188-B888-6E5E-A6F6-6CC03754232C}"/>
                </a:ext>
              </a:extLst>
            </p:cNvPr>
            <p:cNvSpPr/>
            <p:nvPr/>
          </p:nvSpPr>
          <p:spPr>
            <a:xfrm>
              <a:off x="4412108" y="3718493"/>
              <a:ext cx="101822" cy="120922"/>
            </a:xfrm>
            <a:custGeom>
              <a:avLst/>
              <a:gdLst>
                <a:gd name="connsiteX0" fmla="*/ 979 w 101822"/>
                <a:gd name="connsiteY0" fmla="*/ 76312 h 120922"/>
                <a:gd name="connsiteX1" fmla="*/ 6309 w 101822"/>
                <a:gd name="connsiteY1" fmla="*/ 43187 h 120922"/>
                <a:gd name="connsiteX2" fmla="*/ 55423 w 101822"/>
                <a:gd name="connsiteY2" fmla="*/ 0 h 120922"/>
                <a:gd name="connsiteX3" fmla="*/ 100254 w 101822"/>
                <a:gd name="connsiteY3" fmla="*/ 10915 h 120922"/>
                <a:gd name="connsiteX4" fmla="*/ 101777 w 101822"/>
                <a:gd name="connsiteY4" fmla="*/ 14142 h 120922"/>
                <a:gd name="connsiteX5" fmla="*/ 85691 w 101822"/>
                <a:gd name="connsiteY5" fmla="*/ 116177 h 120922"/>
                <a:gd name="connsiteX6" fmla="*/ 82931 w 101822"/>
                <a:gd name="connsiteY6" fmla="*/ 118550 h 120922"/>
                <a:gd name="connsiteX7" fmla="*/ 70271 w 101822"/>
                <a:gd name="connsiteY7" fmla="*/ 118550 h 120922"/>
                <a:gd name="connsiteX8" fmla="*/ 67892 w 101822"/>
                <a:gd name="connsiteY8" fmla="*/ 115797 h 120922"/>
                <a:gd name="connsiteX9" fmla="*/ 70462 w 101822"/>
                <a:gd name="connsiteY9" fmla="*/ 98902 h 120922"/>
                <a:gd name="connsiteX10" fmla="*/ 31818 w 101822"/>
                <a:gd name="connsiteY10" fmla="*/ 120923 h 120922"/>
                <a:gd name="connsiteX11" fmla="*/ 884 w 101822"/>
                <a:gd name="connsiteY11" fmla="*/ 76407 h 120922"/>
                <a:gd name="connsiteX12" fmla="*/ 38956 w 101822"/>
                <a:gd name="connsiteY12" fmla="*/ 103933 h 120922"/>
                <a:gd name="connsiteX13" fmla="*/ 73032 w 101822"/>
                <a:gd name="connsiteY13" fmla="*/ 76787 h 120922"/>
                <a:gd name="connsiteX14" fmla="*/ 81788 w 101822"/>
                <a:gd name="connsiteY14" fmla="*/ 21356 h 120922"/>
                <a:gd name="connsiteX15" fmla="*/ 55613 w 101822"/>
                <a:gd name="connsiteY15" fmla="*/ 16041 h 120922"/>
                <a:gd name="connsiteX16" fmla="*/ 24679 w 101822"/>
                <a:gd name="connsiteY16" fmla="*/ 44895 h 120922"/>
                <a:gd name="connsiteX17" fmla="*/ 19920 w 101822"/>
                <a:gd name="connsiteY17" fmla="*/ 74889 h 120922"/>
                <a:gd name="connsiteX18" fmla="*/ 38766 w 101822"/>
                <a:gd name="connsiteY18" fmla="*/ 103933 h 12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822" h="120922">
                  <a:moveTo>
                    <a:pt x="979" y="76312"/>
                  </a:moveTo>
                  <a:lnTo>
                    <a:pt x="6309" y="43187"/>
                  </a:lnTo>
                  <a:cubicBezTo>
                    <a:pt x="10783" y="15851"/>
                    <a:pt x="25631" y="0"/>
                    <a:pt x="55423" y="0"/>
                  </a:cubicBezTo>
                  <a:cubicBezTo>
                    <a:pt x="69986" y="0"/>
                    <a:pt x="86071" y="3892"/>
                    <a:pt x="100254" y="10915"/>
                  </a:cubicBezTo>
                  <a:cubicBezTo>
                    <a:pt x="101586" y="11580"/>
                    <a:pt x="101967" y="12624"/>
                    <a:pt x="101777" y="14142"/>
                  </a:cubicBezTo>
                  <a:lnTo>
                    <a:pt x="85691" y="116177"/>
                  </a:lnTo>
                  <a:cubicBezTo>
                    <a:pt x="85500" y="117885"/>
                    <a:pt x="84453" y="118550"/>
                    <a:pt x="82931" y="118550"/>
                  </a:cubicBezTo>
                  <a:lnTo>
                    <a:pt x="70271" y="118550"/>
                  </a:lnTo>
                  <a:cubicBezTo>
                    <a:pt x="68558" y="118550"/>
                    <a:pt x="67701" y="117696"/>
                    <a:pt x="67892" y="115797"/>
                  </a:cubicBezTo>
                  <a:lnTo>
                    <a:pt x="70462" y="98902"/>
                  </a:lnTo>
                  <a:cubicBezTo>
                    <a:pt x="60848" y="113045"/>
                    <a:pt x="47332" y="120923"/>
                    <a:pt x="31818" y="120923"/>
                  </a:cubicBezTo>
                  <a:cubicBezTo>
                    <a:pt x="9260" y="120923"/>
                    <a:pt x="-3590" y="104028"/>
                    <a:pt x="884" y="76407"/>
                  </a:cubicBezTo>
                  <a:close/>
                  <a:moveTo>
                    <a:pt x="38956" y="103933"/>
                  </a:moveTo>
                  <a:cubicBezTo>
                    <a:pt x="52663" y="103933"/>
                    <a:pt x="65512" y="94726"/>
                    <a:pt x="73032" y="76787"/>
                  </a:cubicBezTo>
                  <a:lnTo>
                    <a:pt x="81788" y="21356"/>
                  </a:lnTo>
                  <a:cubicBezTo>
                    <a:pt x="73603" y="18129"/>
                    <a:pt x="64180" y="16041"/>
                    <a:pt x="55613" y="16041"/>
                  </a:cubicBezTo>
                  <a:cubicBezTo>
                    <a:pt x="37148" y="16041"/>
                    <a:pt x="27725" y="26292"/>
                    <a:pt x="24679" y="44895"/>
                  </a:cubicBezTo>
                  <a:lnTo>
                    <a:pt x="19920" y="74889"/>
                  </a:lnTo>
                  <a:cubicBezTo>
                    <a:pt x="16684" y="95011"/>
                    <a:pt x="24394" y="103933"/>
                    <a:pt x="38766" y="10393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1" name="Freeform 180">
              <a:extLst>
                <a:ext uri="{FF2B5EF4-FFF2-40B4-BE49-F238E27FC236}">
                  <a16:creationId xmlns:a16="http://schemas.microsoft.com/office/drawing/2014/main" id="{519F7E14-616D-7603-1AC4-6EC2525BB5D9}"/>
                </a:ext>
              </a:extLst>
            </p:cNvPr>
            <p:cNvSpPr/>
            <p:nvPr/>
          </p:nvSpPr>
          <p:spPr>
            <a:xfrm>
              <a:off x="4538034"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39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8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6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39"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8"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6"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2" name="Freeform 181">
              <a:extLst>
                <a:ext uri="{FF2B5EF4-FFF2-40B4-BE49-F238E27FC236}">
                  <a16:creationId xmlns:a16="http://schemas.microsoft.com/office/drawing/2014/main" id="{0990B66C-988B-39C7-3FF4-994C961D9911}"/>
                </a:ext>
              </a:extLst>
            </p:cNvPr>
            <p:cNvSpPr/>
            <p:nvPr/>
          </p:nvSpPr>
          <p:spPr>
            <a:xfrm>
              <a:off x="4611420"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2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9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7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5" y="45654"/>
                    <a:pt x="19062" y="44990"/>
                    <a:pt x="20585" y="44990"/>
                  </a:cubicBezTo>
                  <a:lnTo>
                    <a:pt x="34292" y="44990"/>
                  </a:lnTo>
                  <a:cubicBezTo>
                    <a:pt x="36005" y="44990"/>
                    <a:pt x="36862"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9" y="664"/>
                    <a:pt x="26011" y="0"/>
                    <a:pt x="27439" y="0"/>
                  </a:cubicBezTo>
                  <a:lnTo>
                    <a:pt x="41145" y="0"/>
                  </a:lnTo>
                  <a:cubicBezTo>
                    <a:pt x="42858" y="0"/>
                    <a:pt x="43715" y="854"/>
                    <a:pt x="43524" y="2753"/>
                  </a:cubicBezTo>
                  <a:lnTo>
                    <a:pt x="40098" y="24393"/>
                  </a:lnTo>
                  <a:cubicBezTo>
                    <a:pt x="39907" y="26102"/>
                    <a:pt x="38765" y="26766"/>
                    <a:pt x="37337" y="26766"/>
                  </a:cubicBezTo>
                  <a:lnTo>
                    <a:pt x="23822" y="26766"/>
                  </a:lnTo>
                  <a:cubicBezTo>
                    <a:pt x="22108" y="26766"/>
                    <a:pt x="21252" y="25912"/>
                    <a:pt x="21442" y="24014"/>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3" name="Freeform 182">
              <a:extLst>
                <a:ext uri="{FF2B5EF4-FFF2-40B4-BE49-F238E27FC236}">
                  <a16:creationId xmlns:a16="http://schemas.microsoft.com/office/drawing/2014/main" id="{7D907B51-E1F3-DFA2-DAFB-88E9E65FCBE0}"/>
                </a:ext>
              </a:extLst>
            </p:cNvPr>
            <p:cNvSpPr/>
            <p:nvPr/>
          </p:nvSpPr>
          <p:spPr>
            <a:xfrm>
              <a:off x="4673193" y="3719537"/>
              <a:ext cx="96873" cy="117505"/>
            </a:xfrm>
            <a:custGeom>
              <a:avLst/>
              <a:gdLst>
                <a:gd name="connsiteX0" fmla="*/ 18682 w 96873"/>
                <a:gd name="connsiteY0" fmla="*/ 115038 h 117505"/>
                <a:gd name="connsiteX1" fmla="*/ 26 w 96873"/>
                <a:gd name="connsiteY1" fmla="*/ 2753 h 117505"/>
                <a:gd name="connsiteX2" fmla="*/ 2406 w 96873"/>
                <a:gd name="connsiteY2" fmla="*/ 0 h 117505"/>
                <a:gd name="connsiteX3" fmla="*/ 16112 w 96873"/>
                <a:gd name="connsiteY3" fmla="*/ 0 h 117505"/>
                <a:gd name="connsiteX4" fmla="*/ 18872 w 96873"/>
                <a:gd name="connsiteY4" fmla="*/ 2373 h 117505"/>
                <a:gd name="connsiteX5" fmla="*/ 27914 w 96873"/>
                <a:gd name="connsiteY5" fmla="*/ 59512 h 117505"/>
                <a:gd name="connsiteX6" fmla="*/ 32674 w 96873"/>
                <a:gd name="connsiteY6" fmla="*/ 100326 h 117505"/>
                <a:gd name="connsiteX7" fmla="*/ 33054 w 96873"/>
                <a:gd name="connsiteY7" fmla="*/ 100326 h 117505"/>
                <a:gd name="connsiteX8" fmla="*/ 50473 w 96873"/>
                <a:gd name="connsiteY8" fmla="*/ 59512 h 117505"/>
                <a:gd name="connsiteX9" fmla="*/ 77695 w 96873"/>
                <a:gd name="connsiteY9" fmla="*/ 1993 h 117505"/>
                <a:gd name="connsiteX10" fmla="*/ 80740 w 96873"/>
                <a:gd name="connsiteY10" fmla="*/ 95 h 117505"/>
                <a:gd name="connsiteX11" fmla="*/ 94637 w 96873"/>
                <a:gd name="connsiteY11" fmla="*/ 95 h 117505"/>
                <a:gd name="connsiteX12" fmla="*/ 96541 w 96873"/>
                <a:gd name="connsiteY12" fmla="*/ 3037 h 117505"/>
                <a:gd name="connsiteX13" fmla="*/ 42287 w 96873"/>
                <a:gd name="connsiteY13" fmla="*/ 115607 h 117505"/>
                <a:gd name="connsiteX14" fmla="*/ 39241 w 96873"/>
                <a:gd name="connsiteY14" fmla="*/ 117506 h 117505"/>
                <a:gd name="connsiteX15" fmla="*/ 21442 w 96873"/>
                <a:gd name="connsiteY15" fmla="*/ 117506 h 117505"/>
                <a:gd name="connsiteX16" fmla="*/ 18682 w 96873"/>
                <a:gd name="connsiteY16" fmla="*/ 115133 h 11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873" h="117505">
                  <a:moveTo>
                    <a:pt x="18682" y="115038"/>
                  </a:moveTo>
                  <a:lnTo>
                    <a:pt x="26" y="2753"/>
                  </a:lnTo>
                  <a:cubicBezTo>
                    <a:pt x="-164" y="854"/>
                    <a:pt x="692" y="0"/>
                    <a:pt x="2406" y="0"/>
                  </a:cubicBezTo>
                  <a:lnTo>
                    <a:pt x="16112" y="0"/>
                  </a:lnTo>
                  <a:cubicBezTo>
                    <a:pt x="17635" y="0"/>
                    <a:pt x="18682" y="664"/>
                    <a:pt x="18872" y="2373"/>
                  </a:cubicBezTo>
                  <a:lnTo>
                    <a:pt x="27914" y="59512"/>
                  </a:lnTo>
                  <a:cubicBezTo>
                    <a:pt x="30104" y="74224"/>
                    <a:pt x="31817" y="88556"/>
                    <a:pt x="32674" y="100326"/>
                  </a:cubicBezTo>
                  <a:lnTo>
                    <a:pt x="33054" y="100326"/>
                  </a:lnTo>
                  <a:cubicBezTo>
                    <a:pt x="38670" y="86848"/>
                    <a:pt x="44000" y="73560"/>
                    <a:pt x="50473" y="59512"/>
                  </a:cubicBezTo>
                  <a:lnTo>
                    <a:pt x="77695" y="1993"/>
                  </a:lnTo>
                  <a:cubicBezTo>
                    <a:pt x="78361" y="664"/>
                    <a:pt x="79408" y="95"/>
                    <a:pt x="80740" y="95"/>
                  </a:cubicBezTo>
                  <a:lnTo>
                    <a:pt x="94637" y="95"/>
                  </a:lnTo>
                  <a:cubicBezTo>
                    <a:pt x="96541" y="95"/>
                    <a:pt x="97397" y="1139"/>
                    <a:pt x="96541" y="3037"/>
                  </a:cubicBezTo>
                  <a:lnTo>
                    <a:pt x="42287" y="115607"/>
                  </a:lnTo>
                  <a:cubicBezTo>
                    <a:pt x="41621" y="116841"/>
                    <a:pt x="40574" y="117506"/>
                    <a:pt x="39241" y="117506"/>
                  </a:cubicBezTo>
                  <a:lnTo>
                    <a:pt x="21442" y="117506"/>
                  </a:lnTo>
                  <a:cubicBezTo>
                    <a:pt x="19919" y="117506"/>
                    <a:pt x="18872" y="116841"/>
                    <a:pt x="18682" y="11513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4" name="Freeform 183">
              <a:extLst>
                <a:ext uri="{FF2B5EF4-FFF2-40B4-BE49-F238E27FC236}">
                  <a16:creationId xmlns:a16="http://schemas.microsoft.com/office/drawing/2014/main" id="{A94EEDFE-9298-6B14-30B2-49D1B4B6A992}"/>
                </a:ext>
              </a:extLst>
            </p:cNvPr>
            <p:cNvSpPr/>
            <p:nvPr/>
          </p:nvSpPr>
          <p:spPr>
            <a:xfrm>
              <a:off x="4776965"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6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6"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7"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Freeform 184">
              <a:extLst>
                <a:ext uri="{FF2B5EF4-FFF2-40B4-BE49-F238E27FC236}">
                  <a16:creationId xmlns:a16="http://schemas.microsoft.com/office/drawing/2014/main" id="{A772D7F2-BC73-CFE2-FDC8-B1E9E3BA47CE}"/>
                </a:ext>
              </a:extLst>
            </p:cNvPr>
            <p:cNvSpPr/>
            <p:nvPr/>
          </p:nvSpPr>
          <p:spPr>
            <a:xfrm>
              <a:off x="4949982"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39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8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6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39"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8"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6"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6" name="Freeform 185">
              <a:extLst>
                <a:ext uri="{FF2B5EF4-FFF2-40B4-BE49-F238E27FC236}">
                  <a16:creationId xmlns:a16="http://schemas.microsoft.com/office/drawing/2014/main" id="{6DA37CE6-A9A9-D619-555B-6B346B5A6513}"/>
                </a:ext>
              </a:extLst>
            </p:cNvPr>
            <p:cNvSpPr/>
            <p:nvPr/>
          </p:nvSpPr>
          <p:spPr>
            <a:xfrm>
              <a:off x="5026246"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6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6"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8"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7" name="Freeform 186">
              <a:extLst>
                <a:ext uri="{FF2B5EF4-FFF2-40B4-BE49-F238E27FC236}">
                  <a16:creationId xmlns:a16="http://schemas.microsoft.com/office/drawing/2014/main" id="{9CE39686-063C-8D3C-EADE-9807F60D8480}"/>
                </a:ext>
              </a:extLst>
            </p:cNvPr>
            <p:cNvSpPr/>
            <p:nvPr/>
          </p:nvSpPr>
          <p:spPr>
            <a:xfrm>
              <a:off x="5143131" y="3717164"/>
              <a:ext cx="92068" cy="122156"/>
            </a:xfrm>
            <a:custGeom>
              <a:avLst/>
              <a:gdLst>
                <a:gd name="connsiteX0" fmla="*/ 763 w 92068"/>
                <a:gd name="connsiteY0" fmla="*/ 72041 h 122156"/>
                <a:gd name="connsiteX1" fmla="*/ 5522 w 92068"/>
                <a:gd name="connsiteY1" fmla="*/ 43187 h 122156"/>
                <a:gd name="connsiteX2" fmla="*/ 52542 w 92068"/>
                <a:gd name="connsiteY2" fmla="*/ 0 h 122156"/>
                <a:gd name="connsiteX3" fmla="*/ 92042 w 92068"/>
                <a:gd name="connsiteY3" fmla="*/ 34454 h 122156"/>
                <a:gd name="connsiteX4" fmla="*/ 89853 w 92068"/>
                <a:gd name="connsiteY4" fmla="*/ 37207 h 122156"/>
                <a:gd name="connsiteX5" fmla="*/ 77860 w 92068"/>
                <a:gd name="connsiteY5" fmla="*/ 39295 h 122156"/>
                <a:gd name="connsiteX6" fmla="*/ 74815 w 92068"/>
                <a:gd name="connsiteY6" fmla="*/ 37207 h 122156"/>
                <a:gd name="connsiteX7" fmla="*/ 51876 w 92068"/>
                <a:gd name="connsiteY7" fmla="*/ 16895 h 122156"/>
                <a:gd name="connsiteX8" fmla="*/ 23987 w 92068"/>
                <a:gd name="connsiteY8" fmla="*/ 44705 h 122156"/>
                <a:gd name="connsiteX9" fmla="*/ 19514 w 92068"/>
                <a:gd name="connsiteY9" fmla="*/ 73560 h 122156"/>
                <a:gd name="connsiteX10" fmla="*/ 41596 w 92068"/>
                <a:gd name="connsiteY10" fmla="*/ 105262 h 122156"/>
                <a:gd name="connsiteX11" fmla="*/ 67771 w 92068"/>
                <a:gd name="connsiteY11" fmla="*/ 86848 h 122156"/>
                <a:gd name="connsiteX12" fmla="*/ 71198 w 92068"/>
                <a:gd name="connsiteY12" fmla="*/ 85519 h 122156"/>
                <a:gd name="connsiteX13" fmla="*/ 82334 w 92068"/>
                <a:gd name="connsiteY13" fmla="*/ 90265 h 122156"/>
                <a:gd name="connsiteX14" fmla="*/ 83857 w 92068"/>
                <a:gd name="connsiteY14" fmla="*/ 93492 h 122156"/>
                <a:gd name="connsiteX15" fmla="*/ 41786 w 92068"/>
                <a:gd name="connsiteY15" fmla="*/ 122157 h 122156"/>
                <a:gd name="connsiteX16" fmla="*/ 858 w 92068"/>
                <a:gd name="connsiteY16" fmla="*/ 72136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068" h="122156">
                  <a:moveTo>
                    <a:pt x="763" y="72041"/>
                  </a:moveTo>
                  <a:lnTo>
                    <a:pt x="5522" y="43187"/>
                  </a:lnTo>
                  <a:cubicBezTo>
                    <a:pt x="10281" y="13478"/>
                    <a:pt x="28271" y="0"/>
                    <a:pt x="52542" y="0"/>
                  </a:cubicBezTo>
                  <a:cubicBezTo>
                    <a:pt x="74815" y="0"/>
                    <a:pt x="90329" y="12624"/>
                    <a:pt x="92042" y="34454"/>
                  </a:cubicBezTo>
                  <a:cubicBezTo>
                    <a:pt x="92233" y="35973"/>
                    <a:pt x="91376" y="37017"/>
                    <a:pt x="89853" y="37207"/>
                  </a:cubicBezTo>
                  <a:lnTo>
                    <a:pt x="77860" y="39295"/>
                  </a:lnTo>
                  <a:cubicBezTo>
                    <a:pt x="76337" y="39485"/>
                    <a:pt x="75290" y="38915"/>
                    <a:pt x="74815" y="37207"/>
                  </a:cubicBezTo>
                  <a:cubicBezTo>
                    <a:pt x="72625" y="23729"/>
                    <a:pt x="64916" y="16895"/>
                    <a:pt x="51876" y="16895"/>
                  </a:cubicBezTo>
                  <a:cubicBezTo>
                    <a:pt x="36456" y="16895"/>
                    <a:pt x="27033" y="26766"/>
                    <a:pt x="23987" y="44705"/>
                  </a:cubicBezTo>
                  <a:lnTo>
                    <a:pt x="19514" y="73560"/>
                  </a:lnTo>
                  <a:cubicBezTo>
                    <a:pt x="16278" y="93682"/>
                    <a:pt x="24273" y="105262"/>
                    <a:pt x="41596" y="105262"/>
                  </a:cubicBezTo>
                  <a:cubicBezTo>
                    <a:pt x="55969" y="105262"/>
                    <a:pt x="63012" y="97573"/>
                    <a:pt x="67771" y="86848"/>
                  </a:cubicBezTo>
                  <a:cubicBezTo>
                    <a:pt x="68437" y="85329"/>
                    <a:pt x="69675" y="84950"/>
                    <a:pt x="71198" y="85519"/>
                  </a:cubicBezTo>
                  <a:lnTo>
                    <a:pt x="82334" y="90265"/>
                  </a:lnTo>
                  <a:cubicBezTo>
                    <a:pt x="83857" y="90929"/>
                    <a:pt x="84523" y="91973"/>
                    <a:pt x="83857" y="93492"/>
                  </a:cubicBezTo>
                  <a:cubicBezTo>
                    <a:pt x="77004" y="110862"/>
                    <a:pt x="64344" y="122157"/>
                    <a:pt x="41786" y="122157"/>
                  </a:cubicBezTo>
                  <a:cubicBezTo>
                    <a:pt x="11328" y="122157"/>
                    <a:pt x="-3901" y="102509"/>
                    <a:pt x="858" y="72136"/>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8" name="Freeform 187">
              <a:extLst>
                <a:ext uri="{FF2B5EF4-FFF2-40B4-BE49-F238E27FC236}">
                  <a16:creationId xmlns:a16="http://schemas.microsoft.com/office/drawing/2014/main" id="{B26A8CA3-AA91-21CB-617B-F9CAD1EEDF2D}"/>
                </a:ext>
              </a:extLst>
            </p:cNvPr>
            <p:cNvSpPr/>
            <p:nvPr/>
          </p:nvSpPr>
          <p:spPr>
            <a:xfrm>
              <a:off x="5249996" y="3674547"/>
              <a:ext cx="99508" cy="162495"/>
            </a:xfrm>
            <a:custGeom>
              <a:avLst/>
              <a:gdLst>
                <a:gd name="connsiteX0" fmla="*/ 121 w 99508"/>
                <a:gd name="connsiteY0" fmla="*/ 159648 h 162495"/>
                <a:gd name="connsiteX1" fmla="*/ 24964 w 99508"/>
                <a:gd name="connsiteY1" fmla="*/ 2373 h 162495"/>
                <a:gd name="connsiteX2" fmla="*/ 27724 w 99508"/>
                <a:gd name="connsiteY2" fmla="*/ 0 h 162495"/>
                <a:gd name="connsiteX3" fmla="*/ 41430 w 99508"/>
                <a:gd name="connsiteY3" fmla="*/ 0 h 162495"/>
                <a:gd name="connsiteX4" fmla="*/ 43810 w 99508"/>
                <a:gd name="connsiteY4" fmla="*/ 2753 h 162495"/>
                <a:gd name="connsiteX5" fmla="*/ 34387 w 99508"/>
                <a:gd name="connsiteY5" fmla="*/ 62455 h 162495"/>
                <a:gd name="connsiteX6" fmla="*/ 69985 w 99508"/>
                <a:gd name="connsiteY6" fmla="*/ 42522 h 162495"/>
                <a:gd name="connsiteX7" fmla="*/ 98730 w 99508"/>
                <a:gd name="connsiteY7" fmla="*/ 83621 h 162495"/>
                <a:gd name="connsiteX8" fmla="*/ 86547 w 99508"/>
                <a:gd name="connsiteY8" fmla="*/ 160028 h 162495"/>
                <a:gd name="connsiteX9" fmla="*/ 83786 w 99508"/>
                <a:gd name="connsiteY9" fmla="*/ 162401 h 162495"/>
                <a:gd name="connsiteX10" fmla="*/ 70270 w 99508"/>
                <a:gd name="connsiteY10" fmla="*/ 162401 h 162495"/>
                <a:gd name="connsiteX11" fmla="*/ 67891 w 99508"/>
                <a:gd name="connsiteY11" fmla="*/ 159648 h 162495"/>
                <a:gd name="connsiteX12" fmla="*/ 79884 w 99508"/>
                <a:gd name="connsiteY12" fmla="*/ 85234 h 162495"/>
                <a:gd name="connsiteX13" fmla="*/ 63322 w 99508"/>
                <a:gd name="connsiteY13" fmla="*/ 59797 h 162495"/>
                <a:gd name="connsiteX14" fmla="*/ 30675 w 99508"/>
                <a:gd name="connsiteY14" fmla="*/ 84855 h 162495"/>
                <a:gd name="connsiteX15" fmla="*/ 18872 w 99508"/>
                <a:gd name="connsiteY15" fmla="*/ 160123 h 162495"/>
                <a:gd name="connsiteX16" fmla="*/ 16112 w 99508"/>
                <a:gd name="connsiteY16" fmla="*/ 162496 h 162495"/>
                <a:gd name="connsiteX17" fmla="*/ 2406 w 99508"/>
                <a:gd name="connsiteY17" fmla="*/ 162496 h 162495"/>
                <a:gd name="connsiteX18" fmla="*/ 26 w 99508"/>
                <a:gd name="connsiteY18" fmla="*/ 159743 h 16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508" h="162495">
                  <a:moveTo>
                    <a:pt x="121" y="159648"/>
                  </a:moveTo>
                  <a:lnTo>
                    <a:pt x="24964" y="2373"/>
                  </a:lnTo>
                  <a:cubicBezTo>
                    <a:pt x="25154" y="664"/>
                    <a:pt x="26296" y="0"/>
                    <a:pt x="27724" y="0"/>
                  </a:cubicBezTo>
                  <a:lnTo>
                    <a:pt x="41430" y="0"/>
                  </a:lnTo>
                  <a:cubicBezTo>
                    <a:pt x="43144" y="0"/>
                    <a:pt x="44000" y="854"/>
                    <a:pt x="43810" y="2753"/>
                  </a:cubicBezTo>
                  <a:lnTo>
                    <a:pt x="34387" y="62455"/>
                  </a:lnTo>
                  <a:cubicBezTo>
                    <a:pt x="43144" y="50021"/>
                    <a:pt x="56088" y="42522"/>
                    <a:pt x="69985" y="42522"/>
                  </a:cubicBezTo>
                  <a:cubicBezTo>
                    <a:pt x="91686" y="42522"/>
                    <a:pt x="102632" y="59892"/>
                    <a:pt x="98730" y="83621"/>
                  </a:cubicBezTo>
                  <a:lnTo>
                    <a:pt x="86547" y="160028"/>
                  </a:lnTo>
                  <a:cubicBezTo>
                    <a:pt x="86356" y="161737"/>
                    <a:pt x="85214" y="162401"/>
                    <a:pt x="83786" y="162401"/>
                  </a:cubicBezTo>
                  <a:lnTo>
                    <a:pt x="70270" y="162401"/>
                  </a:lnTo>
                  <a:cubicBezTo>
                    <a:pt x="68557" y="162401"/>
                    <a:pt x="67700" y="161547"/>
                    <a:pt x="67891" y="159648"/>
                  </a:cubicBezTo>
                  <a:lnTo>
                    <a:pt x="79884" y="85234"/>
                  </a:lnTo>
                  <a:cubicBezTo>
                    <a:pt x="82454" y="68150"/>
                    <a:pt x="75791" y="59797"/>
                    <a:pt x="63322" y="59797"/>
                  </a:cubicBezTo>
                  <a:cubicBezTo>
                    <a:pt x="50187" y="59797"/>
                    <a:pt x="38004" y="68814"/>
                    <a:pt x="30675" y="84855"/>
                  </a:cubicBezTo>
                  <a:lnTo>
                    <a:pt x="18872" y="160123"/>
                  </a:lnTo>
                  <a:cubicBezTo>
                    <a:pt x="18682" y="161831"/>
                    <a:pt x="17635" y="162496"/>
                    <a:pt x="16112" y="162496"/>
                  </a:cubicBezTo>
                  <a:lnTo>
                    <a:pt x="2406" y="162496"/>
                  </a:lnTo>
                  <a:cubicBezTo>
                    <a:pt x="692" y="162496"/>
                    <a:pt x="-164" y="161642"/>
                    <a:pt x="26" y="15974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9" name="Freeform 188">
              <a:extLst>
                <a:ext uri="{FF2B5EF4-FFF2-40B4-BE49-F238E27FC236}">
                  <a16:creationId xmlns:a16="http://schemas.microsoft.com/office/drawing/2014/main" id="{1A33F46E-96F5-E9AC-DC49-CED4770AFDC2}"/>
                </a:ext>
              </a:extLst>
            </p:cNvPr>
            <p:cNvSpPr/>
            <p:nvPr/>
          </p:nvSpPr>
          <p:spPr>
            <a:xfrm>
              <a:off x="5371258"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1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3" y="2468"/>
                    <a:pt x="20585" y="2468"/>
                  </a:cubicBezTo>
                  <a:lnTo>
                    <a:pt x="33245" y="2468"/>
                  </a:lnTo>
                  <a:cubicBezTo>
                    <a:pt x="34958" y="2468"/>
                    <a:pt x="35815" y="3322"/>
                    <a:pt x="35624" y="5220"/>
                  </a:cubicBezTo>
                  <a:lnTo>
                    <a:pt x="33245" y="20787"/>
                  </a:lnTo>
                  <a:cubicBezTo>
                    <a:pt x="42287" y="7688"/>
                    <a:pt x="55517" y="0"/>
                    <a:pt x="69890" y="0"/>
                  </a:cubicBezTo>
                  <a:cubicBezTo>
                    <a:pt x="91591" y="0"/>
                    <a:pt x="102727" y="17085"/>
                    <a:pt x="98635" y="42332"/>
                  </a:cubicBezTo>
                  <a:lnTo>
                    <a:pt x="86451" y="117411"/>
                  </a:lnTo>
                  <a:cubicBezTo>
                    <a:pt x="86261" y="119119"/>
                    <a:pt x="85119" y="119784"/>
                    <a:pt x="83691" y="119784"/>
                  </a:cubicBezTo>
                  <a:lnTo>
                    <a:pt x="70175" y="119784"/>
                  </a:lnTo>
                  <a:cubicBezTo>
                    <a:pt x="68462" y="119784"/>
                    <a:pt x="67605" y="118929"/>
                    <a:pt x="67796" y="117031"/>
                  </a:cubicBezTo>
                  <a:lnTo>
                    <a:pt x="79598" y="43851"/>
                  </a:lnTo>
                  <a:cubicBezTo>
                    <a:pt x="82359" y="25627"/>
                    <a:pt x="75981" y="17085"/>
                    <a:pt x="63037" y="17085"/>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0" name="Freeform 189">
              <a:extLst>
                <a:ext uri="{FF2B5EF4-FFF2-40B4-BE49-F238E27FC236}">
                  <a16:creationId xmlns:a16="http://schemas.microsoft.com/office/drawing/2014/main" id="{241B14D7-C028-C4AD-8DAE-03BEAFC7775A}"/>
                </a:ext>
              </a:extLst>
            </p:cNvPr>
            <p:cNvSpPr/>
            <p:nvPr/>
          </p:nvSpPr>
          <p:spPr>
            <a:xfrm>
              <a:off x="5495789"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1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2"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7"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1" y="105262"/>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1" name="Freeform 190">
              <a:extLst>
                <a:ext uri="{FF2B5EF4-FFF2-40B4-BE49-F238E27FC236}">
                  <a16:creationId xmlns:a16="http://schemas.microsoft.com/office/drawing/2014/main" id="{89C4F66A-2798-68C1-DF0C-8A0731CDF8F8}"/>
                </a:ext>
              </a:extLst>
            </p:cNvPr>
            <p:cNvSpPr/>
            <p:nvPr/>
          </p:nvSpPr>
          <p:spPr>
            <a:xfrm>
              <a:off x="5612258" y="3674547"/>
              <a:ext cx="43740" cy="162400"/>
            </a:xfrm>
            <a:custGeom>
              <a:avLst/>
              <a:gdLst>
                <a:gd name="connsiteX0" fmla="*/ 26 w 43740"/>
                <a:gd name="connsiteY0" fmla="*/ 159648 h 162400"/>
                <a:gd name="connsiteX1" fmla="*/ 24869 w 43740"/>
                <a:gd name="connsiteY1" fmla="*/ 2373 h 162400"/>
                <a:gd name="connsiteX2" fmla="*/ 27629 w 43740"/>
                <a:gd name="connsiteY2" fmla="*/ 0 h 162400"/>
                <a:gd name="connsiteX3" fmla="*/ 41335 w 43740"/>
                <a:gd name="connsiteY3" fmla="*/ 0 h 162400"/>
                <a:gd name="connsiteX4" fmla="*/ 43715 w 43740"/>
                <a:gd name="connsiteY4" fmla="*/ 2753 h 162400"/>
                <a:gd name="connsiteX5" fmla="*/ 18872 w 43740"/>
                <a:gd name="connsiteY5" fmla="*/ 160028 h 162400"/>
                <a:gd name="connsiteX6" fmla="*/ 16112 w 43740"/>
                <a:gd name="connsiteY6" fmla="*/ 162401 h 162400"/>
                <a:gd name="connsiteX7" fmla="*/ 2406 w 43740"/>
                <a:gd name="connsiteY7" fmla="*/ 162401 h 162400"/>
                <a:gd name="connsiteX8" fmla="*/ 26 w 43740"/>
                <a:gd name="connsiteY8" fmla="*/ 159648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62400">
                  <a:moveTo>
                    <a:pt x="26" y="159648"/>
                  </a:moveTo>
                  <a:lnTo>
                    <a:pt x="24869" y="2373"/>
                  </a:lnTo>
                  <a:cubicBezTo>
                    <a:pt x="25059" y="664"/>
                    <a:pt x="26201" y="0"/>
                    <a:pt x="27629" y="0"/>
                  </a:cubicBezTo>
                  <a:lnTo>
                    <a:pt x="41335" y="0"/>
                  </a:lnTo>
                  <a:cubicBezTo>
                    <a:pt x="43048" y="0"/>
                    <a:pt x="43905" y="854"/>
                    <a:pt x="43715" y="2753"/>
                  </a:cubicBezTo>
                  <a:lnTo>
                    <a:pt x="18872" y="160028"/>
                  </a:lnTo>
                  <a:cubicBezTo>
                    <a:pt x="18682" y="161737"/>
                    <a:pt x="17635" y="162401"/>
                    <a:pt x="16112" y="162401"/>
                  </a:cubicBezTo>
                  <a:lnTo>
                    <a:pt x="2406" y="162401"/>
                  </a:lnTo>
                  <a:cubicBezTo>
                    <a:pt x="692" y="162401"/>
                    <a:pt x="-164" y="161547"/>
                    <a:pt x="26" y="159648"/>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2" name="Freeform 191">
              <a:extLst>
                <a:ext uri="{FF2B5EF4-FFF2-40B4-BE49-F238E27FC236}">
                  <a16:creationId xmlns:a16="http://schemas.microsoft.com/office/drawing/2014/main" id="{882BEB9D-AB89-CD6C-5D77-EFB1F62D3AF2}"/>
                </a:ext>
              </a:extLst>
            </p:cNvPr>
            <p:cNvSpPr/>
            <p:nvPr/>
          </p:nvSpPr>
          <p:spPr>
            <a:xfrm>
              <a:off x="5669877"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8 w 96077"/>
                <a:gd name="connsiteY11" fmla="*/ 44705 h 122061"/>
                <a:gd name="connsiteX12" fmla="*/ 19505 w 96077"/>
                <a:gd name="connsiteY12" fmla="*/ 73560 h 122061"/>
                <a:gd name="connsiteX13" fmla="*/ 43300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2" y="13478"/>
                    <a:pt x="27786" y="0"/>
                    <a:pt x="53390" y="0"/>
                  </a:cubicBezTo>
                  <a:cubicBezTo>
                    <a:pt x="84514" y="0"/>
                    <a:pt x="100124" y="19932"/>
                    <a:pt x="95175" y="50021"/>
                  </a:cubicBezTo>
                  <a:lnTo>
                    <a:pt x="90701" y="78875"/>
                  </a:lnTo>
                  <a:cubicBezTo>
                    <a:pt x="85752" y="108584"/>
                    <a:pt x="68428" y="122062"/>
                    <a:pt x="42634" y="122062"/>
                  </a:cubicBezTo>
                  <a:cubicBezTo>
                    <a:pt x="11510" y="122062"/>
                    <a:pt x="-3910" y="102129"/>
                    <a:pt x="849" y="72041"/>
                  </a:cubicBezTo>
                  <a:close/>
                  <a:moveTo>
                    <a:pt x="43205" y="105167"/>
                  </a:moveTo>
                  <a:cubicBezTo>
                    <a:pt x="59957" y="105167"/>
                    <a:pt x="69190" y="95295"/>
                    <a:pt x="71950" y="77167"/>
                  </a:cubicBezTo>
                  <a:lnTo>
                    <a:pt x="76709" y="48312"/>
                  </a:lnTo>
                  <a:cubicBezTo>
                    <a:pt x="79946" y="27810"/>
                    <a:pt x="70903" y="16895"/>
                    <a:pt x="52914" y="16895"/>
                  </a:cubicBezTo>
                  <a:cubicBezTo>
                    <a:pt x="36162" y="16895"/>
                    <a:pt x="26929" y="26766"/>
                    <a:pt x="23978" y="44705"/>
                  </a:cubicBezTo>
                  <a:lnTo>
                    <a:pt x="19505" y="73560"/>
                  </a:lnTo>
                  <a:cubicBezTo>
                    <a:pt x="16078" y="94062"/>
                    <a:pt x="25311" y="105262"/>
                    <a:pt x="43300" y="105262"/>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3" name="Freeform 192">
              <a:extLst>
                <a:ext uri="{FF2B5EF4-FFF2-40B4-BE49-F238E27FC236}">
                  <a16:creationId xmlns:a16="http://schemas.microsoft.com/office/drawing/2014/main" id="{EF04BF0B-EEDA-6BA0-A686-D56A0D714444}"/>
                </a:ext>
              </a:extLst>
            </p:cNvPr>
            <p:cNvSpPr/>
            <p:nvPr/>
          </p:nvSpPr>
          <p:spPr>
            <a:xfrm>
              <a:off x="5780828" y="3718588"/>
              <a:ext cx="109433" cy="163634"/>
            </a:xfrm>
            <a:custGeom>
              <a:avLst/>
              <a:gdLst>
                <a:gd name="connsiteX0" fmla="*/ 880 w 109433"/>
                <a:gd name="connsiteY0" fmla="*/ 147025 h 163634"/>
                <a:gd name="connsiteX1" fmla="*/ 690 w 109433"/>
                <a:gd name="connsiteY1" fmla="*/ 143418 h 163634"/>
                <a:gd name="connsiteX2" fmla="*/ 7734 w 109433"/>
                <a:gd name="connsiteY2" fmla="*/ 134685 h 163634"/>
                <a:gd name="connsiteX3" fmla="*/ 11350 w 109433"/>
                <a:gd name="connsiteY3" fmla="*/ 134685 h 163634"/>
                <a:gd name="connsiteX4" fmla="*/ 40095 w 109433"/>
                <a:gd name="connsiteY4" fmla="*/ 147309 h 163634"/>
                <a:gd name="connsiteX5" fmla="*/ 74837 w 109433"/>
                <a:gd name="connsiteY5" fmla="*/ 112855 h 163634"/>
                <a:gd name="connsiteX6" fmla="*/ 77026 w 109433"/>
                <a:gd name="connsiteY6" fmla="*/ 98997 h 163634"/>
                <a:gd name="connsiteX7" fmla="*/ 39905 w 109433"/>
                <a:gd name="connsiteY7" fmla="*/ 118645 h 163634"/>
                <a:gd name="connsiteX8" fmla="*/ 8781 w 109433"/>
                <a:gd name="connsiteY8" fmla="*/ 75268 h 163634"/>
                <a:gd name="connsiteX9" fmla="*/ 13920 w 109433"/>
                <a:gd name="connsiteY9" fmla="*/ 43187 h 163634"/>
                <a:gd name="connsiteX10" fmla="*/ 63034 w 109433"/>
                <a:gd name="connsiteY10" fmla="*/ 0 h 163634"/>
                <a:gd name="connsiteX11" fmla="*/ 107865 w 109433"/>
                <a:gd name="connsiteY11" fmla="*/ 10915 h 163634"/>
                <a:gd name="connsiteX12" fmla="*/ 109388 w 109433"/>
                <a:gd name="connsiteY12" fmla="*/ 14142 h 163634"/>
                <a:gd name="connsiteX13" fmla="*/ 93493 w 109433"/>
                <a:gd name="connsiteY13" fmla="*/ 113994 h 163634"/>
                <a:gd name="connsiteX14" fmla="*/ 41333 w 109433"/>
                <a:gd name="connsiteY14" fmla="*/ 163635 h 163634"/>
                <a:gd name="connsiteX15" fmla="*/ 785 w 109433"/>
                <a:gd name="connsiteY15" fmla="*/ 147119 h 163634"/>
                <a:gd name="connsiteX16" fmla="*/ 46758 w 109433"/>
                <a:gd name="connsiteY16" fmla="*/ 101655 h 163634"/>
                <a:gd name="connsiteX17" fmla="*/ 80643 w 109433"/>
                <a:gd name="connsiteY17" fmla="*/ 76217 h 163634"/>
                <a:gd name="connsiteX18" fmla="*/ 89400 w 109433"/>
                <a:gd name="connsiteY18" fmla="*/ 21261 h 163634"/>
                <a:gd name="connsiteX19" fmla="*/ 63225 w 109433"/>
                <a:gd name="connsiteY19" fmla="*/ 15946 h 163634"/>
                <a:gd name="connsiteX20" fmla="*/ 32290 w 109433"/>
                <a:gd name="connsiteY20" fmla="*/ 44800 h 163634"/>
                <a:gd name="connsiteX21" fmla="*/ 27817 w 109433"/>
                <a:gd name="connsiteY21" fmla="*/ 73655 h 163634"/>
                <a:gd name="connsiteX22" fmla="*/ 46663 w 109433"/>
                <a:gd name="connsiteY22" fmla="*/ 101655 h 16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9433" h="163634">
                  <a:moveTo>
                    <a:pt x="880" y="147025"/>
                  </a:moveTo>
                  <a:cubicBezTo>
                    <a:pt x="-357" y="145980"/>
                    <a:pt x="-167" y="144462"/>
                    <a:pt x="690" y="143418"/>
                  </a:cubicBezTo>
                  <a:lnTo>
                    <a:pt x="7734" y="134685"/>
                  </a:lnTo>
                  <a:cubicBezTo>
                    <a:pt x="8781" y="133167"/>
                    <a:pt x="10113" y="133357"/>
                    <a:pt x="11350" y="134685"/>
                  </a:cubicBezTo>
                  <a:cubicBezTo>
                    <a:pt x="18394" y="141994"/>
                    <a:pt x="28293" y="147309"/>
                    <a:pt x="40095" y="147309"/>
                  </a:cubicBezTo>
                  <a:cubicBezTo>
                    <a:pt x="58085" y="147309"/>
                    <a:pt x="71030" y="137913"/>
                    <a:pt x="74837" y="112855"/>
                  </a:cubicBezTo>
                  <a:lnTo>
                    <a:pt x="77026" y="98997"/>
                  </a:lnTo>
                  <a:cubicBezTo>
                    <a:pt x="67603" y="111621"/>
                    <a:pt x="54468" y="118645"/>
                    <a:pt x="39905" y="118645"/>
                  </a:cubicBezTo>
                  <a:cubicBezTo>
                    <a:pt x="17347" y="118645"/>
                    <a:pt x="4497" y="102224"/>
                    <a:pt x="8781" y="75268"/>
                  </a:cubicBezTo>
                  <a:lnTo>
                    <a:pt x="13920" y="43187"/>
                  </a:lnTo>
                  <a:cubicBezTo>
                    <a:pt x="18394" y="15851"/>
                    <a:pt x="33242" y="0"/>
                    <a:pt x="63034" y="0"/>
                  </a:cubicBezTo>
                  <a:cubicBezTo>
                    <a:pt x="78073" y="0"/>
                    <a:pt x="95015" y="4271"/>
                    <a:pt x="107865" y="10915"/>
                  </a:cubicBezTo>
                  <a:cubicBezTo>
                    <a:pt x="109198" y="11580"/>
                    <a:pt x="109578" y="12624"/>
                    <a:pt x="109388" y="14142"/>
                  </a:cubicBezTo>
                  <a:lnTo>
                    <a:pt x="93493" y="113994"/>
                  </a:lnTo>
                  <a:cubicBezTo>
                    <a:pt x="87877" y="147784"/>
                    <a:pt x="67984" y="163635"/>
                    <a:pt x="41333" y="163635"/>
                  </a:cubicBezTo>
                  <a:cubicBezTo>
                    <a:pt x="23343" y="163635"/>
                    <a:pt x="10018" y="156801"/>
                    <a:pt x="785" y="147119"/>
                  </a:cubicBezTo>
                  <a:close/>
                  <a:moveTo>
                    <a:pt x="46758" y="101655"/>
                  </a:moveTo>
                  <a:cubicBezTo>
                    <a:pt x="60464" y="101655"/>
                    <a:pt x="73124" y="92923"/>
                    <a:pt x="80643" y="76217"/>
                  </a:cubicBezTo>
                  <a:lnTo>
                    <a:pt x="89400" y="21261"/>
                  </a:lnTo>
                  <a:cubicBezTo>
                    <a:pt x="81214" y="18034"/>
                    <a:pt x="71791" y="15946"/>
                    <a:pt x="63225" y="15946"/>
                  </a:cubicBezTo>
                  <a:cubicBezTo>
                    <a:pt x="44759" y="15946"/>
                    <a:pt x="35336" y="26197"/>
                    <a:pt x="32290" y="44800"/>
                  </a:cubicBezTo>
                  <a:lnTo>
                    <a:pt x="27817" y="73655"/>
                  </a:lnTo>
                  <a:cubicBezTo>
                    <a:pt x="24581" y="93112"/>
                    <a:pt x="32290" y="101655"/>
                    <a:pt x="46663" y="101655"/>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4" name="Freeform 193">
              <a:extLst>
                <a:ext uri="{FF2B5EF4-FFF2-40B4-BE49-F238E27FC236}">
                  <a16:creationId xmlns:a16="http://schemas.microsoft.com/office/drawing/2014/main" id="{2BDF7CB1-6CD2-864E-807D-57AD8E4A211F}"/>
                </a:ext>
              </a:extLst>
            </p:cNvPr>
            <p:cNvSpPr/>
            <p:nvPr/>
          </p:nvSpPr>
          <p:spPr>
            <a:xfrm>
              <a:off x="5909702"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2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9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8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6" y="45654"/>
                    <a:pt x="19062" y="44990"/>
                    <a:pt x="20585" y="44990"/>
                  </a:cubicBezTo>
                  <a:lnTo>
                    <a:pt x="34292" y="44990"/>
                  </a:lnTo>
                  <a:cubicBezTo>
                    <a:pt x="36005" y="44990"/>
                    <a:pt x="36862"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9" y="664"/>
                    <a:pt x="26011" y="0"/>
                    <a:pt x="27439" y="0"/>
                  </a:cubicBezTo>
                  <a:lnTo>
                    <a:pt x="41145" y="0"/>
                  </a:lnTo>
                  <a:cubicBezTo>
                    <a:pt x="42858" y="0"/>
                    <a:pt x="43715" y="854"/>
                    <a:pt x="43524" y="2753"/>
                  </a:cubicBezTo>
                  <a:lnTo>
                    <a:pt x="40098" y="24393"/>
                  </a:lnTo>
                  <a:cubicBezTo>
                    <a:pt x="39907" y="26102"/>
                    <a:pt x="38765" y="26766"/>
                    <a:pt x="37338" y="26766"/>
                  </a:cubicBezTo>
                  <a:lnTo>
                    <a:pt x="23822" y="26766"/>
                  </a:lnTo>
                  <a:cubicBezTo>
                    <a:pt x="22108" y="26766"/>
                    <a:pt x="21252" y="25912"/>
                    <a:pt x="21442" y="24014"/>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5" name="Freeform 194">
              <a:extLst>
                <a:ext uri="{FF2B5EF4-FFF2-40B4-BE49-F238E27FC236}">
                  <a16:creationId xmlns:a16="http://schemas.microsoft.com/office/drawing/2014/main" id="{4A870EE1-A318-2F3C-E430-146A75CAA892}"/>
                </a:ext>
              </a:extLst>
            </p:cNvPr>
            <p:cNvSpPr/>
            <p:nvPr/>
          </p:nvSpPr>
          <p:spPr>
            <a:xfrm>
              <a:off x="5967216"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7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7"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8"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6" name="Freeform 195">
              <a:extLst>
                <a:ext uri="{FF2B5EF4-FFF2-40B4-BE49-F238E27FC236}">
                  <a16:creationId xmlns:a16="http://schemas.microsoft.com/office/drawing/2014/main" id="{50BFDCD7-BF5D-291A-FDDC-5F42C75BBF88}"/>
                </a:ext>
              </a:extLst>
            </p:cNvPr>
            <p:cNvSpPr/>
            <p:nvPr/>
          </p:nvSpPr>
          <p:spPr>
            <a:xfrm>
              <a:off x="6078199" y="3717354"/>
              <a:ext cx="92615" cy="122061"/>
            </a:xfrm>
            <a:custGeom>
              <a:avLst/>
              <a:gdLst>
                <a:gd name="connsiteX0" fmla="*/ 97 w 92615"/>
                <a:gd name="connsiteY0" fmla="*/ 92828 h 122061"/>
                <a:gd name="connsiteX1" fmla="*/ 2001 w 92615"/>
                <a:gd name="connsiteY1" fmla="*/ 89601 h 122061"/>
                <a:gd name="connsiteX2" fmla="*/ 12947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1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1 w 92615"/>
                <a:gd name="connsiteY13" fmla="*/ 15281 h 122061"/>
                <a:gd name="connsiteX14" fmla="*/ 30365 w 92615"/>
                <a:gd name="connsiteY14" fmla="*/ 32176 h 122061"/>
                <a:gd name="connsiteX15" fmla="*/ 52638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7" y="85994"/>
                  </a:lnTo>
                  <a:cubicBezTo>
                    <a:pt x="14469" y="85614"/>
                    <a:pt x="15707" y="85994"/>
                    <a:pt x="16183" y="87702"/>
                  </a:cubicBezTo>
                  <a:cubicBezTo>
                    <a:pt x="19419" y="98997"/>
                    <a:pt x="28842" y="106496"/>
                    <a:pt x="44261" y="106496"/>
                  </a:cubicBezTo>
                  <a:cubicBezTo>
                    <a:pt x="57968" y="106496"/>
                    <a:pt x="67200" y="98997"/>
                    <a:pt x="67200" y="88082"/>
                  </a:cubicBezTo>
                  <a:cubicBezTo>
                    <a:pt x="67200" y="78685"/>
                    <a:pt x="63107" y="74414"/>
                    <a:pt x="44071" y="66916"/>
                  </a:cubicBezTo>
                  <a:cubicBezTo>
                    <a:pt x="19419" y="57329"/>
                    <a:pt x="11709" y="48312"/>
                    <a:pt x="11709" y="33126"/>
                  </a:cubicBezTo>
                  <a:cubicBezTo>
                    <a:pt x="11709" y="13478"/>
                    <a:pt x="28461" y="0"/>
                    <a:pt x="51591" y="0"/>
                  </a:cubicBezTo>
                  <a:cubicBezTo>
                    <a:pt x="74720" y="0"/>
                    <a:pt x="89378" y="10915"/>
                    <a:pt x="92519" y="27810"/>
                  </a:cubicBezTo>
                  <a:cubicBezTo>
                    <a:pt x="92899" y="29329"/>
                    <a:pt x="92138" y="30373"/>
                    <a:pt x="90615" y="30848"/>
                  </a:cubicBezTo>
                  <a:lnTo>
                    <a:pt x="79669" y="34075"/>
                  </a:lnTo>
                  <a:cubicBezTo>
                    <a:pt x="78146" y="34454"/>
                    <a:pt x="76909" y="33885"/>
                    <a:pt x="76433" y="32176"/>
                  </a:cubicBezTo>
                  <a:cubicBezTo>
                    <a:pt x="73387" y="21071"/>
                    <a:pt x="64440" y="15281"/>
                    <a:pt x="51591" y="15281"/>
                  </a:cubicBezTo>
                  <a:cubicBezTo>
                    <a:pt x="38741" y="15281"/>
                    <a:pt x="30365" y="21926"/>
                    <a:pt x="30365" y="32176"/>
                  </a:cubicBezTo>
                  <a:cubicBezTo>
                    <a:pt x="30365" y="39865"/>
                    <a:pt x="34838" y="44610"/>
                    <a:pt x="52638"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7" name="Freeform 196">
              <a:extLst>
                <a:ext uri="{FF2B5EF4-FFF2-40B4-BE49-F238E27FC236}">
                  <a16:creationId xmlns:a16="http://schemas.microsoft.com/office/drawing/2014/main" id="{8C00257C-E5F5-EA43-96B8-8CC9AF79DA44}"/>
                </a:ext>
              </a:extLst>
            </p:cNvPr>
            <p:cNvSpPr/>
            <p:nvPr/>
          </p:nvSpPr>
          <p:spPr>
            <a:xfrm>
              <a:off x="6187824" y="3803347"/>
              <a:ext cx="22800" cy="33600"/>
            </a:xfrm>
            <a:custGeom>
              <a:avLst/>
              <a:gdLst>
                <a:gd name="connsiteX0" fmla="*/ 26 w 22800"/>
                <a:gd name="connsiteY0" fmla="*/ 30848 h 33600"/>
                <a:gd name="connsiteX1" fmla="*/ 4500 w 22800"/>
                <a:gd name="connsiteY1" fmla="*/ 2373 h 33600"/>
                <a:gd name="connsiteX2" fmla="*/ 7260 w 22800"/>
                <a:gd name="connsiteY2" fmla="*/ 0 h 33600"/>
                <a:gd name="connsiteX3" fmla="*/ 20395 w 22800"/>
                <a:gd name="connsiteY3" fmla="*/ 0 h 33600"/>
                <a:gd name="connsiteX4" fmla="*/ 22775 w 22800"/>
                <a:gd name="connsiteY4" fmla="*/ 2753 h 33600"/>
                <a:gd name="connsiteX5" fmla="*/ 18491 w 22800"/>
                <a:gd name="connsiteY5" fmla="*/ 31227 h 33600"/>
                <a:gd name="connsiteX6" fmla="*/ 15731 w 22800"/>
                <a:gd name="connsiteY6" fmla="*/ 33600 h 33600"/>
                <a:gd name="connsiteX7" fmla="*/ 2406 w 22800"/>
                <a:gd name="connsiteY7" fmla="*/ 33600 h 33600"/>
                <a:gd name="connsiteX8" fmla="*/ 26 w 22800"/>
                <a:gd name="connsiteY8" fmla="*/ 30848 h 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00" h="33600">
                  <a:moveTo>
                    <a:pt x="26" y="30848"/>
                  </a:moveTo>
                  <a:lnTo>
                    <a:pt x="4500" y="2373"/>
                  </a:lnTo>
                  <a:cubicBezTo>
                    <a:pt x="4690" y="664"/>
                    <a:pt x="5737" y="0"/>
                    <a:pt x="7260" y="0"/>
                  </a:cubicBezTo>
                  <a:lnTo>
                    <a:pt x="20395" y="0"/>
                  </a:lnTo>
                  <a:cubicBezTo>
                    <a:pt x="22108" y="0"/>
                    <a:pt x="22965" y="854"/>
                    <a:pt x="22775" y="2753"/>
                  </a:cubicBezTo>
                  <a:lnTo>
                    <a:pt x="18491" y="31227"/>
                  </a:lnTo>
                  <a:cubicBezTo>
                    <a:pt x="18301" y="32936"/>
                    <a:pt x="17159" y="33600"/>
                    <a:pt x="15731" y="33600"/>
                  </a:cubicBezTo>
                  <a:lnTo>
                    <a:pt x="2406" y="33600"/>
                  </a:lnTo>
                  <a:cubicBezTo>
                    <a:pt x="692" y="33600"/>
                    <a:pt x="-164" y="32746"/>
                    <a:pt x="26" y="30848"/>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8" name="Freeform 197">
              <a:extLst>
                <a:ext uri="{FF2B5EF4-FFF2-40B4-BE49-F238E27FC236}">
                  <a16:creationId xmlns:a16="http://schemas.microsoft.com/office/drawing/2014/main" id="{BADCC1A4-B620-7C29-FE33-BD954DAFACAF}"/>
                </a:ext>
              </a:extLst>
            </p:cNvPr>
            <p:cNvSpPr/>
            <p:nvPr/>
          </p:nvSpPr>
          <p:spPr>
            <a:xfrm>
              <a:off x="6302449" y="3680337"/>
              <a:ext cx="107867" cy="156516"/>
            </a:xfrm>
            <a:custGeom>
              <a:avLst/>
              <a:gdLst>
                <a:gd name="connsiteX0" fmla="*/ 0 w 107867"/>
                <a:gd name="connsiteY0" fmla="*/ 153858 h 156516"/>
                <a:gd name="connsiteX1" fmla="*/ 23986 w 107867"/>
                <a:gd name="connsiteY1" fmla="*/ 2373 h 156516"/>
                <a:gd name="connsiteX2" fmla="*/ 26746 w 107867"/>
                <a:gd name="connsiteY2" fmla="*/ 0 h 156516"/>
                <a:gd name="connsiteX3" fmla="*/ 105462 w 107867"/>
                <a:gd name="connsiteY3" fmla="*/ 0 h 156516"/>
                <a:gd name="connsiteX4" fmla="*/ 107841 w 107867"/>
                <a:gd name="connsiteY4" fmla="*/ 2752 h 156516"/>
                <a:gd name="connsiteX5" fmla="*/ 105938 w 107867"/>
                <a:gd name="connsiteY5" fmla="*/ 15376 h 156516"/>
                <a:gd name="connsiteX6" fmla="*/ 103177 w 107867"/>
                <a:gd name="connsiteY6" fmla="*/ 17749 h 156516"/>
                <a:gd name="connsiteX7" fmla="*/ 40928 w 107867"/>
                <a:gd name="connsiteY7" fmla="*/ 17749 h 156516"/>
                <a:gd name="connsiteX8" fmla="*/ 33028 w 107867"/>
                <a:gd name="connsiteY8" fmla="*/ 68244 h 156516"/>
                <a:gd name="connsiteX9" fmla="*/ 88995 w 107867"/>
                <a:gd name="connsiteY9" fmla="*/ 68244 h 156516"/>
                <a:gd name="connsiteX10" fmla="*/ 91375 w 107867"/>
                <a:gd name="connsiteY10" fmla="*/ 70997 h 156516"/>
                <a:gd name="connsiteX11" fmla="*/ 89661 w 107867"/>
                <a:gd name="connsiteY11" fmla="*/ 82956 h 156516"/>
                <a:gd name="connsiteX12" fmla="*/ 86901 w 107867"/>
                <a:gd name="connsiteY12" fmla="*/ 85329 h 156516"/>
                <a:gd name="connsiteX13" fmla="*/ 30458 w 107867"/>
                <a:gd name="connsiteY13" fmla="*/ 85329 h 156516"/>
                <a:gd name="connsiteX14" fmla="*/ 22082 w 107867"/>
                <a:gd name="connsiteY14" fmla="*/ 138767 h 156516"/>
                <a:gd name="connsiteX15" fmla="*/ 83475 w 107867"/>
                <a:gd name="connsiteY15" fmla="*/ 138767 h 156516"/>
                <a:gd name="connsiteX16" fmla="*/ 85854 w 107867"/>
                <a:gd name="connsiteY16" fmla="*/ 141519 h 156516"/>
                <a:gd name="connsiteX17" fmla="*/ 84141 w 107867"/>
                <a:gd name="connsiteY17" fmla="*/ 154143 h 156516"/>
                <a:gd name="connsiteX18" fmla="*/ 81381 w 107867"/>
                <a:gd name="connsiteY18" fmla="*/ 156516 h 156516"/>
                <a:gd name="connsiteX19" fmla="*/ 2475 w 107867"/>
                <a:gd name="connsiteY19" fmla="*/ 156516 h 156516"/>
                <a:gd name="connsiteX20" fmla="*/ 95 w 107867"/>
                <a:gd name="connsiteY20" fmla="*/ 153764 h 15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867" h="156516">
                  <a:moveTo>
                    <a:pt x="0" y="153858"/>
                  </a:moveTo>
                  <a:lnTo>
                    <a:pt x="23986" y="2373"/>
                  </a:lnTo>
                  <a:cubicBezTo>
                    <a:pt x="24176" y="664"/>
                    <a:pt x="25223" y="0"/>
                    <a:pt x="26746" y="0"/>
                  </a:cubicBezTo>
                  <a:lnTo>
                    <a:pt x="105462" y="0"/>
                  </a:lnTo>
                  <a:cubicBezTo>
                    <a:pt x="107175" y="0"/>
                    <a:pt x="108032" y="854"/>
                    <a:pt x="107841" y="2752"/>
                  </a:cubicBezTo>
                  <a:lnTo>
                    <a:pt x="105938" y="15376"/>
                  </a:lnTo>
                  <a:cubicBezTo>
                    <a:pt x="105747" y="17085"/>
                    <a:pt x="104605" y="17749"/>
                    <a:pt x="103177" y="17749"/>
                  </a:cubicBezTo>
                  <a:lnTo>
                    <a:pt x="40928" y="17749"/>
                  </a:lnTo>
                  <a:lnTo>
                    <a:pt x="33028" y="68244"/>
                  </a:lnTo>
                  <a:lnTo>
                    <a:pt x="88995" y="68244"/>
                  </a:lnTo>
                  <a:cubicBezTo>
                    <a:pt x="90708" y="68244"/>
                    <a:pt x="91565" y="69099"/>
                    <a:pt x="91375" y="70997"/>
                  </a:cubicBezTo>
                  <a:lnTo>
                    <a:pt x="89661" y="82956"/>
                  </a:lnTo>
                  <a:cubicBezTo>
                    <a:pt x="89471" y="84665"/>
                    <a:pt x="88329" y="85329"/>
                    <a:pt x="86901" y="85329"/>
                  </a:cubicBezTo>
                  <a:lnTo>
                    <a:pt x="30458" y="85329"/>
                  </a:lnTo>
                  <a:lnTo>
                    <a:pt x="22082" y="138767"/>
                  </a:lnTo>
                  <a:lnTo>
                    <a:pt x="83475" y="138767"/>
                  </a:lnTo>
                  <a:cubicBezTo>
                    <a:pt x="85188" y="138767"/>
                    <a:pt x="86045" y="139621"/>
                    <a:pt x="85854" y="141519"/>
                  </a:cubicBezTo>
                  <a:lnTo>
                    <a:pt x="84141" y="154143"/>
                  </a:lnTo>
                  <a:cubicBezTo>
                    <a:pt x="83951" y="155852"/>
                    <a:pt x="82808" y="156516"/>
                    <a:pt x="81381" y="156516"/>
                  </a:cubicBezTo>
                  <a:lnTo>
                    <a:pt x="2475" y="156516"/>
                  </a:lnTo>
                  <a:cubicBezTo>
                    <a:pt x="761" y="156516"/>
                    <a:pt x="-95" y="155662"/>
                    <a:pt x="95" y="153764"/>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9" name="Freeform 198">
              <a:extLst>
                <a:ext uri="{FF2B5EF4-FFF2-40B4-BE49-F238E27FC236}">
                  <a16:creationId xmlns:a16="http://schemas.microsoft.com/office/drawing/2014/main" id="{79494B75-AB7B-ABDC-5DD0-75A3852AF745}"/>
                </a:ext>
              </a:extLst>
            </p:cNvPr>
            <p:cNvSpPr/>
            <p:nvPr/>
          </p:nvSpPr>
          <p:spPr>
            <a:xfrm>
              <a:off x="6414667" y="3717354"/>
              <a:ext cx="92615" cy="122061"/>
            </a:xfrm>
            <a:custGeom>
              <a:avLst/>
              <a:gdLst>
                <a:gd name="connsiteX0" fmla="*/ 97 w 92615"/>
                <a:gd name="connsiteY0" fmla="*/ 92828 h 122061"/>
                <a:gd name="connsiteX1" fmla="*/ 2001 w 92615"/>
                <a:gd name="connsiteY1" fmla="*/ 89601 h 122061"/>
                <a:gd name="connsiteX2" fmla="*/ 12947 w 92615"/>
                <a:gd name="connsiteY2" fmla="*/ 85994 h 122061"/>
                <a:gd name="connsiteX3" fmla="*/ 16183 w 92615"/>
                <a:gd name="connsiteY3" fmla="*/ 87702 h 122061"/>
                <a:gd name="connsiteX4" fmla="*/ 44262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0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0 w 92615"/>
                <a:gd name="connsiteY13" fmla="*/ 15281 h 122061"/>
                <a:gd name="connsiteX14" fmla="*/ 30365 w 92615"/>
                <a:gd name="connsiteY14" fmla="*/ 32176 h 122061"/>
                <a:gd name="connsiteX15" fmla="*/ 52638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7" y="85994"/>
                  </a:lnTo>
                  <a:cubicBezTo>
                    <a:pt x="14470" y="85614"/>
                    <a:pt x="15707" y="85994"/>
                    <a:pt x="16183" y="87702"/>
                  </a:cubicBezTo>
                  <a:cubicBezTo>
                    <a:pt x="19419" y="98997"/>
                    <a:pt x="28842" y="106496"/>
                    <a:pt x="44262" y="106496"/>
                  </a:cubicBezTo>
                  <a:cubicBezTo>
                    <a:pt x="57968" y="106496"/>
                    <a:pt x="67200" y="98997"/>
                    <a:pt x="67200" y="88082"/>
                  </a:cubicBezTo>
                  <a:cubicBezTo>
                    <a:pt x="67200" y="78685"/>
                    <a:pt x="63107" y="74414"/>
                    <a:pt x="44071" y="66916"/>
                  </a:cubicBezTo>
                  <a:cubicBezTo>
                    <a:pt x="19419" y="57329"/>
                    <a:pt x="11709" y="48312"/>
                    <a:pt x="11709" y="33126"/>
                  </a:cubicBezTo>
                  <a:cubicBezTo>
                    <a:pt x="11709" y="13478"/>
                    <a:pt x="28461" y="0"/>
                    <a:pt x="51590" y="0"/>
                  </a:cubicBezTo>
                  <a:cubicBezTo>
                    <a:pt x="74720" y="0"/>
                    <a:pt x="89378" y="10915"/>
                    <a:pt x="92519" y="27810"/>
                  </a:cubicBezTo>
                  <a:cubicBezTo>
                    <a:pt x="92899" y="29329"/>
                    <a:pt x="92138" y="30373"/>
                    <a:pt x="90615" y="30848"/>
                  </a:cubicBezTo>
                  <a:lnTo>
                    <a:pt x="79669" y="34075"/>
                  </a:lnTo>
                  <a:cubicBezTo>
                    <a:pt x="78146" y="34454"/>
                    <a:pt x="76909" y="33885"/>
                    <a:pt x="76433" y="32176"/>
                  </a:cubicBezTo>
                  <a:cubicBezTo>
                    <a:pt x="73387" y="21071"/>
                    <a:pt x="64440" y="15281"/>
                    <a:pt x="51590" y="15281"/>
                  </a:cubicBezTo>
                  <a:cubicBezTo>
                    <a:pt x="38741" y="15281"/>
                    <a:pt x="30365" y="21926"/>
                    <a:pt x="30365" y="32176"/>
                  </a:cubicBezTo>
                  <a:cubicBezTo>
                    <a:pt x="30365" y="39865"/>
                    <a:pt x="34839" y="44610"/>
                    <a:pt x="52638" y="51634"/>
                  </a:cubicBezTo>
                  <a:cubicBezTo>
                    <a:pt x="77956" y="61505"/>
                    <a:pt x="85666" y="71092"/>
                    <a:pt x="85666" y="86943"/>
                  </a:cubicBezTo>
                  <a:cubicBezTo>
                    <a:pt x="85666" y="108773"/>
                    <a:pt x="67866" y="122062"/>
                    <a:pt x="43405" y="122062"/>
                  </a:cubicBezTo>
                  <a:cubicBezTo>
                    <a:pt x="20466" y="122062"/>
                    <a:pt x="3714" y="110482"/>
                    <a:pt x="97" y="9292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0" name="Freeform 199">
              <a:extLst>
                <a:ext uri="{FF2B5EF4-FFF2-40B4-BE49-F238E27FC236}">
                  <a16:creationId xmlns:a16="http://schemas.microsoft.com/office/drawing/2014/main" id="{CEEE32C0-2FB4-F9CB-4975-BF0244BAC8EB}"/>
                </a:ext>
              </a:extLst>
            </p:cNvPr>
            <p:cNvSpPr/>
            <p:nvPr/>
          </p:nvSpPr>
          <p:spPr>
            <a:xfrm>
              <a:off x="6521652" y="3717354"/>
              <a:ext cx="92615" cy="122061"/>
            </a:xfrm>
            <a:custGeom>
              <a:avLst/>
              <a:gdLst>
                <a:gd name="connsiteX0" fmla="*/ 97 w 92615"/>
                <a:gd name="connsiteY0" fmla="*/ 92828 h 122061"/>
                <a:gd name="connsiteX1" fmla="*/ 2001 w 92615"/>
                <a:gd name="connsiteY1" fmla="*/ 89601 h 122061"/>
                <a:gd name="connsiteX2" fmla="*/ 12946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1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1 w 92615"/>
                <a:gd name="connsiteY13" fmla="*/ 15281 h 122061"/>
                <a:gd name="connsiteX14" fmla="*/ 30365 w 92615"/>
                <a:gd name="connsiteY14" fmla="*/ 32176 h 122061"/>
                <a:gd name="connsiteX15" fmla="*/ 52637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6" y="85994"/>
                  </a:lnTo>
                  <a:cubicBezTo>
                    <a:pt x="14469" y="85614"/>
                    <a:pt x="15707" y="85994"/>
                    <a:pt x="16183" y="87702"/>
                  </a:cubicBezTo>
                  <a:cubicBezTo>
                    <a:pt x="19419" y="98997"/>
                    <a:pt x="28842" y="106496"/>
                    <a:pt x="44261" y="106496"/>
                  </a:cubicBezTo>
                  <a:cubicBezTo>
                    <a:pt x="57968" y="106496"/>
                    <a:pt x="67200" y="98997"/>
                    <a:pt x="67200" y="88082"/>
                  </a:cubicBezTo>
                  <a:cubicBezTo>
                    <a:pt x="67200" y="78685"/>
                    <a:pt x="63108" y="74414"/>
                    <a:pt x="44071" y="66916"/>
                  </a:cubicBezTo>
                  <a:cubicBezTo>
                    <a:pt x="19419" y="57329"/>
                    <a:pt x="11709" y="48312"/>
                    <a:pt x="11709" y="33126"/>
                  </a:cubicBezTo>
                  <a:cubicBezTo>
                    <a:pt x="11709" y="13478"/>
                    <a:pt x="28461" y="0"/>
                    <a:pt x="51591" y="0"/>
                  </a:cubicBezTo>
                  <a:cubicBezTo>
                    <a:pt x="74720" y="0"/>
                    <a:pt x="89378" y="10915"/>
                    <a:pt x="92519" y="27810"/>
                  </a:cubicBezTo>
                  <a:cubicBezTo>
                    <a:pt x="92900" y="29329"/>
                    <a:pt x="92138" y="30373"/>
                    <a:pt x="90615" y="30848"/>
                  </a:cubicBezTo>
                  <a:lnTo>
                    <a:pt x="79669" y="34075"/>
                  </a:lnTo>
                  <a:cubicBezTo>
                    <a:pt x="78146" y="34454"/>
                    <a:pt x="76909" y="33885"/>
                    <a:pt x="76433" y="32176"/>
                  </a:cubicBezTo>
                  <a:cubicBezTo>
                    <a:pt x="73387" y="21071"/>
                    <a:pt x="64440" y="15281"/>
                    <a:pt x="51591" y="15281"/>
                  </a:cubicBezTo>
                  <a:cubicBezTo>
                    <a:pt x="38741" y="15281"/>
                    <a:pt x="30365" y="21926"/>
                    <a:pt x="30365" y="32176"/>
                  </a:cubicBezTo>
                  <a:cubicBezTo>
                    <a:pt x="30365" y="39865"/>
                    <a:pt x="34838" y="44610"/>
                    <a:pt x="52637"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200">
              <a:extLst>
                <a:ext uri="{FF2B5EF4-FFF2-40B4-BE49-F238E27FC236}">
                  <a16:creationId xmlns:a16="http://schemas.microsoft.com/office/drawing/2014/main" id="{47E8F253-6C32-321F-3456-71250398AF0F}"/>
                </a:ext>
              </a:extLst>
            </p:cNvPr>
            <p:cNvSpPr/>
            <p:nvPr/>
          </p:nvSpPr>
          <p:spPr>
            <a:xfrm>
              <a:off x="6634632" y="3717069"/>
              <a:ext cx="94530" cy="122156"/>
            </a:xfrm>
            <a:custGeom>
              <a:avLst/>
              <a:gdLst>
                <a:gd name="connsiteX0" fmla="*/ 859 w 94530"/>
                <a:gd name="connsiteY0" fmla="*/ 72136 h 122156"/>
                <a:gd name="connsiteX1" fmla="*/ 5809 w 94530"/>
                <a:gd name="connsiteY1" fmla="*/ 42997 h 122156"/>
                <a:gd name="connsiteX2" fmla="*/ 53209 w 94530"/>
                <a:gd name="connsiteY2" fmla="*/ 0 h 122156"/>
                <a:gd name="connsiteX3" fmla="*/ 93567 w 94530"/>
                <a:gd name="connsiteY3" fmla="*/ 49641 h 122156"/>
                <a:gd name="connsiteX4" fmla="*/ 90997 w 94530"/>
                <a:gd name="connsiteY4" fmla="*/ 64353 h 122156"/>
                <a:gd name="connsiteX5" fmla="*/ 88236 w 94530"/>
                <a:gd name="connsiteY5" fmla="*/ 66726 h 122156"/>
                <a:gd name="connsiteX6" fmla="*/ 19991 w 94530"/>
                <a:gd name="connsiteY6" fmla="*/ 66726 h 122156"/>
                <a:gd name="connsiteX7" fmla="*/ 18658 w 94530"/>
                <a:gd name="connsiteY7" fmla="*/ 74604 h 122156"/>
                <a:gd name="connsiteX8" fmla="*/ 43120 w 94530"/>
                <a:gd name="connsiteY8" fmla="*/ 106306 h 122156"/>
                <a:gd name="connsiteX9" fmla="*/ 71008 w 94530"/>
                <a:gd name="connsiteY9" fmla="*/ 89411 h 122156"/>
                <a:gd name="connsiteX10" fmla="*/ 74625 w 94530"/>
                <a:gd name="connsiteY10" fmla="*/ 88367 h 122156"/>
                <a:gd name="connsiteX11" fmla="*/ 84524 w 94530"/>
                <a:gd name="connsiteY11" fmla="*/ 93682 h 122156"/>
                <a:gd name="connsiteX12" fmla="*/ 85571 w 94530"/>
                <a:gd name="connsiteY12" fmla="*/ 96909 h 122156"/>
                <a:gd name="connsiteX13" fmla="*/ 42930 w 94530"/>
                <a:gd name="connsiteY13" fmla="*/ 122157 h 122156"/>
                <a:gd name="connsiteX14" fmla="*/ 859 w 94530"/>
                <a:gd name="connsiteY14" fmla="*/ 72136 h 122156"/>
                <a:gd name="connsiteX15" fmla="*/ 75101 w 94530"/>
                <a:gd name="connsiteY15" fmla="*/ 53533 h 122156"/>
                <a:gd name="connsiteX16" fmla="*/ 76148 w 94530"/>
                <a:gd name="connsiteY16" fmla="*/ 47078 h 122156"/>
                <a:gd name="connsiteX17" fmla="*/ 52543 w 94530"/>
                <a:gd name="connsiteY17" fmla="*/ 15661 h 122156"/>
                <a:gd name="connsiteX18" fmla="*/ 23798 w 94530"/>
                <a:gd name="connsiteY18" fmla="*/ 43471 h 122156"/>
                <a:gd name="connsiteX19" fmla="*/ 22085 w 94530"/>
                <a:gd name="connsiteY19" fmla="*/ 53533 h 122156"/>
                <a:gd name="connsiteX20" fmla="*/ 75101 w 94530"/>
                <a:gd name="connsiteY20" fmla="*/ 53533 h 12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530" h="122156">
                  <a:moveTo>
                    <a:pt x="859" y="72136"/>
                  </a:moveTo>
                  <a:lnTo>
                    <a:pt x="5809" y="42997"/>
                  </a:lnTo>
                  <a:cubicBezTo>
                    <a:pt x="10568" y="13478"/>
                    <a:pt x="28081" y="0"/>
                    <a:pt x="53209" y="0"/>
                  </a:cubicBezTo>
                  <a:cubicBezTo>
                    <a:pt x="83001" y="0"/>
                    <a:pt x="98706" y="18414"/>
                    <a:pt x="93567" y="49641"/>
                  </a:cubicBezTo>
                  <a:lnTo>
                    <a:pt x="90997" y="64353"/>
                  </a:lnTo>
                  <a:cubicBezTo>
                    <a:pt x="90806" y="66061"/>
                    <a:pt x="89759" y="66726"/>
                    <a:pt x="88236" y="66726"/>
                  </a:cubicBezTo>
                  <a:lnTo>
                    <a:pt x="19991" y="66726"/>
                  </a:lnTo>
                  <a:lnTo>
                    <a:pt x="18658" y="74604"/>
                  </a:lnTo>
                  <a:cubicBezTo>
                    <a:pt x="15422" y="94251"/>
                    <a:pt x="24464" y="106306"/>
                    <a:pt x="43120" y="106306"/>
                  </a:cubicBezTo>
                  <a:cubicBezTo>
                    <a:pt x="56826" y="106306"/>
                    <a:pt x="65012" y="100136"/>
                    <a:pt x="71008" y="89411"/>
                  </a:cubicBezTo>
                  <a:cubicBezTo>
                    <a:pt x="71865" y="87892"/>
                    <a:pt x="73198" y="87512"/>
                    <a:pt x="74625" y="88367"/>
                  </a:cubicBezTo>
                  <a:lnTo>
                    <a:pt x="84524" y="93682"/>
                  </a:lnTo>
                  <a:cubicBezTo>
                    <a:pt x="85857" y="94536"/>
                    <a:pt x="86428" y="95580"/>
                    <a:pt x="85571" y="96909"/>
                  </a:cubicBezTo>
                  <a:cubicBezTo>
                    <a:pt x="77386" y="113140"/>
                    <a:pt x="63870" y="122157"/>
                    <a:pt x="42930" y="122157"/>
                  </a:cubicBezTo>
                  <a:cubicBezTo>
                    <a:pt x="12662" y="122157"/>
                    <a:pt x="-4090" y="103553"/>
                    <a:pt x="859" y="72136"/>
                  </a:cubicBezTo>
                  <a:close/>
                  <a:moveTo>
                    <a:pt x="75101" y="53533"/>
                  </a:moveTo>
                  <a:lnTo>
                    <a:pt x="76148" y="47078"/>
                  </a:lnTo>
                  <a:cubicBezTo>
                    <a:pt x="79575" y="26766"/>
                    <a:pt x="70342" y="15661"/>
                    <a:pt x="52543" y="15661"/>
                  </a:cubicBezTo>
                  <a:cubicBezTo>
                    <a:pt x="36267" y="15661"/>
                    <a:pt x="26844" y="25532"/>
                    <a:pt x="23798" y="43471"/>
                  </a:cubicBezTo>
                  <a:lnTo>
                    <a:pt x="22085" y="53533"/>
                  </a:lnTo>
                  <a:lnTo>
                    <a:pt x="75101" y="53533"/>
                  </a:ln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2" name="Freeform 201">
              <a:extLst>
                <a:ext uri="{FF2B5EF4-FFF2-40B4-BE49-F238E27FC236}">
                  <a16:creationId xmlns:a16="http://schemas.microsoft.com/office/drawing/2014/main" id="{38A5BEC0-D04F-6F9D-9BFF-8383167DFEDA}"/>
                </a:ext>
              </a:extLst>
            </p:cNvPr>
            <p:cNvSpPr/>
            <p:nvPr/>
          </p:nvSpPr>
          <p:spPr>
            <a:xfrm>
              <a:off x="6748541"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2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2" y="2468"/>
                    <a:pt x="20585" y="2468"/>
                  </a:cubicBezTo>
                  <a:lnTo>
                    <a:pt x="33245" y="2468"/>
                  </a:lnTo>
                  <a:cubicBezTo>
                    <a:pt x="34958" y="2468"/>
                    <a:pt x="35815" y="3322"/>
                    <a:pt x="35624" y="5220"/>
                  </a:cubicBezTo>
                  <a:lnTo>
                    <a:pt x="33245" y="20787"/>
                  </a:lnTo>
                  <a:cubicBezTo>
                    <a:pt x="42287" y="7688"/>
                    <a:pt x="55517" y="0"/>
                    <a:pt x="69890" y="0"/>
                  </a:cubicBezTo>
                  <a:cubicBezTo>
                    <a:pt x="91591" y="0"/>
                    <a:pt x="102728" y="17085"/>
                    <a:pt x="98635" y="42332"/>
                  </a:cubicBezTo>
                  <a:lnTo>
                    <a:pt x="86452" y="117411"/>
                  </a:lnTo>
                  <a:cubicBezTo>
                    <a:pt x="86261" y="119119"/>
                    <a:pt x="85119" y="119784"/>
                    <a:pt x="83691" y="119784"/>
                  </a:cubicBezTo>
                  <a:lnTo>
                    <a:pt x="70175" y="119784"/>
                  </a:lnTo>
                  <a:cubicBezTo>
                    <a:pt x="68462" y="119784"/>
                    <a:pt x="67605" y="118929"/>
                    <a:pt x="67796" y="117031"/>
                  </a:cubicBezTo>
                  <a:lnTo>
                    <a:pt x="79598" y="43851"/>
                  </a:lnTo>
                  <a:cubicBezTo>
                    <a:pt x="82358" y="25627"/>
                    <a:pt x="75981" y="17085"/>
                    <a:pt x="63037" y="17085"/>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3" name="Freeform 202">
              <a:extLst>
                <a:ext uri="{FF2B5EF4-FFF2-40B4-BE49-F238E27FC236}">
                  <a16:creationId xmlns:a16="http://schemas.microsoft.com/office/drawing/2014/main" id="{585ACEBA-8D1C-FFEF-A2A8-4F5836644521}"/>
                </a:ext>
              </a:extLst>
            </p:cNvPr>
            <p:cNvSpPr/>
            <p:nvPr/>
          </p:nvSpPr>
          <p:spPr>
            <a:xfrm>
              <a:off x="6873420"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39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9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7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39"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9"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7"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4" name="Freeform 203">
              <a:extLst>
                <a:ext uri="{FF2B5EF4-FFF2-40B4-BE49-F238E27FC236}">
                  <a16:creationId xmlns:a16="http://schemas.microsoft.com/office/drawing/2014/main" id="{100DC1BD-7C43-E2C6-EC01-E68BAFA6C403}"/>
                </a:ext>
              </a:extLst>
            </p:cNvPr>
            <p:cNvSpPr/>
            <p:nvPr/>
          </p:nvSpPr>
          <p:spPr>
            <a:xfrm>
              <a:off x="6946806"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1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8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7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5" y="45654"/>
                    <a:pt x="19063" y="44990"/>
                    <a:pt x="20585" y="44990"/>
                  </a:cubicBezTo>
                  <a:lnTo>
                    <a:pt x="34291" y="44990"/>
                  </a:lnTo>
                  <a:cubicBezTo>
                    <a:pt x="36005" y="44990"/>
                    <a:pt x="36862"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9" y="664"/>
                    <a:pt x="26011" y="0"/>
                    <a:pt x="27438" y="0"/>
                  </a:cubicBezTo>
                  <a:lnTo>
                    <a:pt x="41145" y="0"/>
                  </a:lnTo>
                  <a:cubicBezTo>
                    <a:pt x="42858" y="0"/>
                    <a:pt x="43715" y="854"/>
                    <a:pt x="43524" y="2753"/>
                  </a:cubicBezTo>
                  <a:lnTo>
                    <a:pt x="40098" y="24393"/>
                  </a:lnTo>
                  <a:cubicBezTo>
                    <a:pt x="39907" y="26102"/>
                    <a:pt x="38765" y="26766"/>
                    <a:pt x="37337" y="26766"/>
                  </a:cubicBezTo>
                  <a:lnTo>
                    <a:pt x="23822" y="26766"/>
                  </a:lnTo>
                  <a:cubicBezTo>
                    <a:pt x="22108" y="26766"/>
                    <a:pt x="21252" y="25912"/>
                    <a:pt x="21442" y="24014"/>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5" name="Freeform 204">
              <a:extLst>
                <a:ext uri="{FF2B5EF4-FFF2-40B4-BE49-F238E27FC236}">
                  <a16:creationId xmlns:a16="http://schemas.microsoft.com/office/drawing/2014/main" id="{139D3D76-E1EA-A8C8-2A40-BA480716BE45}"/>
                </a:ext>
              </a:extLst>
            </p:cNvPr>
            <p:cNvSpPr/>
            <p:nvPr/>
          </p:nvSpPr>
          <p:spPr>
            <a:xfrm>
              <a:off x="7003343" y="3718493"/>
              <a:ext cx="101822" cy="120922"/>
            </a:xfrm>
            <a:custGeom>
              <a:avLst/>
              <a:gdLst>
                <a:gd name="connsiteX0" fmla="*/ 979 w 101822"/>
                <a:gd name="connsiteY0" fmla="*/ 76312 h 120922"/>
                <a:gd name="connsiteX1" fmla="*/ 6309 w 101822"/>
                <a:gd name="connsiteY1" fmla="*/ 43187 h 120922"/>
                <a:gd name="connsiteX2" fmla="*/ 55423 w 101822"/>
                <a:gd name="connsiteY2" fmla="*/ 0 h 120922"/>
                <a:gd name="connsiteX3" fmla="*/ 100253 w 101822"/>
                <a:gd name="connsiteY3" fmla="*/ 10915 h 120922"/>
                <a:gd name="connsiteX4" fmla="*/ 101776 w 101822"/>
                <a:gd name="connsiteY4" fmla="*/ 14142 h 120922"/>
                <a:gd name="connsiteX5" fmla="*/ 85691 w 101822"/>
                <a:gd name="connsiteY5" fmla="*/ 116177 h 120922"/>
                <a:gd name="connsiteX6" fmla="*/ 82930 w 101822"/>
                <a:gd name="connsiteY6" fmla="*/ 118550 h 120922"/>
                <a:gd name="connsiteX7" fmla="*/ 70271 w 101822"/>
                <a:gd name="connsiteY7" fmla="*/ 118550 h 120922"/>
                <a:gd name="connsiteX8" fmla="*/ 67892 w 101822"/>
                <a:gd name="connsiteY8" fmla="*/ 115797 h 120922"/>
                <a:gd name="connsiteX9" fmla="*/ 70462 w 101822"/>
                <a:gd name="connsiteY9" fmla="*/ 98902 h 120922"/>
                <a:gd name="connsiteX10" fmla="*/ 31818 w 101822"/>
                <a:gd name="connsiteY10" fmla="*/ 120923 h 120922"/>
                <a:gd name="connsiteX11" fmla="*/ 884 w 101822"/>
                <a:gd name="connsiteY11" fmla="*/ 76407 h 120922"/>
                <a:gd name="connsiteX12" fmla="*/ 38956 w 101822"/>
                <a:gd name="connsiteY12" fmla="*/ 103933 h 120922"/>
                <a:gd name="connsiteX13" fmla="*/ 73031 w 101822"/>
                <a:gd name="connsiteY13" fmla="*/ 76787 h 120922"/>
                <a:gd name="connsiteX14" fmla="*/ 81788 w 101822"/>
                <a:gd name="connsiteY14" fmla="*/ 21356 h 120922"/>
                <a:gd name="connsiteX15" fmla="*/ 55613 w 101822"/>
                <a:gd name="connsiteY15" fmla="*/ 16041 h 120922"/>
                <a:gd name="connsiteX16" fmla="*/ 24679 w 101822"/>
                <a:gd name="connsiteY16" fmla="*/ 44895 h 120922"/>
                <a:gd name="connsiteX17" fmla="*/ 19920 w 101822"/>
                <a:gd name="connsiteY17" fmla="*/ 74889 h 120922"/>
                <a:gd name="connsiteX18" fmla="*/ 38766 w 101822"/>
                <a:gd name="connsiteY18" fmla="*/ 103933 h 12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822" h="120922">
                  <a:moveTo>
                    <a:pt x="979" y="76312"/>
                  </a:moveTo>
                  <a:lnTo>
                    <a:pt x="6309" y="43187"/>
                  </a:lnTo>
                  <a:cubicBezTo>
                    <a:pt x="10782" y="15851"/>
                    <a:pt x="25631" y="0"/>
                    <a:pt x="55423" y="0"/>
                  </a:cubicBezTo>
                  <a:cubicBezTo>
                    <a:pt x="69986" y="0"/>
                    <a:pt x="86071" y="3892"/>
                    <a:pt x="100253" y="10915"/>
                  </a:cubicBezTo>
                  <a:cubicBezTo>
                    <a:pt x="101586" y="11580"/>
                    <a:pt x="101967" y="12624"/>
                    <a:pt x="101776" y="14142"/>
                  </a:cubicBezTo>
                  <a:lnTo>
                    <a:pt x="85691" y="116177"/>
                  </a:lnTo>
                  <a:cubicBezTo>
                    <a:pt x="85500" y="117885"/>
                    <a:pt x="84453" y="118550"/>
                    <a:pt x="82930" y="118550"/>
                  </a:cubicBezTo>
                  <a:lnTo>
                    <a:pt x="70271" y="118550"/>
                  </a:lnTo>
                  <a:cubicBezTo>
                    <a:pt x="68558" y="118550"/>
                    <a:pt x="67701" y="117696"/>
                    <a:pt x="67892" y="115797"/>
                  </a:cubicBezTo>
                  <a:lnTo>
                    <a:pt x="70462" y="98902"/>
                  </a:lnTo>
                  <a:cubicBezTo>
                    <a:pt x="60848" y="113045"/>
                    <a:pt x="47332" y="120923"/>
                    <a:pt x="31818" y="120923"/>
                  </a:cubicBezTo>
                  <a:cubicBezTo>
                    <a:pt x="9259" y="120923"/>
                    <a:pt x="-3590" y="104028"/>
                    <a:pt x="884" y="76407"/>
                  </a:cubicBezTo>
                  <a:close/>
                  <a:moveTo>
                    <a:pt x="38956" y="103933"/>
                  </a:moveTo>
                  <a:cubicBezTo>
                    <a:pt x="52662" y="103933"/>
                    <a:pt x="65512" y="94726"/>
                    <a:pt x="73031" y="76787"/>
                  </a:cubicBezTo>
                  <a:lnTo>
                    <a:pt x="81788" y="21356"/>
                  </a:lnTo>
                  <a:cubicBezTo>
                    <a:pt x="73603" y="18129"/>
                    <a:pt x="64180" y="16041"/>
                    <a:pt x="55613" y="16041"/>
                  </a:cubicBezTo>
                  <a:cubicBezTo>
                    <a:pt x="37148" y="16041"/>
                    <a:pt x="27725" y="26292"/>
                    <a:pt x="24679" y="44895"/>
                  </a:cubicBezTo>
                  <a:lnTo>
                    <a:pt x="19920" y="74889"/>
                  </a:lnTo>
                  <a:cubicBezTo>
                    <a:pt x="16684" y="95011"/>
                    <a:pt x="24394" y="103933"/>
                    <a:pt x="38766" y="10393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6" name="Freeform 205">
              <a:extLst>
                <a:ext uri="{FF2B5EF4-FFF2-40B4-BE49-F238E27FC236}">
                  <a16:creationId xmlns:a16="http://schemas.microsoft.com/office/drawing/2014/main" id="{0F944877-22CB-AAC9-69D4-F97BE2DAE79F}"/>
                </a:ext>
              </a:extLst>
            </p:cNvPr>
            <p:cNvSpPr/>
            <p:nvPr/>
          </p:nvSpPr>
          <p:spPr>
            <a:xfrm>
              <a:off x="7124605" y="3674547"/>
              <a:ext cx="43740" cy="162400"/>
            </a:xfrm>
            <a:custGeom>
              <a:avLst/>
              <a:gdLst>
                <a:gd name="connsiteX0" fmla="*/ 26 w 43740"/>
                <a:gd name="connsiteY0" fmla="*/ 159648 h 162400"/>
                <a:gd name="connsiteX1" fmla="*/ 24869 w 43740"/>
                <a:gd name="connsiteY1" fmla="*/ 2373 h 162400"/>
                <a:gd name="connsiteX2" fmla="*/ 27629 w 43740"/>
                <a:gd name="connsiteY2" fmla="*/ 0 h 162400"/>
                <a:gd name="connsiteX3" fmla="*/ 41335 w 43740"/>
                <a:gd name="connsiteY3" fmla="*/ 0 h 162400"/>
                <a:gd name="connsiteX4" fmla="*/ 43715 w 43740"/>
                <a:gd name="connsiteY4" fmla="*/ 2753 h 162400"/>
                <a:gd name="connsiteX5" fmla="*/ 18872 w 43740"/>
                <a:gd name="connsiteY5" fmla="*/ 160028 h 162400"/>
                <a:gd name="connsiteX6" fmla="*/ 16112 w 43740"/>
                <a:gd name="connsiteY6" fmla="*/ 162401 h 162400"/>
                <a:gd name="connsiteX7" fmla="*/ 2406 w 43740"/>
                <a:gd name="connsiteY7" fmla="*/ 162401 h 162400"/>
                <a:gd name="connsiteX8" fmla="*/ 26 w 43740"/>
                <a:gd name="connsiteY8" fmla="*/ 159648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62400">
                  <a:moveTo>
                    <a:pt x="26" y="159648"/>
                  </a:moveTo>
                  <a:lnTo>
                    <a:pt x="24869" y="2373"/>
                  </a:lnTo>
                  <a:cubicBezTo>
                    <a:pt x="25059" y="664"/>
                    <a:pt x="26201" y="0"/>
                    <a:pt x="27629" y="0"/>
                  </a:cubicBezTo>
                  <a:lnTo>
                    <a:pt x="41335" y="0"/>
                  </a:lnTo>
                  <a:cubicBezTo>
                    <a:pt x="43048" y="0"/>
                    <a:pt x="43905" y="854"/>
                    <a:pt x="43715" y="2753"/>
                  </a:cubicBezTo>
                  <a:lnTo>
                    <a:pt x="18872" y="160028"/>
                  </a:lnTo>
                  <a:cubicBezTo>
                    <a:pt x="18682" y="161737"/>
                    <a:pt x="17635" y="162401"/>
                    <a:pt x="16112" y="162401"/>
                  </a:cubicBezTo>
                  <a:lnTo>
                    <a:pt x="2406" y="162401"/>
                  </a:lnTo>
                  <a:cubicBezTo>
                    <a:pt x="692" y="162401"/>
                    <a:pt x="-164" y="161547"/>
                    <a:pt x="26" y="159648"/>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7" name="Freeform 206">
              <a:extLst>
                <a:ext uri="{FF2B5EF4-FFF2-40B4-BE49-F238E27FC236}">
                  <a16:creationId xmlns:a16="http://schemas.microsoft.com/office/drawing/2014/main" id="{808F9649-DB0E-5320-2C0B-2E0E6CE1B55C}"/>
                </a:ext>
              </a:extLst>
            </p:cNvPr>
            <p:cNvSpPr/>
            <p:nvPr/>
          </p:nvSpPr>
          <p:spPr>
            <a:xfrm>
              <a:off x="7234565" y="3717354"/>
              <a:ext cx="92615" cy="122061"/>
            </a:xfrm>
            <a:custGeom>
              <a:avLst/>
              <a:gdLst>
                <a:gd name="connsiteX0" fmla="*/ 97 w 92615"/>
                <a:gd name="connsiteY0" fmla="*/ 92828 h 122061"/>
                <a:gd name="connsiteX1" fmla="*/ 2001 w 92615"/>
                <a:gd name="connsiteY1" fmla="*/ 89601 h 122061"/>
                <a:gd name="connsiteX2" fmla="*/ 12947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1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1 w 92615"/>
                <a:gd name="connsiteY13" fmla="*/ 15281 h 122061"/>
                <a:gd name="connsiteX14" fmla="*/ 30365 w 92615"/>
                <a:gd name="connsiteY14" fmla="*/ 32176 h 122061"/>
                <a:gd name="connsiteX15" fmla="*/ 52637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7" y="85994"/>
                  </a:lnTo>
                  <a:cubicBezTo>
                    <a:pt x="14470" y="85614"/>
                    <a:pt x="15707" y="85994"/>
                    <a:pt x="16183" y="87702"/>
                  </a:cubicBezTo>
                  <a:cubicBezTo>
                    <a:pt x="19419" y="98997"/>
                    <a:pt x="28842" y="106496"/>
                    <a:pt x="44261" y="106496"/>
                  </a:cubicBezTo>
                  <a:cubicBezTo>
                    <a:pt x="57968" y="106496"/>
                    <a:pt x="67200" y="98997"/>
                    <a:pt x="67200" y="88082"/>
                  </a:cubicBezTo>
                  <a:cubicBezTo>
                    <a:pt x="67200" y="78685"/>
                    <a:pt x="63107" y="74414"/>
                    <a:pt x="44071" y="66916"/>
                  </a:cubicBezTo>
                  <a:cubicBezTo>
                    <a:pt x="19419" y="57329"/>
                    <a:pt x="11709" y="48312"/>
                    <a:pt x="11709" y="33126"/>
                  </a:cubicBezTo>
                  <a:cubicBezTo>
                    <a:pt x="11709" y="13478"/>
                    <a:pt x="28461" y="0"/>
                    <a:pt x="51591" y="0"/>
                  </a:cubicBezTo>
                  <a:cubicBezTo>
                    <a:pt x="74720" y="0"/>
                    <a:pt x="89378" y="10915"/>
                    <a:pt x="92519" y="27810"/>
                  </a:cubicBezTo>
                  <a:cubicBezTo>
                    <a:pt x="92900" y="29329"/>
                    <a:pt x="92138" y="30373"/>
                    <a:pt x="90615" y="30848"/>
                  </a:cubicBezTo>
                  <a:lnTo>
                    <a:pt x="79669" y="34075"/>
                  </a:lnTo>
                  <a:cubicBezTo>
                    <a:pt x="78146" y="34454"/>
                    <a:pt x="76909" y="33885"/>
                    <a:pt x="76433" y="32176"/>
                  </a:cubicBezTo>
                  <a:cubicBezTo>
                    <a:pt x="73387" y="21071"/>
                    <a:pt x="64440" y="15281"/>
                    <a:pt x="51591" y="15281"/>
                  </a:cubicBezTo>
                  <a:cubicBezTo>
                    <a:pt x="38741" y="15281"/>
                    <a:pt x="30365" y="21926"/>
                    <a:pt x="30365" y="32176"/>
                  </a:cubicBezTo>
                  <a:cubicBezTo>
                    <a:pt x="30365" y="39865"/>
                    <a:pt x="34838" y="44610"/>
                    <a:pt x="52637"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8" name="Freeform 207">
              <a:extLst>
                <a:ext uri="{FF2B5EF4-FFF2-40B4-BE49-F238E27FC236}">
                  <a16:creationId xmlns:a16="http://schemas.microsoft.com/office/drawing/2014/main" id="{95493533-D34E-FF12-04A2-F0822643265C}"/>
                </a:ext>
              </a:extLst>
            </p:cNvPr>
            <p:cNvSpPr/>
            <p:nvPr/>
          </p:nvSpPr>
          <p:spPr>
            <a:xfrm>
              <a:off x="7347555"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1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3"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8"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1" y="105262"/>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9" name="Freeform 208">
              <a:extLst>
                <a:ext uri="{FF2B5EF4-FFF2-40B4-BE49-F238E27FC236}">
                  <a16:creationId xmlns:a16="http://schemas.microsoft.com/office/drawing/2014/main" id="{C687816E-3E63-86C4-F3D6-52D01C9A0975}"/>
                </a:ext>
              </a:extLst>
            </p:cNvPr>
            <p:cNvSpPr/>
            <p:nvPr/>
          </p:nvSpPr>
          <p:spPr>
            <a:xfrm>
              <a:off x="7464120" y="3674547"/>
              <a:ext cx="43740" cy="162400"/>
            </a:xfrm>
            <a:custGeom>
              <a:avLst/>
              <a:gdLst>
                <a:gd name="connsiteX0" fmla="*/ 26 w 43740"/>
                <a:gd name="connsiteY0" fmla="*/ 159648 h 162400"/>
                <a:gd name="connsiteX1" fmla="*/ 24869 w 43740"/>
                <a:gd name="connsiteY1" fmla="*/ 2373 h 162400"/>
                <a:gd name="connsiteX2" fmla="*/ 27629 w 43740"/>
                <a:gd name="connsiteY2" fmla="*/ 0 h 162400"/>
                <a:gd name="connsiteX3" fmla="*/ 41335 w 43740"/>
                <a:gd name="connsiteY3" fmla="*/ 0 h 162400"/>
                <a:gd name="connsiteX4" fmla="*/ 43715 w 43740"/>
                <a:gd name="connsiteY4" fmla="*/ 2753 h 162400"/>
                <a:gd name="connsiteX5" fmla="*/ 18872 w 43740"/>
                <a:gd name="connsiteY5" fmla="*/ 160028 h 162400"/>
                <a:gd name="connsiteX6" fmla="*/ 16112 w 43740"/>
                <a:gd name="connsiteY6" fmla="*/ 162401 h 162400"/>
                <a:gd name="connsiteX7" fmla="*/ 2406 w 43740"/>
                <a:gd name="connsiteY7" fmla="*/ 162401 h 162400"/>
                <a:gd name="connsiteX8" fmla="*/ 26 w 43740"/>
                <a:gd name="connsiteY8" fmla="*/ 159648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40" h="162400">
                  <a:moveTo>
                    <a:pt x="26" y="159648"/>
                  </a:moveTo>
                  <a:lnTo>
                    <a:pt x="24869" y="2373"/>
                  </a:lnTo>
                  <a:cubicBezTo>
                    <a:pt x="25059" y="664"/>
                    <a:pt x="26201" y="0"/>
                    <a:pt x="27629" y="0"/>
                  </a:cubicBezTo>
                  <a:lnTo>
                    <a:pt x="41335" y="0"/>
                  </a:lnTo>
                  <a:cubicBezTo>
                    <a:pt x="43049" y="0"/>
                    <a:pt x="43905" y="854"/>
                    <a:pt x="43715" y="2753"/>
                  </a:cubicBezTo>
                  <a:lnTo>
                    <a:pt x="18872" y="160028"/>
                  </a:lnTo>
                  <a:cubicBezTo>
                    <a:pt x="18682" y="161737"/>
                    <a:pt x="17635" y="162401"/>
                    <a:pt x="16112" y="162401"/>
                  </a:cubicBezTo>
                  <a:lnTo>
                    <a:pt x="2406" y="162401"/>
                  </a:lnTo>
                  <a:cubicBezTo>
                    <a:pt x="692" y="162401"/>
                    <a:pt x="-164" y="161547"/>
                    <a:pt x="26" y="159648"/>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0" name="Freeform 209">
              <a:extLst>
                <a:ext uri="{FF2B5EF4-FFF2-40B4-BE49-F238E27FC236}">
                  <a16:creationId xmlns:a16="http://schemas.microsoft.com/office/drawing/2014/main" id="{EF673AAE-3239-742F-66A5-1D02066E977F}"/>
                </a:ext>
              </a:extLst>
            </p:cNvPr>
            <p:cNvSpPr/>
            <p:nvPr/>
          </p:nvSpPr>
          <p:spPr>
            <a:xfrm>
              <a:off x="7522893" y="3719442"/>
              <a:ext cx="99471" cy="119783"/>
            </a:xfrm>
            <a:custGeom>
              <a:avLst/>
              <a:gdLst>
                <a:gd name="connsiteX0" fmla="*/ 36435 w 99471"/>
                <a:gd name="connsiteY0" fmla="*/ 102699 h 119783"/>
                <a:gd name="connsiteX1" fmla="*/ 68797 w 99471"/>
                <a:gd name="connsiteY1" fmla="*/ 77451 h 119783"/>
                <a:gd name="connsiteX2" fmla="*/ 80599 w 99471"/>
                <a:gd name="connsiteY2" fmla="*/ 2373 h 119783"/>
                <a:gd name="connsiteX3" fmla="*/ 83360 w 99471"/>
                <a:gd name="connsiteY3" fmla="*/ 0 h 119783"/>
                <a:gd name="connsiteX4" fmla="*/ 97066 w 99471"/>
                <a:gd name="connsiteY4" fmla="*/ 0 h 119783"/>
                <a:gd name="connsiteX5" fmla="*/ 99445 w 99471"/>
                <a:gd name="connsiteY5" fmla="*/ 2753 h 119783"/>
                <a:gd name="connsiteX6" fmla="*/ 81646 w 99471"/>
                <a:gd name="connsiteY6" fmla="*/ 115038 h 119783"/>
                <a:gd name="connsiteX7" fmla="*/ 78886 w 99471"/>
                <a:gd name="connsiteY7" fmla="*/ 117411 h 119783"/>
                <a:gd name="connsiteX8" fmla="*/ 66227 w 99471"/>
                <a:gd name="connsiteY8" fmla="*/ 117411 h 119783"/>
                <a:gd name="connsiteX9" fmla="*/ 63847 w 99471"/>
                <a:gd name="connsiteY9" fmla="*/ 114658 h 119783"/>
                <a:gd name="connsiteX10" fmla="*/ 66227 w 99471"/>
                <a:gd name="connsiteY10" fmla="*/ 98997 h 119783"/>
                <a:gd name="connsiteX11" fmla="*/ 29581 w 99471"/>
                <a:gd name="connsiteY11" fmla="*/ 119784 h 119783"/>
                <a:gd name="connsiteX12" fmla="*/ 837 w 99471"/>
                <a:gd name="connsiteY12" fmla="*/ 77451 h 119783"/>
                <a:gd name="connsiteX13" fmla="*/ 13115 w 99471"/>
                <a:gd name="connsiteY13" fmla="*/ 2373 h 119783"/>
                <a:gd name="connsiteX14" fmla="*/ 15875 w 99471"/>
                <a:gd name="connsiteY14" fmla="*/ 0 h 119783"/>
                <a:gd name="connsiteX15" fmla="*/ 29391 w 99471"/>
                <a:gd name="connsiteY15" fmla="*/ 0 h 119783"/>
                <a:gd name="connsiteX16" fmla="*/ 31771 w 99471"/>
                <a:gd name="connsiteY16" fmla="*/ 2753 h 119783"/>
                <a:gd name="connsiteX17" fmla="*/ 19968 w 99471"/>
                <a:gd name="connsiteY17" fmla="*/ 75933 h 119783"/>
                <a:gd name="connsiteX18" fmla="*/ 36530 w 99471"/>
                <a:gd name="connsiteY18" fmla="*/ 102699 h 11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783">
                  <a:moveTo>
                    <a:pt x="36435" y="102699"/>
                  </a:moveTo>
                  <a:cubicBezTo>
                    <a:pt x="49760" y="102699"/>
                    <a:pt x="61753" y="93682"/>
                    <a:pt x="68797" y="77451"/>
                  </a:cubicBezTo>
                  <a:lnTo>
                    <a:pt x="80599" y="2373"/>
                  </a:lnTo>
                  <a:cubicBezTo>
                    <a:pt x="80789" y="664"/>
                    <a:pt x="81932" y="0"/>
                    <a:pt x="83360" y="0"/>
                  </a:cubicBezTo>
                  <a:lnTo>
                    <a:pt x="97066" y="0"/>
                  </a:lnTo>
                  <a:cubicBezTo>
                    <a:pt x="98779" y="0"/>
                    <a:pt x="99636" y="854"/>
                    <a:pt x="99445" y="2753"/>
                  </a:cubicBezTo>
                  <a:lnTo>
                    <a:pt x="81646" y="115038"/>
                  </a:lnTo>
                  <a:cubicBezTo>
                    <a:pt x="81456" y="116746"/>
                    <a:pt x="80314" y="117411"/>
                    <a:pt x="78886" y="117411"/>
                  </a:cubicBezTo>
                  <a:lnTo>
                    <a:pt x="66227" y="117411"/>
                  </a:lnTo>
                  <a:cubicBezTo>
                    <a:pt x="64513" y="117411"/>
                    <a:pt x="63657" y="116557"/>
                    <a:pt x="63847" y="114658"/>
                  </a:cubicBezTo>
                  <a:lnTo>
                    <a:pt x="66227" y="98997"/>
                  </a:lnTo>
                  <a:cubicBezTo>
                    <a:pt x="57185" y="112001"/>
                    <a:pt x="43954" y="119784"/>
                    <a:pt x="29581" y="119784"/>
                  </a:cubicBezTo>
                  <a:cubicBezTo>
                    <a:pt x="7880" y="119784"/>
                    <a:pt x="-3256" y="102699"/>
                    <a:pt x="837" y="77451"/>
                  </a:cubicBezTo>
                  <a:lnTo>
                    <a:pt x="13115" y="2373"/>
                  </a:lnTo>
                  <a:cubicBezTo>
                    <a:pt x="13305" y="664"/>
                    <a:pt x="14353" y="0"/>
                    <a:pt x="15875" y="0"/>
                  </a:cubicBezTo>
                  <a:lnTo>
                    <a:pt x="29391" y="0"/>
                  </a:lnTo>
                  <a:cubicBezTo>
                    <a:pt x="31104" y="0"/>
                    <a:pt x="31961" y="854"/>
                    <a:pt x="31771" y="2753"/>
                  </a:cubicBezTo>
                  <a:lnTo>
                    <a:pt x="19968" y="75933"/>
                  </a:lnTo>
                  <a:cubicBezTo>
                    <a:pt x="17208" y="94156"/>
                    <a:pt x="23585" y="102699"/>
                    <a:pt x="36530" y="102699"/>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1" name="Freeform 210">
              <a:extLst>
                <a:ext uri="{FF2B5EF4-FFF2-40B4-BE49-F238E27FC236}">
                  <a16:creationId xmlns:a16="http://schemas.microsoft.com/office/drawing/2014/main" id="{B7C3E95F-0B6E-6E87-1AE7-276833CED1B7}"/>
                </a:ext>
              </a:extLst>
            </p:cNvPr>
            <p:cNvSpPr/>
            <p:nvPr/>
          </p:nvSpPr>
          <p:spPr>
            <a:xfrm>
              <a:off x="7644680" y="3689354"/>
              <a:ext cx="64966" cy="147499"/>
            </a:xfrm>
            <a:custGeom>
              <a:avLst/>
              <a:gdLst>
                <a:gd name="connsiteX0" fmla="*/ 6689 w 64966"/>
                <a:gd name="connsiteY0" fmla="*/ 114658 h 147499"/>
                <a:gd name="connsiteX1" fmla="*/ 17635 w 64966"/>
                <a:gd name="connsiteY1" fmla="*/ 45749 h 147499"/>
                <a:gd name="connsiteX2" fmla="*/ 2406 w 64966"/>
                <a:gd name="connsiteY2" fmla="*/ 45749 h 147499"/>
                <a:gd name="connsiteX3" fmla="*/ 26 w 64966"/>
                <a:gd name="connsiteY3" fmla="*/ 42997 h 147499"/>
                <a:gd name="connsiteX4" fmla="*/ 1740 w 64966"/>
                <a:gd name="connsiteY4" fmla="*/ 32556 h 147499"/>
                <a:gd name="connsiteX5" fmla="*/ 4500 w 64966"/>
                <a:gd name="connsiteY5" fmla="*/ 30183 h 147499"/>
                <a:gd name="connsiteX6" fmla="*/ 20110 w 64966"/>
                <a:gd name="connsiteY6" fmla="*/ 30183 h 147499"/>
                <a:gd name="connsiteX7" fmla="*/ 24393 w 64966"/>
                <a:gd name="connsiteY7" fmla="*/ 2373 h 147499"/>
                <a:gd name="connsiteX8" fmla="*/ 27153 w 64966"/>
                <a:gd name="connsiteY8" fmla="*/ 0 h 147499"/>
                <a:gd name="connsiteX9" fmla="*/ 40669 w 64966"/>
                <a:gd name="connsiteY9" fmla="*/ 0 h 147499"/>
                <a:gd name="connsiteX10" fmla="*/ 43049 w 64966"/>
                <a:gd name="connsiteY10" fmla="*/ 2753 h 147499"/>
                <a:gd name="connsiteX11" fmla="*/ 38765 w 64966"/>
                <a:gd name="connsiteY11" fmla="*/ 30088 h 147499"/>
                <a:gd name="connsiteX12" fmla="*/ 62561 w 64966"/>
                <a:gd name="connsiteY12" fmla="*/ 30088 h 147499"/>
                <a:gd name="connsiteX13" fmla="*/ 64940 w 64966"/>
                <a:gd name="connsiteY13" fmla="*/ 32841 h 147499"/>
                <a:gd name="connsiteX14" fmla="*/ 63417 w 64966"/>
                <a:gd name="connsiteY14" fmla="*/ 43282 h 147499"/>
                <a:gd name="connsiteX15" fmla="*/ 60657 w 64966"/>
                <a:gd name="connsiteY15" fmla="*/ 45654 h 147499"/>
                <a:gd name="connsiteX16" fmla="*/ 36195 w 64966"/>
                <a:gd name="connsiteY16" fmla="*/ 45654 h 147499"/>
                <a:gd name="connsiteX17" fmla="*/ 25725 w 64966"/>
                <a:gd name="connsiteY17" fmla="*/ 112380 h 147499"/>
                <a:gd name="connsiteX18" fmla="*/ 38194 w 64966"/>
                <a:gd name="connsiteY18" fmla="*/ 130604 h 147499"/>
                <a:gd name="connsiteX19" fmla="*/ 46570 w 64966"/>
                <a:gd name="connsiteY19" fmla="*/ 130604 h 147499"/>
                <a:gd name="connsiteX20" fmla="*/ 48950 w 64966"/>
                <a:gd name="connsiteY20" fmla="*/ 133357 h 147499"/>
                <a:gd name="connsiteX21" fmla="*/ 47237 w 64966"/>
                <a:gd name="connsiteY21" fmla="*/ 145126 h 147499"/>
                <a:gd name="connsiteX22" fmla="*/ 44476 w 64966"/>
                <a:gd name="connsiteY22" fmla="*/ 147499 h 147499"/>
                <a:gd name="connsiteX23" fmla="*/ 34006 w 64966"/>
                <a:gd name="connsiteY23" fmla="*/ 147499 h 147499"/>
                <a:gd name="connsiteX24" fmla="*/ 6784 w 64966"/>
                <a:gd name="connsiteY24" fmla="*/ 114563 h 14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66" h="147499">
                  <a:moveTo>
                    <a:pt x="6689" y="114658"/>
                  </a:moveTo>
                  <a:lnTo>
                    <a:pt x="17635" y="45749"/>
                  </a:lnTo>
                  <a:lnTo>
                    <a:pt x="2406" y="45749"/>
                  </a:lnTo>
                  <a:cubicBezTo>
                    <a:pt x="692" y="45749"/>
                    <a:pt x="-164" y="44895"/>
                    <a:pt x="26" y="42997"/>
                  </a:cubicBezTo>
                  <a:lnTo>
                    <a:pt x="1740" y="32556"/>
                  </a:lnTo>
                  <a:cubicBezTo>
                    <a:pt x="1930" y="30848"/>
                    <a:pt x="2977" y="30183"/>
                    <a:pt x="4500" y="30183"/>
                  </a:cubicBezTo>
                  <a:lnTo>
                    <a:pt x="20110" y="30183"/>
                  </a:lnTo>
                  <a:lnTo>
                    <a:pt x="24393" y="2373"/>
                  </a:lnTo>
                  <a:cubicBezTo>
                    <a:pt x="24583" y="664"/>
                    <a:pt x="25630" y="0"/>
                    <a:pt x="27153" y="0"/>
                  </a:cubicBezTo>
                  <a:lnTo>
                    <a:pt x="40669" y="0"/>
                  </a:lnTo>
                  <a:cubicBezTo>
                    <a:pt x="42382" y="0"/>
                    <a:pt x="43239" y="854"/>
                    <a:pt x="43049" y="2753"/>
                  </a:cubicBezTo>
                  <a:lnTo>
                    <a:pt x="38765" y="30088"/>
                  </a:lnTo>
                  <a:lnTo>
                    <a:pt x="62561" y="30088"/>
                  </a:lnTo>
                  <a:cubicBezTo>
                    <a:pt x="64274" y="30088"/>
                    <a:pt x="65131" y="30943"/>
                    <a:pt x="64940" y="32841"/>
                  </a:cubicBezTo>
                  <a:lnTo>
                    <a:pt x="63417" y="43282"/>
                  </a:lnTo>
                  <a:cubicBezTo>
                    <a:pt x="63227" y="44990"/>
                    <a:pt x="62180" y="45654"/>
                    <a:pt x="60657" y="45654"/>
                  </a:cubicBezTo>
                  <a:lnTo>
                    <a:pt x="36195" y="45654"/>
                  </a:lnTo>
                  <a:lnTo>
                    <a:pt x="25725" y="112380"/>
                  </a:lnTo>
                  <a:cubicBezTo>
                    <a:pt x="23822" y="124624"/>
                    <a:pt x="25916" y="130604"/>
                    <a:pt x="38194" y="130604"/>
                  </a:cubicBezTo>
                  <a:lnTo>
                    <a:pt x="46570" y="130604"/>
                  </a:lnTo>
                  <a:cubicBezTo>
                    <a:pt x="48283" y="130604"/>
                    <a:pt x="49140" y="131458"/>
                    <a:pt x="48950" y="133357"/>
                  </a:cubicBezTo>
                  <a:lnTo>
                    <a:pt x="47237" y="145126"/>
                  </a:lnTo>
                  <a:cubicBezTo>
                    <a:pt x="47046" y="146835"/>
                    <a:pt x="45999" y="147499"/>
                    <a:pt x="44476" y="147499"/>
                  </a:cubicBezTo>
                  <a:lnTo>
                    <a:pt x="34006" y="147499"/>
                  </a:lnTo>
                  <a:cubicBezTo>
                    <a:pt x="11924" y="147499"/>
                    <a:pt x="3548" y="135919"/>
                    <a:pt x="6784" y="11456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2" name="Freeform 211">
              <a:extLst>
                <a:ext uri="{FF2B5EF4-FFF2-40B4-BE49-F238E27FC236}">
                  <a16:creationId xmlns:a16="http://schemas.microsoft.com/office/drawing/2014/main" id="{FC096433-6C19-9357-9662-FB37B6F585C2}"/>
                </a:ext>
              </a:extLst>
            </p:cNvPr>
            <p:cNvSpPr/>
            <p:nvPr/>
          </p:nvSpPr>
          <p:spPr>
            <a:xfrm>
              <a:off x="7717970" y="3674547"/>
              <a:ext cx="43550" cy="162400"/>
            </a:xfrm>
            <a:custGeom>
              <a:avLst/>
              <a:gdLst>
                <a:gd name="connsiteX0" fmla="*/ 26 w 43550"/>
                <a:gd name="connsiteY0" fmla="*/ 159648 h 162400"/>
                <a:gd name="connsiteX1" fmla="*/ 17825 w 43550"/>
                <a:gd name="connsiteY1" fmla="*/ 47363 h 162400"/>
                <a:gd name="connsiteX2" fmla="*/ 20585 w 43550"/>
                <a:gd name="connsiteY2" fmla="*/ 44990 h 162400"/>
                <a:gd name="connsiteX3" fmla="*/ 34292 w 43550"/>
                <a:gd name="connsiteY3" fmla="*/ 44990 h 162400"/>
                <a:gd name="connsiteX4" fmla="*/ 36671 w 43550"/>
                <a:gd name="connsiteY4" fmla="*/ 47743 h 162400"/>
                <a:gd name="connsiteX5" fmla="*/ 18872 w 43550"/>
                <a:gd name="connsiteY5" fmla="*/ 160028 h 162400"/>
                <a:gd name="connsiteX6" fmla="*/ 16112 w 43550"/>
                <a:gd name="connsiteY6" fmla="*/ 162401 h 162400"/>
                <a:gd name="connsiteX7" fmla="*/ 2406 w 43550"/>
                <a:gd name="connsiteY7" fmla="*/ 162401 h 162400"/>
                <a:gd name="connsiteX8" fmla="*/ 26 w 43550"/>
                <a:gd name="connsiteY8" fmla="*/ 159648 h 162400"/>
                <a:gd name="connsiteX9" fmla="*/ 21442 w 43550"/>
                <a:gd name="connsiteY9" fmla="*/ 24014 h 162400"/>
                <a:gd name="connsiteX10" fmla="*/ 24678 w 43550"/>
                <a:gd name="connsiteY10" fmla="*/ 2373 h 162400"/>
                <a:gd name="connsiteX11" fmla="*/ 27439 w 43550"/>
                <a:gd name="connsiteY11" fmla="*/ 0 h 162400"/>
                <a:gd name="connsiteX12" fmla="*/ 41145 w 43550"/>
                <a:gd name="connsiteY12" fmla="*/ 0 h 162400"/>
                <a:gd name="connsiteX13" fmla="*/ 43524 w 43550"/>
                <a:gd name="connsiteY13" fmla="*/ 2753 h 162400"/>
                <a:gd name="connsiteX14" fmla="*/ 40098 w 43550"/>
                <a:gd name="connsiteY14" fmla="*/ 24393 h 162400"/>
                <a:gd name="connsiteX15" fmla="*/ 37337 w 43550"/>
                <a:gd name="connsiteY15" fmla="*/ 26766 h 162400"/>
                <a:gd name="connsiteX16" fmla="*/ 23822 w 43550"/>
                <a:gd name="connsiteY16" fmla="*/ 26766 h 162400"/>
                <a:gd name="connsiteX17" fmla="*/ 21442 w 43550"/>
                <a:gd name="connsiteY17" fmla="*/ 24014 h 1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550" h="162400">
                  <a:moveTo>
                    <a:pt x="26" y="159648"/>
                  </a:moveTo>
                  <a:lnTo>
                    <a:pt x="17825" y="47363"/>
                  </a:lnTo>
                  <a:cubicBezTo>
                    <a:pt x="18015" y="45654"/>
                    <a:pt x="19062" y="44990"/>
                    <a:pt x="20585" y="44990"/>
                  </a:cubicBezTo>
                  <a:lnTo>
                    <a:pt x="34292" y="44990"/>
                  </a:lnTo>
                  <a:cubicBezTo>
                    <a:pt x="36005" y="44990"/>
                    <a:pt x="36861" y="45844"/>
                    <a:pt x="36671" y="47743"/>
                  </a:cubicBezTo>
                  <a:lnTo>
                    <a:pt x="18872" y="160028"/>
                  </a:lnTo>
                  <a:cubicBezTo>
                    <a:pt x="18682" y="161737"/>
                    <a:pt x="17635" y="162401"/>
                    <a:pt x="16112" y="162401"/>
                  </a:cubicBezTo>
                  <a:lnTo>
                    <a:pt x="2406" y="162401"/>
                  </a:lnTo>
                  <a:cubicBezTo>
                    <a:pt x="692" y="162401"/>
                    <a:pt x="-164" y="161547"/>
                    <a:pt x="26" y="159648"/>
                  </a:cubicBezTo>
                  <a:close/>
                  <a:moveTo>
                    <a:pt x="21442" y="24014"/>
                  </a:moveTo>
                  <a:lnTo>
                    <a:pt x="24678" y="2373"/>
                  </a:lnTo>
                  <a:cubicBezTo>
                    <a:pt x="24868" y="664"/>
                    <a:pt x="26011" y="0"/>
                    <a:pt x="27439" y="0"/>
                  </a:cubicBezTo>
                  <a:lnTo>
                    <a:pt x="41145" y="0"/>
                  </a:lnTo>
                  <a:cubicBezTo>
                    <a:pt x="42858" y="0"/>
                    <a:pt x="43715" y="854"/>
                    <a:pt x="43524" y="2753"/>
                  </a:cubicBezTo>
                  <a:lnTo>
                    <a:pt x="40098" y="24393"/>
                  </a:lnTo>
                  <a:cubicBezTo>
                    <a:pt x="39907" y="26102"/>
                    <a:pt x="38765" y="26766"/>
                    <a:pt x="37337" y="26766"/>
                  </a:cubicBezTo>
                  <a:lnTo>
                    <a:pt x="23822" y="26766"/>
                  </a:lnTo>
                  <a:cubicBezTo>
                    <a:pt x="22108" y="26766"/>
                    <a:pt x="21252" y="25912"/>
                    <a:pt x="21442" y="24014"/>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3" name="Freeform 212">
              <a:extLst>
                <a:ext uri="{FF2B5EF4-FFF2-40B4-BE49-F238E27FC236}">
                  <a16:creationId xmlns:a16="http://schemas.microsoft.com/office/drawing/2014/main" id="{B9D33E1D-E154-8A6F-08B4-920A6558EDEA}"/>
                </a:ext>
              </a:extLst>
            </p:cNvPr>
            <p:cNvSpPr/>
            <p:nvPr/>
          </p:nvSpPr>
          <p:spPr>
            <a:xfrm>
              <a:off x="7775589" y="3717164"/>
              <a:ext cx="96077" cy="122061"/>
            </a:xfrm>
            <a:custGeom>
              <a:avLst/>
              <a:gdLst>
                <a:gd name="connsiteX0" fmla="*/ 754 w 96077"/>
                <a:gd name="connsiteY0" fmla="*/ 72041 h 122061"/>
                <a:gd name="connsiteX1" fmla="*/ 5513 w 96077"/>
                <a:gd name="connsiteY1" fmla="*/ 43187 h 122061"/>
                <a:gd name="connsiteX2" fmla="*/ 53390 w 96077"/>
                <a:gd name="connsiteY2" fmla="*/ 0 h 122061"/>
                <a:gd name="connsiteX3" fmla="*/ 95175 w 96077"/>
                <a:gd name="connsiteY3" fmla="*/ 50021 h 122061"/>
                <a:gd name="connsiteX4" fmla="*/ 90701 w 96077"/>
                <a:gd name="connsiteY4" fmla="*/ 78875 h 122061"/>
                <a:gd name="connsiteX5" fmla="*/ 42634 w 96077"/>
                <a:gd name="connsiteY5" fmla="*/ 122062 h 122061"/>
                <a:gd name="connsiteX6" fmla="*/ 849 w 96077"/>
                <a:gd name="connsiteY6" fmla="*/ 72041 h 122061"/>
                <a:gd name="connsiteX7" fmla="*/ 43205 w 96077"/>
                <a:gd name="connsiteY7" fmla="*/ 105167 h 122061"/>
                <a:gd name="connsiteX8" fmla="*/ 71950 w 96077"/>
                <a:gd name="connsiteY8" fmla="*/ 77167 h 122061"/>
                <a:gd name="connsiteX9" fmla="*/ 76709 w 96077"/>
                <a:gd name="connsiteY9" fmla="*/ 48312 h 122061"/>
                <a:gd name="connsiteX10" fmla="*/ 52914 w 96077"/>
                <a:gd name="connsiteY10" fmla="*/ 16895 h 122061"/>
                <a:gd name="connsiteX11" fmla="*/ 23979 w 96077"/>
                <a:gd name="connsiteY11" fmla="*/ 44705 h 122061"/>
                <a:gd name="connsiteX12" fmla="*/ 19505 w 96077"/>
                <a:gd name="connsiteY12" fmla="*/ 73560 h 122061"/>
                <a:gd name="connsiteX13" fmla="*/ 43301 w 96077"/>
                <a:gd name="connsiteY13" fmla="*/ 105262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077" h="122061">
                  <a:moveTo>
                    <a:pt x="754" y="72041"/>
                  </a:moveTo>
                  <a:lnTo>
                    <a:pt x="5513" y="43187"/>
                  </a:lnTo>
                  <a:cubicBezTo>
                    <a:pt x="10273" y="13478"/>
                    <a:pt x="27786" y="0"/>
                    <a:pt x="53390" y="0"/>
                  </a:cubicBezTo>
                  <a:cubicBezTo>
                    <a:pt x="84514" y="0"/>
                    <a:pt x="100124" y="19932"/>
                    <a:pt x="95175" y="50021"/>
                  </a:cubicBezTo>
                  <a:lnTo>
                    <a:pt x="90701" y="78875"/>
                  </a:lnTo>
                  <a:cubicBezTo>
                    <a:pt x="85752" y="108584"/>
                    <a:pt x="68429" y="122062"/>
                    <a:pt x="42634" y="122062"/>
                  </a:cubicBezTo>
                  <a:cubicBezTo>
                    <a:pt x="11510" y="122062"/>
                    <a:pt x="-3910" y="102129"/>
                    <a:pt x="849" y="72041"/>
                  </a:cubicBezTo>
                  <a:close/>
                  <a:moveTo>
                    <a:pt x="43205" y="105167"/>
                  </a:moveTo>
                  <a:cubicBezTo>
                    <a:pt x="59958" y="105167"/>
                    <a:pt x="69190" y="95295"/>
                    <a:pt x="71950" y="77167"/>
                  </a:cubicBezTo>
                  <a:lnTo>
                    <a:pt x="76709" y="48312"/>
                  </a:lnTo>
                  <a:cubicBezTo>
                    <a:pt x="79946" y="27810"/>
                    <a:pt x="70903" y="16895"/>
                    <a:pt x="52914" y="16895"/>
                  </a:cubicBezTo>
                  <a:cubicBezTo>
                    <a:pt x="36162" y="16895"/>
                    <a:pt x="26929" y="26766"/>
                    <a:pt x="23979" y="44705"/>
                  </a:cubicBezTo>
                  <a:lnTo>
                    <a:pt x="19505" y="73560"/>
                  </a:lnTo>
                  <a:cubicBezTo>
                    <a:pt x="16078" y="94062"/>
                    <a:pt x="25311" y="105262"/>
                    <a:pt x="43301" y="105262"/>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4" name="Freeform 213">
              <a:extLst>
                <a:ext uri="{FF2B5EF4-FFF2-40B4-BE49-F238E27FC236}">
                  <a16:creationId xmlns:a16="http://schemas.microsoft.com/office/drawing/2014/main" id="{FA9A3042-2008-6985-FE61-DCDBADC01112}"/>
                </a:ext>
              </a:extLst>
            </p:cNvPr>
            <p:cNvSpPr/>
            <p:nvPr/>
          </p:nvSpPr>
          <p:spPr>
            <a:xfrm>
              <a:off x="7892153" y="3717069"/>
              <a:ext cx="99471" cy="119878"/>
            </a:xfrm>
            <a:custGeom>
              <a:avLst/>
              <a:gdLst>
                <a:gd name="connsiteX0" fmla="*/ 63037 w 99471"/>
                <a:gd name="connsiteY0" fmla="*/ 17180 h 119878"/>
                <a:gd name="connsiteX1" fmla="*/ 30675 w 99471"/>
                <a:gd name="connsiteY1" fmla="*/ 42427 h 119878"/>
                <a:gd name="connsiteX2" fmla="*/ 18872 w 99471"/>
                <a:gd name="connsiteY2" fmla="*/ 117506 h 119878"/>
                <a:gd name="connsiteX3" fmla="*/ 16112 w 99471"/>
                <a:gd name="connsiteY3" fmla="*/ 119879 h 119878"/>
                <a:gd name="connsiteX4" fmla="*/ 2406 w 99471"/>
                <a:gd name="connsiteY4" fmla="*/ 119879 h 119878"/>
                <a:gd name="connsiteX5" fmla="*/ 26 w 99471"/>
                <a:gd name="connsiteY5" fmla="*/ 117126 h 119878"/>
                <a:gd name="connsiteX6" fmla="*/ 17825 w 99471"/>
                <a:gd name="connsiteY6" fmla="*/ 4841 h 119878"/>
                <a:gd name="connsiteX7" fmla="*/ 20585 w 99471"/>
                <a:gd name="connsiteY7" fmla="*/ 2468 h 119878"/>
                <a:gd name="connsiteX8" fmla="*/ 33245 w 99471"/>
                <a:gd name="connsiteY8" fmla="*/ 2468 h 119878"/>
                <a:gd name="connsiteX9" fmla="*/ 35624 w 99471"/>
                <a:gd name="connsiteY9" fmla="*/ 5220 h 119878"/>
                <a:gd name="connsiteX10" fmla="*/ 33245 w 99471"/>
                <a:gd name="connsiteY10" fmla="*/ 20787 h 119878"/>
                <a:gd name="connsiteX11" fmla="*/ 69890 w 99471"/>
                <a:gd name="connsiteY11" fmla="*/ 0 h 119878"/>
                <a:gd name="connsiteX12" fmla="*/ 98635 w 99471"/>
                <a:gd name="connsiteY12" fmla="*/ 42332 h 119878"/>
                <a:gd name="connsiteX13" fmla="*/ 86452 w 99471"/>
                <a:gd name="connsiteY13" fmla="*/ 117411 h 119878"/>
                <a:gd name="connsiteX14" fmla="*/ 83691 w 99471"/>
                <a:gd name="connsiteY14" fmla="*/ 119784 h 119878"/>
                <a:gd name="connsiteX15" fmla="*/ 70175 w 99471"/>
                <a:gd name="connsiteY15" fmla="*/ 119784 h 119878"/>
                <a:gd name="connsiteX16" fmla="*/ 67796 w 99471"/>
                <a:gd name="connsiteY16" fmla="*/ 117031 h 119878"/>
                <a:gd name="connsiteX17" fmla="*/ 79598 w 99471"/>
                <a:gd name="connsiteY17" fmla="*/ 43851 h 119878"/>
                <a:gd name="connsiteX18" fmla="*/ 63037 w 99471"/>
                <a:gd name="connsiteY18" fmla="*/ 17085 h 11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471" h="119878">
                  <a:moveTo>
                    <a:pt x="63037" y="17180"/>
                  </a:moveTo>
                  <a:cubicBezTo>
                    <a:pt x="49711" y="17180"/>
                    <a:pt x="37718" y="26197"/>
                    <a:pt x="30675" y="42427"/>
                  </a:cubicBezTo>
                  <a:lnTo>
                    <a:pt x="18872" y="117506"/>
                  </a:lnTo>
                  <a:cubicBezTo>
                    <a:pt x="18682" y="119214"/>
                    <a:pt x="17635" y="119879"/>
                    <a:pt x="16112" y="119879"/>
                  </a:cubicBezTo>
                  <a:lnTo>
                    <a:pt x="2406" y="119879"/>
                  </a:lnTo>
                  <a:cubicBezTo>
                    <a:pt x="692" y="119879"/>
                    <a:pt x="-164" y="119024"/>
                    <a:pt x="26" y="117126"/>
                  </a:cubicBezTo>
                  <a:lnTo>
                    <a:pt x="17825" y="4841"/>
                  </a:lnTo>
                  <a:cubicBezTo>
                    <a:pt x="18016" y="3132"/>
                    <a:pt x="19062" y="2468"/>
                    <a:pt x="20585" y="2468"/>
                  </a:cubicBezTo>
                  <a:lnTo>
                    <a:pt x="33245" y="2468"/>
                  </a:lnTo>
                  <a:cubicBezTo>
                    <a:pt x="34958" y="2468"/>
                    <a:pt x="35815" y="3322"/>
                    <a:pt x="35624" y="5220"/>
                  </a:cubicBezTo>
                  <a:lnTo>
                    <a:pt x="33245" y="20787"/>
                  </a:lnTo>
                  <a:cubicBezTo>
                    <a:pt x="42287" y="7688"/>
                    <a:pt x="55517" y="0"/>
                    <a:pt x="69890" y="0"/>
                  </a:cubicBezTo>
                  <a:cubicBezTo>
                    <a:pt x="91591" y="0"/>
                    <a:pt x="102728" y="17085"/>
                    <a:pt x="98635" y="42332"/>
                  </a:cubicBezTo>
                  <a:lnTo>
                    <a:pt x="86452" y="117411"/>
                  </a:lnTo>
                  <a:cubicBezTo>
                    <a:pt x="86261" y="119119"/>
                    <a:pt x="85119" y="119784"/>
                    <a:pt x="83691" y="119784"/>
                  </a:cubicBezTo>
                  <a:lnTo>
                    <a:pt x="70175" y="119784"/>
                  </a:lnTo>
                  <a:cubicBezTo>
                    <a:pt x="68462" y="119784"/>
                    <a:pt x="67605" y="118929"/>
                    <a:pt x="67796" y="117031"/>
                  </a:cubicBezTo>
                  <a:lnTo>
                    <a:pt x="79598" y="43851"/>
                  </a:lnTo>
                  <a:cubicBezTo>
                    <a:pt x="82358" y="25627"/>
                    <a:pt x="75981" y="17085"/>
                    <a:pt x="63037" y="17085"/>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5" name="Freeform 214">
              <a:extLst>
                <a:ext uri="{FF2B5EF4-FFF2-40B4-BE49-F238E27FC236}">
                  <a16:creationId xmlns:a16="http://schemas.microsoft.com/office/drawing/2014/main" id="{27A12ED3-B973-05BC-946A-136F734B677D}"/>
                </a:ext>
              </a:extLst>
            </p:cNvPr>
            <p:cNvSpPr/>
            <p:nvPr/>
          </p:nvSpPr>
          <p:spPr>
            <a:xfrm>
              <a:off x="8010679" y="3717354"/>
              <a:ext cx="92615" cy="122061"/>
            </a:xfrm>
            <a:custGeom>
              <a:avLst/>
              <a:gdLst>
                <a:gd name="connsiteX0" fmla="*/ 97 w 92615"/>
                <a:gd name="connsiteY0" fmla="*/ 92828 h 122061"/>
                <a:gd name="connsiteX1" fmla="*/ 2001 w 92615"/>
                <a:gd name="connsiteY1" fmla="*/ 89601 h 122061"/>
                <a:gd name="connsiteX2" fmla="*/ 12946 w 92615"/>
                <a:gd name="connsiteY2" fmla="*/ 85994 h 122061"/>
                <a:gd name="connsiteX3" fmla="*/ 16183 w 92615"/>
                <a:gd name="connsiteY3" fmla="*/ 87702 h 122061"/>
                <a:gd name="connsiteX4" fmla="*/ 44261 w 92615"/>
                <a:gd name="connsiteY4" fmla="*/ 106496 h 122061"/>
                <a:gd name="connsiteX5" fmla="*/ 67200 w 92615"/>
                <a:gd name="connsiteY5" fmla="*/ 88082 h 122061"/>
                <a:gd name="connsiteX6" fmla="*/ 44071 w 92615"/>
                <a:gd name="connsiteY6" fmla="*/ 66916 h 122061"/>
                <a:gd name="connsiteX7" fmla="*/ 11709 w 92615"/>
                <a:gd name="connsiteY7" fmla="*/ 33126 h 122061"/>
                <a:gd name="connsiteX8" fmla="*/ 51590 w 92615"/>
                <a:gd name="connsiteY8" fmla="*/ 0 h 122061"/>
                <a:gd name="connsiteX9" fmla="*/ 92519 w 92615"/>
                <a:gd name="connsiteY9" fmla="*/ 27810 h 122061"/>
                <a:gd name="connsiteX10" fmla="*/ 90615 w 92615"/>
                <a:gd name="connsiteY10" fmla="*/ 30848 h 122061"/>
                <a:gd name="connsiteX11" fmla="*/ 79669 w 92615"/>
                <a:gd name="connsiteY11" fmla="*/ 34075 h 122061"/>
                <a:gd name="connsiteX12" fmla="*/ 76433 w 92615"/>
                <a:gd name="connsiteY12" fmla="*/ 32176 h 122061"/>
                <a:gd name="connsiteX13" fmla="*/ 51590 w 92615"/>
                <a:gd name="connsiteY13" fmla="*/ 15281 h 122061"/>
                <a:gd name="connsiteX14" fmla="*/ 30365 w 92615"/>
                <a:gd name="connsiteY14" fmla="*/ 32176 h 122061"/>
                <a:gd name="connsiteX15" fmla="*/ 52637 w 92615"/>
                <a:gd name="connsiteY15" fmla="*/ 51634 h 122061"/>
                <a:gd name="connsiteX16" fmla="*/ 85666 w 92615"/>
                <a:gd name="connsiteY16" fmla="*/ 86943 h 122061"/>
                <a:gd name="connsiteX17" fmla="*/ 43405 w 92615"/>
                <a:gd name="connsiteY17" fmla="*/ 122062 h 122061"/>
                <a:gd name="connsiteX18" fmla="*/ 97 w 92615"/>
                <a:gd name="connsiteY18" fmla="*/ 92923 h 12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615" h="122061">
                  <a:moveTo>
                    <a:pt x="97" y="92828"/>
                  </a:moveTo>
                  <a:cubicBezTo>
                    <a:pt x="-284" y="91309"/>
                    <a:pt x="478" y="90075"/>
                    <a:pt x="2001" y="89601"/>
                  </a:cubicBezTo>
                  <a:lnTo>
                    <a:pt x="12946" y="85994"/>
                  </a:lnTo>
                  <a:cubicBezTo>
                    <a:pt x="14469" y="85614"/>
                    <a:pt x="15707" y="85994"/>
                    <a:pt x="16183" y="87702"/>
                  </a:cubicBezTo>
                  <a:cubicBezTo>
                    <a:pt x="19419" y="98997"/>
                    <a:pt x="28842" y="106496"/>
                    <a:pt x="44261" y="106496"/>
                  </a:cubicBezTo>
                  <a:cubicBezTo>
                    <a:pt x="57968" y="106496"/>
                    <a:pt x="67200" y="98997"/>
                    <a:pt x="67200" y="88082"/>
                  </a:cubicBezTo>
                  <a:cubicBezTo>
                    <a:pt x="67200" y="78685"/>
                    <a:pt x="63108" y="74414"/>
                    <a:pt x="44071" y="66916"/>
                  </a:cubicBezTo>
                  <a:cubicBezTo>
                    <a:pt x="19419" y="57329"/>
                    <a:pt x="11709" y="48312"/>
                    <a:pt x="11709" y="33126"/>
                  </a:cubicBezTo>
                  <a:cubicBezTo>
                    <a:pt x="11709" y="13478"/>
                    <a:pt x="28461" y="0"/>
                    <a:pt x="51590" y="0"/>
                  </a:cubicBezTo>
                  <a:cubicBezTo>
                    <a:pt x="74720" y="0"/>
                    <a:pt x="89378" y="10915"/>
                    <a:pt x="92519" y="27810"/>
                  </a:cubicBezTo>
                  <a:cubicBezTo>
                    <a:pt x="92900" y="29329"/>
                    <a:pt x="92138" y="30373"/>
                    <a:pt x="90615" y="30848"/>
                  </a:cubicBezTo>
                  <a:lnTo>
                    <a:pt x="79669" y="34075"/>
                  </a:lnTo>
                  <a:cubicBezTo>
                    <a:pt x="78146" y="34454"/>
                    <a:pt x="76909" y="33885"/>
                    <a:pt x="76433" y="32176"/>
                  </a:cubicBezTo>
                  <a:cubicBezTo>
                    <a:pt x="73387" y="21071"/>
                    <a:pt x="64440" y="15281"/>
                    <a:pt x="51590" y="15281"/>
                  </a:cubicBezTo>
                  <a:cubicBezTo>
                    <a:pt x="38741" y="15281"/>
                    <a:pt x="30365" y="21926"/>
                    <a:pt x="30365" y="32176"/>
                  </a:cubicBezTo>
                  <a:cubicBezTo>
                    <a:pt x="30365" y="39865"/>
                    <a:pt x="34838" y="44610"/>
                    <a:pt x="52637" y="51634"/>
                  </a:cubicBezTo>
                  <a:cubicBezTo>
                    <a:pt x="77956" y="61505"/>
                    <a:pt x="85666" y="71092"/>
                    <a:pt x="85666" y="86943"/>
                  </a:cubicBezTo>
                  <a:cubicBezTo>
                    <a:pt x="85666" y="108773"/>
                    <a:pt x="67867" y="122062"/>
                    <a:pt x="43405" y="122062"/>
                  </a:cubicBezTo>
                  <a:cubicBezTo>
                    <a:pt x="20466" y="122062"/>
                    <a:pt x="3714" y="110482"/>
                    <a:pt x="97" y="9292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6" name="Freeform 215">
              <a:extLst>
                <a:ext uri="{FF2B5EF4-FFF2-40B4-BE49-F238E27FC236}">
                  <a16:creationId xmlns:a16="http://schemas.microsoft.com/office/drawing/2014/main" id="{47DCE038-5687-5E6D-0793-943DCCFF510C}"/>
                </a:ext>
              </a:extLst>
            </p:cNvPr>
            <p:cNvSpPr/>
            <p:nvPr/>
          </p:nvSpPr>
          <p:spPr>
            <a:xfrm>
              <a:off x="8120304" y="3803347"/>
              <a:ext cx="22800" cy="33600"/>
            </a:xfrm>
            <a:custGeom>
              <a:avLst/>
              <a:gdLst>
                <a:gd name="connsiteX0" fmla="*/ 26 w 22800"/>
                <a:gd name="connsiteY0" fmla="*/ 30848 h 33600"/>
                <a:gd name="connsiteX1" fmla="*/ 4500 w 22800"/>
                <a:gd name="connsiteY1" fmla="*/ 2373 h 33600"/>
                <a:gd name="connsiteX2" fmla="*/ 7260 w 22800"/>
                <a:gd name="connsiteY2" fmla="*/ 0 h 33600"/>
                <a:gd name="connsiteX3" fmla="*/ 20395 w 22800"/>
                <a:gd name="connsiteY3" fmla="*/ 0 h 33600"/>
                <a:gd name="connsiteX4" fmla="*/ 22775 w 22800"/>
                <a:gd name="connsiteY4" fmla="*/ 2753 h 33600"/>
                <a:gd name="connsiteX5" fmla="*/ 18491 w 22800"/>
                <a:gd name="connsiteY5" fmla="*/ 31227 h 33600"/>
                <a:gd name="connsiteX6" fmla="*/ 15731 w 22800"/>
                <a:gd name="connsiteY6" fmla="*/ 33600 h 33600"/>
                <a:gd name="connsiteX7" fmla="*/ 2406 w 22800"/>
                <a:gd name="connsiteY7" fmla="*/ 33600 h 33600"/>
                <a:gd name="connsiteX8" fmla="*/ 26 w 22800"/>
                <a:gd name="connsiteY8" fmla="*/ 30848 h 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00" h="33600">
                  <a:moveTo>
                    <a:pt x="26" y="30848"/>
                  </a:moveTo>
                  <a:lnTo>
                    <a:pt x="4500" y="2373"/>
                  </a:lnTo>
                  <a:cubicBezTo>
                    <a:pt x="4690" y="664"/>
                    <a:pt x="5737" y="0"/>
                    <a:pt x="7260" y="0"/>
                  </a:cubicBezTo>
                  <a:lnTo>
                    <a:pt x="20395" y="0"/>
                  </a:lnTo>
                  <a:cubicBezTo>
                    <a:pt x="22108" y="0"/>
                    <a:pt x="22965" y="854"/>
                    <a:pt x="22775" y="2753"/>
                  </a:cubicBezTo>
                  <a:lnTo>
                    <a:pt x="18491" y="31227"/>
                  </a:lnTo>
                  <a:cubicBezTo>
                    <a:pt x="18301" y="32936"/>
                    <a:pt x="17159" y="33600"/>
                    <a:pt x="15731" y="33600"/>
                  </a:cubicBezTo>
                  <a:lnTo>
                    <a:pt x="2406" y="33600"/>
                  </a:lnTo>
                  <a:cubicBezTo>
                    <a:pt x="692" y="33600"/>
                    <a:pt x="-164" y="32746"/>
                    <a:pt x="26" y="30848"/>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7" name="Freeform 216">
              <a:extLst>
                <a:ext uri="{FF2B5EF4-FFF2-40B4-BE49-F238E27FC236}">
                  <a16:creationId xmlns:a16="http://schemas.microsoft.com/office/drawing/2014/main" id="{E170E8FB-5068-A261-96D9-ED427EFA4867}"/>
                </a:ext>
              </a:extLst>
            </p:cNvPr>
            <p:cNvSpPr/>
            <p:nvPr/>
          </p:nvSpPr>
          <p:spPr>
            <a:xfrm>
              <a:off x="8170860" y="3664124"/>
              <a:ext cx="92615" cy="50460"/>
            </a:xfrm>
            <a:custGeom>
              <a:avLst/>
              <a:gdLst>
                <a:gd name="connsiteX0" fmla="*/ 0 w 133445"/>
                <a:gd name="connsiteY0" fmla="*/ 7498 h 72705"/>
                <a:gd name="connsiteX1" fmla="*/ 0 w 133445"/>
                <a:gd name="connsiteY1" fmla="*/ 2563 h 72705"/>
                <a:gd name="connsiteX2" fmla="*/ 2570 w 133445"/>
                <a:gd name="connsiteY2" fmla="*/ 0 h 72705"/>
                <a:gd name="connsiteX3" fmla="*/ 52731 w 133445"/>
                <a:gd name="connsiteY3" fmla="*/ 0 h 72705"/>
                <a:gd name="connsiteX4" fmla="*/ 55301 w 133445"/>
                <a:gd name="connsiteY4" fmla="*/ 2563 h 72705"/>
                <a:gd name="connsiteX5" fmla="*/ 55301 w 133445"/>
                <a:gd name="connsiteY5" fmla="*/ 7498 h 72705"/>
                <a:gd name="connsiteX6" fmla="*/ 52731 w 133445"/>
                <a:gd name="connsiteY6" fmla="*/ 10061 h 72705"/>
                <a:gd name="connsiteX7" fmla="*/ 33409 w 133445"/>
                <a:gd name="connsiteY7" fmla="*/ 10061 h 72705"/>
                <a:gd name="connsiteX8" fmla="*/ 33409 w 133445"/>
                <a:gd name="connsiteY8" fmla="*/ 70143 h 72705"/>
                <a:gd name="connsiteX9" fmla="*/ 30839 w 133445"/>
                <a:gd name="connsiteY9" fmla="*/ 72705 h 72705"/>
                <a:gd name="connsiteX10" fmla="*/ 24652 w 133445"/>
                <a:gd name="connsiteY10" fmla="*/ 72705 h 72705"/>
                <a:gd name="connsiteX11" fmla="*/ 22082 w 133445"/>
                <a:gd name="connsiteY11" fmla="*/ 70143 h 72705"/>
                <a:gd name="connsiteX12" fmla="*/ 22082 w 133445"/>
                <a:gd name="connsiteY12" fmla="*/ 10061 h 72705"/>
                <a:gd name="connsiteX13" fmla="*/ 2570 w 133445"/>
                <a:gd name="connsiteY13" fmla="*/ 10061 h 72705"/>
                <a:gd name="connsiteX14" fmla="*/ 0 w 133445"/>
                <a:gd name="connsiteY14" fmla="*/ 7498 h 72705"/>
                <a:gd name="connsiteX15" fmla="*/ 66247 w 133445"/>
                <a:gd name="connsiteY15" fmla="*/ 70143 h 72705"/>
                <a:gd name="connsiteX16" fmla="*/ 66247 w 133445"/>
                <a:gd name="connsiteY16" fmla="*/ 2563 h 72705"/>
                <a:gd name="connsiteX17" fmla="*/ 68817 w 133445"/>
                <a:gd name="connsiteY17" fmla="*/ 0 h 72705"/>
                <a:gd name="connsiteX18" fmla="*/ 77859 w 133445"/>
                <a:gd name="connsiteY18" fmla="*/ 0 h 72705"/>
                <a:gd name="connsiteX19" fmla="*/ 80619 w 133445"/>
                <a:gd name="connsiteY19" fmla="*/ 2183 h 72705"/>
                <a:gd name="connsiteX20" fmla="*/ 99751 w 133445"/>
                <a:gd name="connsiteY20" fmla="*/ 59512 h 72705"/>
                <a:gd name="connsiteX21" fmla="*/ 118882 w 133445"/>
                <a:gd name="connsiteY21" fmla="*/ 2183 h 72705"/>
                <a:gd name="connsiteX22" fmla="*/ 121643 w 133445"/>
                <a:gd name="connsiteY22" fmla="*/ 0 h 72705"/>
                <a:gd name="connsiteX23" fmla="*/ 130875 w 133445"/>
                <a:gd name="connsiteY23" fmla="*/ 0 h 72705"/>
                <a:gd name="connsiteX24" fmla="*/ 133445 w 133445"/>
                <a:gd name="connsiteY24" fmla="*/ 2563 h 72705"/>
                <a:gd name="connsiteX25" fmla="*/ 133445 w 133445"/>
                <a:gd name="connsiteY25" fmla="*/ 70143 h 72705"/>
                <a:gd name="connsiteX26" fmla="*/ 130875 w 133445"/>
                <a:gd name="connsiteY26" fmla="*/ 72705 h 72705"/>
                <a:gd name="connsiteX27" fmla="*/ 125545 w 133445"/>
                <a:gd name="connsiteY27" fmla="*/ 72705 h 72705"/>
                <a:gd name="connsiteX28" fmla="*/ 122975 w 133445"/>
                <a:gd name="connsiteY28" fmla="*/ 70143 h 72705"/>
                <a:gd name="connsiteX29" fmla="*/ 122975 w 133445"/>
                <a:gd name="connsiteY29" fmla="*/ 31227 h 72705"/>
                <a:gd name="connsiteX30" fmla="*/ 123166 w 133445"/>
                <a:gd name="connsiteY30" fmla="*/ 17939 h 72705"/>
                <a:gd name="connsiteX31" fmla="*/ 105367 w 133445"/>
                <a:gd name="connsiteY31" fmla="*/ 70522 h 72705"/>
                <a:gd name="connsiteX32" fmla="*/ 102606 w 133445"/>
                <a:gd name="connsiteY32" fmla="*/ 72705 h 72705"/>
                <a:gd name="connsiteX33" fmla="*/ 96800 w 133445"/>
                <a:gd name="connsiteY33" fmla="*/ 72705 h 72705"/>
                <a:gd name="connsiteX34" fmla="*/ 94040 w 133445"/>
                <a:gd name="connsiteY34" fmla="*/ 70522 h 72705"/>
                <a:gd name="connsiteX35" fmla="*/ 76621 w 133445"/>
                <a:gd name="connsiteY35" fmla="*/ 18793 h 72705"/>
                <a:gd name="connsiteX36" fmla="*/ 76812 w 133445"/>
                <a:gd name="connsiteY36" fmla="*/ 31227 h 72705"/>
                <a:gd name="connsiteX37" fmla="*/ 76812 w 133445"/>
                <a:gd name="connsiteY37" fmla="*/ 70143 h 72705"/>
                <a:gd name="connsiteX38" fmla="*/ 74242 w 133445"/>
                <a:gd name="connsiteY38" fmla="*/ 72705 h 72705"/>
                <a:gd name="connsiteX39" fmla="*/ 68912 w 133445"/>
                <a:gd name="connsiteY39" fmla="*/ 72705 h 72705"/>
                <a:gd name="connsiteX40" fmla="*/ 66342 w 133445"/>
                <a:gd name="connsiteY40" fmla="*/ 70143 h 7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33445" h="72705">
                  <a:moveTo>
                    <a:pt x="0" y="7498"/>
                  </a:moveTo>
                  <a:lnTo>
                    <a:pt x="0" y="2563"/>
                  </a:lnTo>
                  <a:cubicBezTo>
                    <a:pt x="0" y="1044"/>
                    <a:pt x="1047" y="0"/>
                    <a:pt x="2570" y="0"/>
                  </a:cubicBezTo>
                  <a:lnTo>
                    <a:pt x="52731" y="0"/>
                  </a:lnTo>
                  <a:cubicBezTo>
                    <a:pt x="54254" y="0"/>
                    <a:pt x="55301" y="1044"/>
                    <a:pt x="55301" y="2563"/>
                  </a:cubicBezTo>
                  <a:lnTo>
                    <a:pt x="55301" y="7498"/>
                  </a:lnTo>
                  <a:cubicBezTo>
                    <a:pt x="55301" y="9017"/>
                    <a:pt x="54254" y="10061"/>
                    <a:pt x="52731" y="10061"/>
                  </a:cubicBezTo>
                  <a:lnTo>
                    <a:pt x="33409" y="10061"/>
                  </a:lnTo>
                  <a:lnTo>
                    <a:pt x="33409" y="70143"/>
                  </a:lnTo>
                  <a:cubicBezTo>
                    <a:pt x="33409" y="71661"/>
                    <a:pt x="32362" y="72705"/>
                    <a:pt x="30839" y="72705"/>
                  </a:cubicBezTo>
                  <a:lnTo>
                    <a:pt x="24652" y="72705"/>
                  </a:lnTo>
                  <a:cubicBezTo>
                    <a:pt x="23129" y="72705"/>
                    <a:pt x="22082" y="71661"/>
                    <a:pt x="22082" y="70143"/>
                  </a:cubicBezTo>
                  <a:lnTo>
                    <a:pt x="22082" y="10061"/>
                  </a:lnTo>
                  <a:lnTo>
                    <a:pt x="2570" y="10061"/>
                  </a:lnTo>
                  <a:cubicBezTo>
                    <a:pt x="1047" y="10061"/>
                    <a:pt x="0" y="9017"/>
                    <a:pt x="0" y="7498"/>
                  </a:cubicBezTo>
                  <a:close/>
                  <a:moveTo>
                    <a:pt x="66247" y="70143"/>
                  </a:moveTo>
                  <a:lnTo>
                    <a:pt x="66247" y="2563"/>
                  </a:lnTo>
                  <a:cubicBezTo>
                    <a:pt x="66247" y="1044"/>
                    <a:pt x="67294" y="0"/>
                    <a:pt x="68817" y="0"/>
                  </a:cubicBezTo>
                  <a:lnTo>
                    <a:pt x="77859" y="0"/>
                  </a:lnTo>
                  <a:cubicBezTo>
                    <a:pt x="79382" y="0"/>
                    <a:pt x="80238" y="854"/>
                    <a:pt x="80619" y="2183"/>
                  </a:cubicBezTo>
                  <a:lnTo>
                    <a:pt x="99751" y="59512"/>
                  </a:lnTo>
                  <a:lnTo>
                    <a:pt x="118882" y="2183"/>
                  </a:lnTo>
                  <a:cubicBezTo>
                    <a:pt x="119263" y="854"/>
                    <a:pt x="120120" y="0"/>
                    <a:pt x="121643" y="0"/>
                  </a:cubicBezTo>
                  <a:lnTo>
                    <a:pt x="130875" y="0"/>
                  </a:lnTo>
                  <a:cubicBezTo>
                    <a:pt x="132398" y="0"/>
                    <a:pt x="133445" y="1044"/>
                    <a:pt x="133445" y="2563"/>
                  </a:cubicBezTo>
                  <a:lnTo>
                    <a:pt x="133445" y="70143"/>
                  </a:lnTo>
                  <a:cubicBezTo>
                    <a:pt x="133445" y="71661"/>
                    <a:pt x="132398" y="72705"/>
                    <a:pt x="130875" y="72705"/>
                  </a:cubicBezTo>
                  <a:lnTo>
                    <a:pt x="125545" y="72705"/>
                  </a:lnTo>
                  <a:cubicBezTo>
                    <a:pt x="124022" y="72705"/>
                    <a:pt x="122975" y="71661"/>
                    <a:pt x="122975" y="70143"/>
                  </a:cubicBezTo>
                  <a:lnTo>
                    <a:pt x="122975" y="31227"/>
                  </a:lnTo>
                  <a:cubicBezTo>
                    <a:pt x="122975" y="27146"/>
                    <a:pt x="122975" y="22495"/>
                    <a:pt x="123166" y="17939"/>
                  </a:cubicBezTo>
                  <a:lnTo>
                    <a:pt x="105367" y="70522"/>
                  </a:lnTo>
                  <a:cubicBezTo>
                    <a:pt x="104986" y="71756"/>
                    <a:pt x="104034" y="72705"/>
                    <a:pt x="102606" y="72705"/>
                  </a:cubicBezTo>
                  <a:lnTo>
                    <a:pt x="96800" y="72705"/>
                  </a:lnTo>
                  <a:cubicBezTo>
                    <a:pt x="95277" y="72705"/>
                    <a:pt x="94420" y="71851"/>
                    <a:pt x="94040" y="70522"/>
                  </a:cubicBezTo>
                  <a:lnTo>
                    <a:pt x="76621" y="18793"/>
                  </a:lnTo>
                  <a:cubicBezTo>
                    <a:pt x="76812" y="23065"/>
                    <a:pt x="76812" y="27146"/>
                    <a:pt x="76812" y="31227"/>
                  </a:cubicBezTo>
                  <a:lnTo>
                    <a:pt x="76812" y="70143"/>
                  </a:lnTo>
                  <a:cubicBezTo>
                    <a:pt x="76812" y="71661"/>
                    <a:pt x="75765" y="72705"/>
                    <a:pt x="74242" y="72705"/>
                  </a:cubicBezTo>
                  <a:lnTo>
                    <a:pt x="68912" y="72705"/>
                  </a:lnTo>
                  <a:cubicBezTo>
                    <a:pt x="67389" y="72705"/>
                    <a:pt x="66342" y="71661"/>
                    <a:pt x="66342" y="70143"/>
                  </a:cubicBezTo>
                  <a:close/>
                </a:path>
              </a:pathLst>
            </a:custGeom>
            <a:grpFill/>
            <a:ln w="95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45" name="Group 244">
            <a:extLst>
              <a:ext uri="{FF2B5EF4-FFF2-40B4-BE49-F238E27FC236}">
                <a16:creationId xmlns:a16="http://schemas.microsoft.com/office/drawing/2014/main" id="{535C5515-09C1-809C-1A18-750E58736081}"/>
              </a:ext>
            </a:extLst>
          </p:cNvPr>
          <p:cNvGrpSpPr/>
          <p:nvPr/>
        </p:nvGrpSpPr>
        <p:grpSpPr>
          <a:xfrm>
            <a:off x="6129708" y="1338279"/>
            <a:ext cx="3492202" cy="3492202"/>
            <a:chOff x="5894318" y="1338279"/>
            <a:chExt cx="3492202" cy="3492202"/>
          </a:xfrm>
        </p:grpSpPr>
        <p:sp>
          <p:nvSpPr>
            <p:cNvPr id="167" name="Oval 166">
              <a:extLst>
                <a:ext uri="{FF2B5EF4-FFF2-40B4-BE49-F238E27FC236}">
                  <a16:creationId xmlns:a16="http://schemas.microsoft.com/office/drawing/2014/main" id="{B60FFB6B-23F7-5A5C-2352-6A1EAFE011B2}"/>
                </a:ext>
              </a:extLst>
            </p:cNvPr>
            <p:cNvSpPr/>
            <p:nvPr/>
          </p:nvSpPr>
          <p:spPr>
            <a:xfrm>
              <a:off x="5894318" y="1338279"/>
              <a:ext cx="3492202" cy="3492202"/>
            </a:xfrm>
            <a:prstGeom prst="ellipse">
              <a:avLst/>
            </a:prstGeom>
            <a:solidFill>
              <a:schemeClr val="bg1"/>
            </a:solidFill>
            <a:ln>
              <a:noFill/>
            </a:ln>
            <a:effectLst>
              <a:outerShdw blurRad="641343" dist="38100" dir="2700000" algn="tl" rotWithShape="0">
                <a:prstClr val="black">
                  <a:alpha val="34815"/>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DDB36BE4-1F12-E8ED-34EB-7EDDCC1F9BEA}"/>
                </a:ext>
              </a:extLst>
            </p:cNvPr>
            <p:cNvSpPr/>
            <p:nvPr/>
          </p:nvSpPr>
          <p:spPr>
            <a:xfrm>
              <a:off x="6357164" y="1790076"/>
              <a:ext cx="2528384" cy="840621"/>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32246"/>
                  </a:solidFill>
                  <a:effectLst/>
                  <a:uLnTx/>
                  <a:uFillTx/>
                  <a:latin typeface="Arial" panose="020B0604020202020204"/>
                  <a:ea typeface="+mn-ea"/>
                  <a:cs typeface="+mn-cs"/>
                </a:rPr>
                <a:t>Differentiated technologies</a:t>
              </a:r>
            </a:p>
          </p:txBody>
        </p:sp>
        <p:grpSp>
          <p:nvGrpSpPr>
            <p:cNvPr id="165" name="Group 164">
              <a:extLst>
                <a:ext uri="{FF2B5EF4-FFF2-40B4-BE49-F238E27FC236}">
                  <a16:creationId xmlns:a16="http://schemas.microsoft.com/office/drawing/2014/main" id="{C7A8BEFC-E8EE-0D92-1D54-0D7A47BDBEFA}"/>
                </a:ext>
              </a:extLst>
            </p:cNvPr>
            <p:cNvGrpSpPr/>
            <p:nvPr/>
          </p:nvGrpSpPr>
          <p:grpSpPr>
            <a:xfrm>
              <a:off x="6085615" y="2647861"/>
              <a:ext cx="3071484" cy="784238"/>
              <a:chOff x="1723708" y="1909331"/>
              <a:chExt cx="8742656" cy="2232250"/>
            </a:xfrm>
          </p:grpSpPr>
          <p:grpSp>
            <p:nvGrpSpPr>
              <p:cNvPr id="118" name="Group 117">
                <a:extLst>
                  <a:ext uri="{FF2B5EF4-FFF2-40B4-BE49-F238E27FC236}">
                    <a16:creationId xmlns:a16="http://schemas.microsoft.com/office/drawing/2014/main" id="{B4E17547-29B7-AF8F-2E49-C6413F02557D}"/>
                  </a:ext>
                </a:extLst>
              </p:cNvPr>
              <p:cNvGrpSpPr>
                <a:grpSpLocks noChangeAspect="1"/>
              </p:cNvGrpSpPr>
              <p:nvPr/>
            </p:nvGrpSpPr>
            <p:grpSpPr>
              <a:xfrm>
                <a:off x="6192821" y="1909331"/>
                <a:ext cx="2012280" cy="2230371"/>
                <a:chOff x="6232004" y="2438581"/>
                <a:chExt cx="1231597" cy="1365076"/>
              </a:xfrm>
            </p:grpSpPr>
            <p:sp>
              <p:nvSpPr>
                <p:cNvPr id="119" name="Hexagon 118">
                  <a:extLst>
                    <a:ext uri="{FF2B5EF4-FFF2-40B4-BE49-F238E27FC236}">
                      <a16:creationId xmlns:a16="http://schemas.microsoft.com/office/drawing/2014/main" id="{1117185A-94F3-D91F-56D8-5E880FCC121E}"/>
                    </a:ext>
                  </a:extLst>
                </p:cNvPr>
                <p:cNvSpPr/>
                <p:nvPr/>
              </p:nvSpPr>
              <p:spPr>
                <a:xfrm rot="5400000">
                  <a:off x="6165265" y="2505320"/>
                  <a:ext cx="1365076" cy="1231597"/>
                </a:xfrm>
                <a:prstGeom prst="hexagon">
                  <a:avLst>
                    <a:gd name="adj" fmla="val 25000"/>
                    <a:gd name="vf" fmla="val 115470"/>
                  </a:avLst>
                </a:prstGeom>
                <a:solidFill>
                  <a:srgbClr val="00305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20" name="Group 119">
                  <a:extLst>
                    <a:ext uri="{FF2B5EF4-FFF2-40B4-BE49-F238E27FC236}">
                      <a16:creationId xmlns:a16="http://schemas.microsoft.com/office/drawing/2014/main" id="{006395E7-E4A3-74CE-B83F-29461A786359}"/>
                    </a:ext>
                  </a:extLst>
                </p:cNvPr>
                <p:cNvGrpSpPr/>
                <p:nvPr/>
              </p:nvGrpSpPr>
              <p:grpSpPr>
                <a:xfrm>
                  <a:off x="6338071" y="2686629"/>
                  <a:ext cx="1011037" cy="946100"/>
                  <a:chOff x="6338071" y="2686629"/>
                  <a:chExt cx="1011037" cy="946100"/>
                </a:xfrm>
              </p:grpSpPr>
              <p:grpSp>
                <p:nvGrpSpPr>
                  <p:cNvPr id="121" name="Group 120">
                    <a:extLst>
                      <a:ext uri="{FF2B5EF4-FFF2-40B4-BE49-F238E27FC236}">
                        <a16:creationId xmlns:a16="http://schemas.microsoft.com/office/drawing/2014/main" id="{AB9B4004-FC1D-2CB0-BD6B-B616CF4FE516}"/>
                      </a:ext>
                    </a:extLst>
                  </p:cNvPr>
                  <p:cNvGrpSpPr/>
                  <p:nvPr/>
                </p:nvGrpSpPr>
                <p:grpSpPr>
                  <a:xfrm>
                    <a:off x="6431700" y="2686629"/>
                    <a:ext cx="917408" cy="946100"/>
                    <a:chOff x="10982019" y="4174036"/>
                    <a:chExt cx="328067" cy="338327"/>
                  </a:xfrm>
                  <a:solidFill>
                    <a:schemeClr val="bg1"/>
                  </a:solidFill>
                </p:grpSpPr>
                <p:sp>
                  <p:nvSpPr>
                    <p:cNvPr id="125" name="Freeform 97">
                      <a:extLst>
                        <a:ext uri="{FF2B5EF4-FFF2-40B4-BE49-F238E27FC236}">
                          <a16:creationId xmlns:a16="http://schemas.microsoft.com/office/drawing/2014/main" id="{C0FAB4C4-F420-5D53-1851-0C03AA9F6338}"/>
                        </a:ext>
                      </a:extLst>
                    </p:cNvPr>
                    <p:cNvSpPr/>
                    <p:nvPr/>
                  </p:nvSpPr>
                  <p:spPr>
                    <a:xfrm>
                      <a:off x="10982019" y="4174036"/>
                      <a:ext cx="135981" cy="133730"/>
                    </a:xfrm>
                    <a:custGeom>
                      <a:avLst/>
                      <a:gdLst>
                        <a:gd name="connsiteX0" fmla="*/ 67991 w 135981"/>
                        <a:gd name="connsiteY0" fmla="*/ 133731 h 133730"/>
                        <a:gd name="connsiteX1" fmla="*/ 0 w 135981"/>
                        <a:gd name="connsiteY1" fmla="*/ 66865 h 133730"/>
                        <a:gd name="connsiteX2" fmla="*/ 67991 w 135981"/>
                        <a:gd name="connsiteY2" fmla="*/ 0 h 133730"/>
                        <a:gd name="connsiteX3" fmla="*/ 135982 w 135981"/>
                        <a:gd name="connsiteY3" fmla="*/ 66865 h 133730"/>
                        <a:gd name="connsiteX4" fmla="*/ 67991 w 135981"/>
                        <a:gd name="connsiteY4" fmla="*/ 133731 h 133730"/>
                        <a:gd name="connsiteX5" fmla="*/ 67991 w 135981"/>
                        <a:gd name="connsiteY5" fmla="*/ 9525 h 133730"/>
                        <a:gd name="connsiteX6" fmla="*/ 9509 w 135981"/>
                        <a:gd name="connsiteY6" fmla="*/ 66865 h 133730"/>
                        <a:gd name="connsiteX7" fmla="*/ 67991 w 135981"/>
                        <a:gd name="connsiteY7" fmla="*/ 124206 h 133730"/>
                        <a:gd name="connsiteX8" fmla="*/ 126472 w 135981"/>
                        <a:gd name="connsiteY8" fmla="*/ 66865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4" y="133731"/>
                            <a:pt x="0" y="103727"/>
                            <a:pt x="0" y="66865"/>
                          </a:cubicBezTo>
                          <a:cubicBezTo>
                            <a:pt x="0" y="30004"/>
                            <a:pt x="30524" y="0"/>
                            <a:pt x="67991" y="0"/>
                          </a:cubicBezTo>
                          <a:cubicBezTo>
                            <a:pt x="105457" y="0"/>
                            <a:pt x="135982" y="30004"/>
                            <a:pt x="135982" y="66865"/>
                          </a:cubicBezTo>
                          <a:cubicBezTo>
                            <a:pt x="135982" y="103727"/>
                            <a:pt x="105457" y="133731"/>
                            <a:pt x="67991" y="133731"/>
                          </a:cubicBezTo>
                          <a:close/>
                          <a:moveTo>
                            <a:pt x="67991" y="9525"/>
                          </a:moveTo>
                          <a:cubicBezTo>
                            <a:pt x="35754" y="9525"/>
                            <a:pt x="9509" y="35242"/>
                            <a:pt x="9509" y="66865"/>
                          </a:cubicBezTo>
                          <a:cubicBezTo>
                            <a:pt x="9509" y="98488"/>
                            <a:pt x="35754" y="124206"/>
                            <a:pt x="67991" y="124206"/>
                          </a:cubicBezTo>
                          <a:cubicBezTo>
                            <a:pt x="100227" y="124206"/>
                            <a:pt x="126472" y="98488"/>
                            <a:pt x="126472" y="66865"/>
                          </a:cubicBezTo>
                          <a:cubicBezTo>
                            <a:pt x="126472" y="35242"/>
                            <a:pt x="100227" y="9525"/>
                            <a:pt x="67991"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 name="Freeform 98">
                      <a:extLst>
                        <a:ext uri="{FF2B5EF4-FFF2-40B4-BE49-F238E27FC236}">
                          <a16:creationId xmlns:a16="http://schemas.microsoft.com/office/drawing/2014/main" id="{327DF60E-B761-0F3A-90B5-BAF114F2B43D}"/>
                        </a:ext>
                      </a:extLst>
                    </p:cNvPr>
                    <p:cNvSpPr/>
                    <p:nvPr/>
                  </p:nvSpPr>
                  <p:spPr>
                    <a:xfrm>
                      <a:off x="11088998" y="4283668"/>
                      <a:ext cx="87294" cy="87439"/>
                    </a:xfrm>
                    <a:custGeom>
                      <a:avLst/>
                      <a:gdLst>
                        <a:gd name="connsiteX0" fmla="*/ 43647 w 87294"/>
                        <a:gd name="connsiteY0" fmla="*/ 87440 h 87439"/>
                        <a:gd name="connsiteX1" fmla="*/ 0 w 87294"/>
                        <a:gd name="connsiteY1" fmla="*/ 43720 h 87439"/>
                        <a:gd name="connsiteX2" fmla="*/ 43647 w 87294"/>
                        <a:gd name="connsiteY2" fmla="*/ 0 h 87439"/>
                        <a:gd name="connsiteX3" fmla="*/ 87294 w 87294"/>
                        <a:gd name="connsiteY3" fmla="*/ 43720 h 87439"/>
                        <a:gd name="connsiteX4" fmla="*/ 43647 w 87294"/>
                        <a:gd name="connsiteY4" fmla="*/ 87440 h 87439"/>
                        <a:gd name="connsiteX5" fmla="*/ 43647 w 87294"/>
                        <a:gd name="connsiteY5" fmla="*/ 9525 h 87439"/>
                        <a:gd name="connsiteX6" fmla="*/ 9509 w 87294"/>
                        <a:gd name="connsiteY6" fmla="*/ 43720 h 87439"/>
                        <a:gd name="connsiteX7" fmla="*/ 43647 w 87294"/>
                        <a:gd name="connsiteY7" fmla="*/ 77915 h 87439"/>
                        <a:gd name="connsiteX8" fmla="*/ 77785 w 87294"/>
                        <a:gd name="connsiteY8" fmla="*/ 43720 h 87439"/>
                        <a:gd name="connsiteX9" fmla="*/ 43647 w 87294"/>
                        <a:gd name="connsiteY9" fmla="*/ 9525 h 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94" h="87439">
                          <a:moveTo>
                            <a:pt x="43647" y="87440"/>
                          </a:moveTo>
                          <a:cubicBezTo>
                            <a:pt x="19589" y="87440"/>
                            <a:pt x="0" y="67818"/>
                            <a:pt x="0" y="43720"/>
                          </a:cubicBezTo>
                          <a:cubicBezTo>
                            <a:pt x="0" y="19621"/>
                            <a:pt x="19589" y="0"/>
                            <a:pt x="43647" y="0"/>
                          </a:cubicBezTo>
                          <a:cubicBezTo>
                            <a:pt x="67705" y="0"/>
                            <a:pt x="87294" y="19621"/>
                            <a:pt x="87294" y="43720"/>
                          </a:cubicBezTo>
                          <a:cubicBezTo>
                            <a:pt x="87294" y="67818"/>
                            <a:pt x="67705" y="87440"/>
                            <a:pt x="43647" y="87440"/>
                          </a:cubicBezTo>
                          <a:close/>
                          <a:moveTo>
                            <a:pt x="43647" y="9525"/>
                          </a:moveTo>
                          <a:cubicBezTo>
                            <a:pt x="24819" y="9525"/>
                            <a:pt x="9509" y="24860"/>
                            <a:pt x="9509" y="43720"/>
                          </a:cubicBezTo>
                          <a:cubicBezTo>
                            <a:pt x="9509" y="62579"/>
                            <a:pt x="24819" y="77915"/>
                            <a:pt x="43647" y="77915"/>
                          </a:cubicBezTo>
                          <a:cubicBezTo>
                            <a:pt x="62475" y="77915"/>
                            <a:pt x="77785" y="62579"/>
                            <a:pt x="77785" y="43720"/>
                          </a:cubicBezTo>
                          <a:cubicBezTo>
                            <a:pt x="77785" y="24860"/>
                            <a:pt x="62475" y="9525"/>
                            <a:pt x="43647"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 name="Freeform 99">
                      <a:extLst>
                        <a:ext uri="{FF2B5EF4-FFF2-40B4-BE49-F238E27FC236}">
                          <a16:creationId xmlns:a16="http://schemas.microsoft.com/office/drawing/2014/main" id="{9290E442-72B3-4D19-3417-1F8D426F10C4}"/>
                        </a:ext>
                      </a:extLst>
                    </p:cNvPr>
                    <p:cNvSpPr/>
                    <p:nvPr/>
                  </p:nvSpPr>
                  <p:spPr>
                    <a:xfrm>
                      <a:off x="11174105" y="4210516"/>
                      <a:ext cx="135981" cy="133730"/>
                    </a:xfrm>
                    <a:custGeom>
                      <a:avLst/>
                      <a:gdLst>
                        <a:gd name="connsiteX0" fmla="*/ 67991 w 135981"/>
                        <a:gd name="connsiteY0" fmla="*/ 133731 h 133730"/>
                        <a:gd name="connsiteX1" fmla="*/ 0 w 135981"/>
                        <a:gd name="connsiteY1" fmla="*/ 66866 h 133730"/>
                        <a:gd name="connsiteX2" fmla="*/ 67991 w 135981"/>
                        <a:gd name="connsiteY2" fmla="*/ 0 h 133730"/>
                        <a:gd name="connsiteX3" fmla="*/ 135982 w 135981"/>
                        <a:gd name="connsiteY3" fmla="*/ 66866 h 133730"/>
                        <a:gd name="connsiteX4" fmla="*/ 67991 w 135981"/>
                        <a:gd name="connsiteY4" fmla="*/ 133731 h 133730"/>
                        <a:gd name="connsiteX5" fmla="*/ 67991 w 135981"/>
                        <a:gd name="connsiteY5" fmla="*/ 9525 h 133730"/>
                        <a:gd name="connsiteX6" fmla="*/ 9509 w 135981"/>
                        <a:gd name="connsiteY6" fmla="*/ 66866 h 133730"/>
                        <a:gd name="connsiteX7" fmla="*/ 67991 w 135981"/>
                        <a:gd name="connsiteY7" fmla="*/ 124206 h 133730"/>
                        <a:gd name="connsiteX8" fmla="*/ 126473 w 135981"/>
                        <a:gd name="connsiteY8" fmla="*/ 66866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5" y="133731"/>
                            <a:pt x="0" y="103727"/>
                            <a:pt x="0" y="66866"/>
                          </a:cubicBezTo>
                          <a:cubicBezTo>
                            <a:pt x="0" y="30004"/>
                            <a:pt x="30525" y="0"/>
                            <a:pt x="67991" y="0"/>
                          </a:cubicBezTo>
                          <a:cubicBezTo>
                            <a:pt x="105457" y="0"/>
                            <a:pt x="135982" y="30004"/>
                            <a:pt x="135982" y="66866"/>
                          </a:cubicBezTo>
                          <a:cubicBezTo>
                            <a:pt x="135982" y="103727"/>
                            <a:pt x="105457" y="133731"/>
                            <a:pt x="67991" y="133731"/>
                          </a:cubicBezTo>
                          <a:close/>
                          <a:moveTo>
                            <a:pt x="67991" y="9525"/>
                          </a:moveTo>
                          <a:cubicBezTo>
                            <a:pt x="35755" y="9525"/>
                            <a:pt x="9509" y="35242"/>
                            <a:pt x="9509" y="66866"/>
                          </a:cubicBezTo>
                          <a:cubicBezTo>
                            <a:pt x="9509" y="98488"/>
                            <a:pt x="35755" y="124206"/>
                            <a:pt x="67991" y="124206"/>
                          </a:cubicBezTo>
                          <a:cubicBezTo>
                            <a:pt x="100227" y="124206"/>
                            <a:pt x="126473" y="98488"/>
                            <a:pt x="126473" y="66866"/>
                          </a:cubicBezTo>
                          <a:cubicBezTo>
                            <a:pt x="126473" y="35242"/>
                            <a:pt x="100227" y="9525"/>
                            <a:pt x="67991"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 name="Freeform 101">
                      <a:extLst>
                        <a:ext uri="{FF2B5EF4-FFF2-40B4-BE49-F238E27FC236}">
                          <a16:creationId xmlns:a16="http://schemas.microsoft.com/office/drawing/2014/main" id="{75E10562-17E9-2120-4F2B-414D633ACCAC}"/>
                        </a:ext>
                      </a:extLst>
                    </p:cNvPr>
                    <p:cNvSpPr/>
                    <p:nvPr/>
                  </p:nvSpPr>
                  <p:spPr>
                    <a:xfrm>
                      <a:off x="11059804" y="4376156"/>
                      <a:ext cx="133509" cy="136207"/>
                    </a:xfrm>
                    <a:custGeom>
                      <a:avLst/>
                      <a:gdLst>
                        <a:gd name="connsiteX0" fmla="*/ 66755 w 133509"/>
                        <a:gd name="connsiteY0" fmla="*/ 136208 h 136207"/>
                        <a:gd name="connsiteX1" fmla="*/ 0 w 133509"/>
                        <a:gd name="connsiteY1" fmla="*/ 68104 h 136207"/>
                        <a:gd name="connsiteX2" fmla="*/ 66755 w 133509"/>
                        <a:gd name="connsiteY2" fmla="*/ 0 h 136207"/>
                        <a:gd name="connsiteX3" fmla="*/ 133509 w 133509"/>
                        <a:gd name="connsiteY3" fmla="*/ 68104 h 136207"/>
                        <a:gd name="connsiteX4" fmla="*/ 66755 w 133509"/>
                        <a:gd name="connsiteY4" fmla="*/ 136208 h 136207"/>
                        <a:gd name="connsiteX5" fmla="*/ 66755 w 133509"/>
                        <a:gd name="connsiteY5" fmla="*/ 9525 h 136207"/>
                        <a:gd name="connsiteX6" fmla="*/ 9509 w 133509"/>
                        <a:gd name="connsiteY6" fmla="*/ 68104 h 136207"/>
                        <a:gd name="connsiteX7" fmla="*/ 66755 w 133509"/>
                        <a:gd name="connsiteY7" fmla="*/ 126683 h 136207"/>
                        <a:gd name="connsiteX8" fmla="*/ 124000 w 133509"/>
                        <a:gd name="connsiteY8" fmla="*/ 68104 h 136207"/>
                        <a:gd name="connsiteX9" fmla="*/ 66755 w 133509"/>
                        <a:gd name="connsiteY9" fmla="*/ 952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509" h="136207">
                          <a:moveTo>
                            <a:pt x="66755" y="136208"/>
                          </a:moveTo>
                          <a:cubicBezTo>
                            <a:pt x="29954" y="136208"/>
                            <a:pt x="0" y="105632"/>
                            <a:pt x="0" y="68104"/>
                          </a:cubicBezTo>
                          <a:cubicBezTo>
                            <a:pt x="0" y="30575"/>
                            <a:pt x="29954" y="0"/>
                            <a:pt x="66755" y="0"/>
                          </a:cubicBezTo>
                          <a:cubicBezTo>
                            <a:pt x="103555" y="0"/>
                            <a:pt x="133509" y="30575"/>
                            <a:pt x="133509" y="68104"/>
                          </a:cubicBezTo>
                          <a:cubicBezTo>
                            <a:pt x="133509" y="105632"/>
                            <a:pt x="103555" y="136208"/>
                            <a:pt x="66755" y="136208"/>
                          </a:cubicBezTo>
                          <a:close/>
                          <a:moveTo>
                            <a:pt x="66755" y="9525"/>
                          </a:moveTo>
                          <a:cubicBezTo>
                            <a:pt x="35184" y="9525"/>
                            <a:pt x="9509" y="35814"/>
                            <a:pt x="9509" y="68104"/>
                          </a:cubicBezTo>
                          <a:cubicBezTo>
                            <a:pt x="9509" y="100393"/>
                            <a:pt x="35184" y="126683"/>
                            <a:pt x="66755" y="126683"/>
                          </a:cubicBezTo>
                          <a:cubicBezTo>
                            <a:pt x="98325" y="126683"/>
                            <a:pt x="124000" y="100393"/>
                            <a:pt x="124000" y="68104"/>
                          </a:cubicBezTo>
                          <a:cubicBezTo>
                            <a:pt x="124000" y="35814"/>
                            <a:pt x="98325" y="9525"/>
                            <a:pt x="66755"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 name="Freeform 103">
                      <a:extLst>
                        <a:ext uri="{FF2B5EF4-FFF2-40B4-BE49-F238E27FC236}">
                          <a16:creationId xmlns:a16="http://schemas.microsoft.com/office/drawing/2014/main" id="{5E9D8915-6C7D-B4AC-65CE-FC2EAFD2CB05}"/>
                        </a:ext>
                      </a:extLst>
                    </p:cNvPr>
                    <p:cNvSpPr/>
                    <p:nvPr/>
                  </p:nvSpPr>
                  <p:spPr>
                    <a:xfrm>
                      <a:off x="11023289" y="4315386"/>
                      <a:ext cx="60668" cy="63055"/>
                    </a:xfrm>
                    <a:custGeom>
                      <a:avLst/>
                      <a:gdLst>
                        <a:gd name="connsiteX0" fmla="*/ 30334 w 60668"/>
                        <a:gd name="connsiteY0" fmla="*/ 63055 h 63055"/>
                        <a:gd name="connsiteX1" fmla="*/ 0 w 60668"/>
                        <a:gd name="connsiteY1" fmla="*/ 31528 h 63055"/>
                        <a:gd name="connsiteX2" fmla="*/ 30334 w 60668"/>
                        <a:gd name="connsiteY2" fmla="*/ 0 h 63055"/>
                        <a:gd name="connsiteX3" fmla="*/ 60669 w 60668"/>
                        <a:gd name="connsiteY3" fmla="*/ 31528 h 63055"/>
                        <a:gd name="connsiteX4" fmla="*/ 30334 w 60668"/>
                        <a:gd name="connsiteY4" fmla="*/ 63055 h 63055"/>
                        <a:gd name="connsiteX5" fmla="*/ 30334 w 60668"/>
                        <a:gd name="connsiteY5" fmla="*/ 9430 h 63055"/>
                        <a:gd name="connsiteX6" fmla="*/ 9509 w 60668"/>
                        <a:gd name="connsiteY6" fmla="*/ 31433 h 63055"/>
                        <a:gd name="connsiteX7" fmla="*/ 30334 w 60668"/>
                        <a:gd name="connsiteY7" fmla="*/ 53435 h 63055"/>
                        <a:gd name="connsiteX8" fmla="*/ 51160 w 60668"/>
                        <a:gd name="connsiteY8" fmla="*/ 31433 h 63055"/>
                        <a:gd name="connsiteX9" fmla="*/ 30334 w 60668"/>
                        <a:gd name="connsiteY9" fmla="*/ 9430 h 6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68" h="63055">
                          <a:moveTo>
                            <a:pt x="30334" y="63055"/>
                          </a:moveTo>
                          <a:cubicBezTo>
                            <a:pt x="13598" y="63055"/>
                            <a:pt x="0" y="48863"/>
                            <a:pt x="0" y="31528"/>
                          </a:cubicBezTo>
                          <a:cubicBezTo>
                            <a:pt x="0" y="14192"/>
                            <a:pt x="13598" y="0"/>
                            <a:pt x="30334" y="0"/>
                          </a:cubicBezTo>
                          <a:cubicBezTo>
                            <a:pt x="47070" y="0"/>
                            <a:pt x="60669" y="14192"/>
                            <a:pt x="60669" y="31528"/>
                          </a:cubicBezTo>
                          <a:cubicBezTo>
                            <a:pt x="60669" y="48863"/>
                            <a:pt x="47070" y="63055"/>
                            <a:pt x="30334" y="63055"/>
                          </a:cubicBezTo>
                          <a:close/>
                          <a:moveTo>
                            <a:pt x="30334" y="9430"/>
                          </a:moveTo>
                          <a:cubicBezTo>
                            <a:pt x="18828" y="9430"/>
                            <a:pt x="9509" y="19336"/>
                            <a:pt x="9509" y="31433"/>
                          </a:cubicBezTo>
                          <a:cubicBezTo>
                            <a:pt x="9509" y="43529"/>
                            <a:pt x="18828" y="53435"/>
                            <a:pt x="30334" y="53435"/>
                          </a:cubicBezTo>
                          <a:cubicBezTo>
                            <a:pt x="41840" y="53435"/>
                            <a:pt x="51160" y="43529"/>
                            <a:pt x="51160" y="31433"/>
                          </a:cubicBezTo>
                          <a:cubicBezTo>
                            <a:pt x="51160" y="19336"/>
                            <a:pt x="41840" y="9430"/>
                            <a:pt x="30334" y="9430"/>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22" name="Oval 121">
                    <a:extLst>
                      <a:ext uri="{FF2B5EF4-FFF2-40B4-BE49-F238E27FC236}">
                        <a16:creationId xmlns:a16="http://schemas.microsoft.com/office/drawing/2014/main" id="{55397031-0528-0A49-D5F2-9A93335426FF}"/>
                      </a:ext>
                    </a:extLst>
                  </p:cNvPr>
                  <p:cNvSpPr/>
                  <p:nvPr/>
                </p:nvSpPr>
                <p:spPr>
                  <a:xfrm>
                    <a:off x="6826066" y="2779187"/>
                    <a:ext cx="142799" cy="14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3" name="Oval 122">
                    <a:extLst>
                      <a:ext uri="{FF2B5EF4-FFF2-40B4-BE49-F238E27FC236}">
                        <a16:creationId xmlns:a16="http://schemas.microsoft.com/office/drawing/2014/main" id="{76B4DD24-24A6-3CCF-FEC9-BAE5DFA3C8E7}"/>
                      </a:ext>
                    </a:extLst>
                  </p:cNvPr>
                  <p:cNvSpPr/>
                  <p:nvPr/>
                </p:nvSpPr>
                <p:spPr>
                  <a:xfrm>
                    <a:off x="6338071" y="3223873"/>
                    <a:ext cx="282188" cy="2821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4" name="Oval 123">
                    <a:extLst>
                      <a:ext uri="{FF2B5EF4-FFF2-40B4-BE49-F238E27FC236}">
                        <a16:creationId xmlns:a16="http://schemas.microsoft.com/office/drawing/2014/main" id="{EFB665B1-5B0E-3C5C-0C6A-F7649681D366}"/>
                      </a:ext>
                    </a:extLst>
                  </p:cNvPr>
                  <p:cNvSpPr/>
                  <p:nvPr/>
                </p:nvSpPr>
                <p:spPr>
                  <a:xfrm>
                    <a:off x="6998664" y="3186811"/>
                    <a:ext cx="142799" cy="14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30" name="Group 129">
                <a:extLst>
                  <a:ext uri="{FF2B5EF4-FFF2-40B4-BE49-F238E27FC236}">
                    <a16:creationId xmlns:a16="http://schemas.microsoft.com/office/drawing/2014/main" id="{CC851A13-9632-1221-2701-FD554B591EE1}"/>
                  </a:ext>
                </a:extLst>
              </p:cNvPr>
              <p:cNvGrpSpPr>
                <a:grpSpLocks noChangeAspect="1"/>
              </p:cNvGrpSpPr>
              <p:nvPr/>
            </p:nvGrpSpPr>
            <p:grpSpPr>
              <a:xfrm>
                <a:off x="8454080" y="1909331"/>
                <a:ext cx="2012284" cy="2230371"/>
                <a:chOff x="-1140128" y="5180841"/>
                <a:chExt cx="466792" cy="517382"/>
              </a:xfrm>
            </p:grpSpPr>
            <p:sp>
              <p:nvSpPr>
                <p:cNvPr id="131" name="Hexagon 130">
                  <a:extLst>
                    <a:ext uri="{FF2B5EF4-FFF2-40B4-BE49-F238E27FC236}">
                      <a16:creationId xmlns:a16="http://schemas.microsoft.com/office/drawing/2014/main" id="{58BEF0AD-02EB-935F-247C-F9E461522D42}"/>
                    </a:ext>
                  </a:extLst>
                </p:cNvPr>
                <p:cNvSpPr/>
                <p:nvPr/>
              </p:nvSpPr>
              <p:spPr>
                <a:xfrm rot="5400000">
                  <a:off x="-1165423" y="5206136"/>
                  <a:ext cx="517382" cy="466792"/>
                </a:xfrm>
                <a:prstGeom prst="hexagon">
                  <a:avLst>
                    <a:gd name="adj" fmla="val 25000"/>
                    <a:gd name="vf" fmla="val 115470"/>
                  </a:avLst>
                </a:prstGeom>
                <a:solidFill>
                  <a:srgbClr val="00305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32" name="Group 131">
                  <a:extLst>
                    <a:ext uri="{FF2B5EF4-FFF2-40B4-BE49-F238E27FC236}">
                      <a16:creationId xmlns:a16="http://schemas.microsoft.com/office/drawing/2014/main" id="{F7B1E03C-F6A9-5154-AC46-13EF23058CD2}"/>
                    </a:ext>
                  </a:extLst>
                </p:cNvPr>
                <p:cNvGrpSpPr/>
                <p:nvPr/>
              </p:nvGrpSpPr>
              <p:grpSpPr>
                <a:xfrm>
                  <a:off x="-1081219" y="5257691"/>
                  <a:ext cx="348973" cy="359393"/>
                  <a:chOff x="11066099" y="2493490"/>
                  <a:chExt cx="329258" cy="339090"/>
                </a:xfrm>
                <a:solidFill>
                  <a:schemeClr val="bg1"/>
                </a:solidFill>
              </p:grpSpPr>
              <p:sp>
                <p:nvSpPr>
                  <p:cNvPr id="133" name="Freeform 132">
                    <a:extLst>
                      <a:ext uri="{FF2B5EF4-FFF2-40B4-BE49-F238E27FC236}">
                        <a16:creationId xmlns:a16="http://schemas.microsoft.com/office/drawing/2014/main" id="{14AD0BC5-E78D-BF74-E666-6085C82C19C5}"/>
                      </a:ext>
                    </a:extLst>
                  </p:cNvPr>
                  <p:cNvSpPr/>
                  <p:nvPr/>
                </p:nvSpPr>
                <p:spPr>
                  <a:xfrm>
                    <a:off x="11140372" y="2572547"/>
                    <a:ext cx="180674" cy="180975"/>
                  </a:xfrm>
                  <a:custGeom>
                    <a:avLst/>
                    <a:gdLst>
                      <a:gd name="connsiteX0" fmla="*/ 90337 w 180674"/>
                      <a:gd name="connsiteY0" fmla="*/ 180975 h 180975"/>
                      <a:gd name="connsiteX1" fmla="*/ 0 w 180674"/>
                      <a:gd name="connsiteY1" fmla="*/ 90488 h 180975"/>
                      <a:gd name="connsiteX2" fmla="*/ 90337 w 180674"/>
                      <a:gd name="connsiteY2" fmla="*/ 0 h 180975"/>
                      <a:gd name="connsiteX3" fmla="*/ 180675 w 180674"/>
                      <a:gd name="connsiteY3" fmla="*/ 90488 h 180975"/>
                      <a:gd name="connsiteX4" fmla="*/ 90337 w 180674"/>
                      <a:gd name="connsiteY4" fmla="*/ 180975 h 180975"/>
                      <a:gd name="connsiteX5" fmla="*/ 90337 w 180674"/>
                      <a:gd name="connsiteY5" fmla="*/ 9525 h 180975"/>
                      <a:gd name="connsiteX6" fmla="*/ 9509 w 180674"/>
                      <a:gd name="connsiteY6" fmla="*/ 90488 h 180975"/>
                      <a:gd name="connsiteX7" fmla="*/ 90337 w 180674"/>
                      <a:gd name="connsiteY7" fmla="*/ 171450 h 180975"/>
                      <a:gd name="connsiteX8" fmla="*/ 171166 w 180674"/>
                      <a:gd name="connsiteY8" fmla="*/ 90488 h 180975"/>
                      <a:gd name="connsiteX9" fmla="*/ 90337 w 180674"/>
                      <a:gd name="connsiteY9" fmla="*/ 952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674" h="180975">
                        <a:moveTo>
                          <a:pt x="90337" y="180975"/>
                        </a:moveTo>
                        <a:cubicBezTo>
                          <a:pt x="40509" y="180975"/>
                          <a:pt x="0" y="140399"/>
                          <a:pt x="0" y="90488"/>
                        </a:cubicBezTo>
                        <a:cubicBezTo>
                          <a:pt x="0" y="40577"/>
                          <a:pt x="40509" y="0"/>
                          <a:pt x="90337" y="0"/>
                        </a:cubicBezTo>
                        <a:cubicBezTo>
                          <a:pt x="140166" y="0"/>
                          <a:pt x="180675" y="40577"/>
                          <a:pt x="180675" y="90488"/>
                        </a:cubicBezTo>
                        <a:cubicBezTo>
                          <a:pt x="180675" y="140399"/>
                          <a:pt x="140166" y="180975"/>
                          <a:pt x="90337" y="180975"/>
                        </a:cubicBezTo>
                        <a:close/>
                        <a:moveTo>
                          <a:pt x="90337" y="9525"/>
                        </a:moveTo>
                        <a:cubicBezTo>
                          <a:pt x="45739" y="9525"/>
                          <a:pt x="9509" y="45815"/>
                          <a:pt x="9509" y="90488"/>
                        </a:cubicBezTo>
                        <a:cubicBezTo>
                          <a:pt x="9509" y="135160"/>
                          <a:pt x="45739" y="171450"/>
                          <a:pt x="90337" y="171450"/>
                        </a:cubicBezTo>
                        <a:cubicBezTo>
                          <a:pt x="134936" y="171450"/>
                          <a:pt x="171166" y="135160"/>
                          <a:pt x="171166" y="90488"/>
                        </a:cubicBezTo>
                        <a:cubicBezTo>
                          <a:pt x="171166" y="45815"/>
                          <a:pt x="134936" y="9525"/>
                          <a:pt x="90337"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4" name="Freeform 133">
                    <a:extLst>
                      <a:ext uri="{FF2B5EF4-FFF2-40B4-BE49-F238E27FC236}">
                        <a16:creationId xmlns:a16="http://schemas.microsoft.com/office/drawing/2014/main" id="{F5E8EEB3-C2B9-1D77-420C-2BFFC124A49B}"/>
                      </a:ext>
                    </a:extLst>
                  </p:cNvPr>
                  <p:cNvSpPr/>
                  <p:nvPr/>
                </p:nvSpPr>
                <p:spPr>
                  <a:xfrm>
                    <a:off x="11188584" y="2493490"/>
                    <a:ext cx="84251" cy="84391"/>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5" name="Freeform 134">
                    <a:extLst>
                      <a:ext uri="{FF2B5EF4-FFF2-40B4-BE49-F238E27FC236}">
                        <a16:creationId xmlns:a16="http://schemas.microsoft.com/office/drawing/2014/main" id="{E3B78335-185A-1269-6F40-2AA3A271C390}"/>
                      </a:ext>
                    </a:extLst>
                  </p:cNvPr>
                  <p:cNvSpPr/>
                  <p:nvPr/>
                </p:nvSpPr>
                <p:spPr>
                  <a:xfrm>
                    <a:off x="11188584" y="2748189"/>
                    <a:ext cx="84251" cy="84391"/>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6" name="Freeform 135">
                    <a:extLst>
                      <a:ext uri="{FF2B5EF4-FFF2-40B4-BE49-F238E27FC236}">
                        <a16:creationId xmlns:a16="http://schemas.microsoft.com/office/drawing/2014/main" id="{AA87B674-7F22-614F-D321-2C7F4C8975FA}"/>
                      </a:ext>
                    </a:extLst>
                  </p:cNvPr>
                  <p:cNvSpPr/>
                  <p:nvPr/>
                </p:nvSpPr>
                <p:spPr>
                  <a:xfrm>
                    <a:off x="11264732" y="2519024"/>
                    <a:ext cx="84238" cy="84384"/>
                  </a:xfrm>
                  <a:custGeom>
                    <a:avLst/>
                    <a:gdLst>
                      <a:gd name="connsiteX0" fmla="*/ 42051 w 84238"/>
                      <a:gd name="connsiteY0" fmla="*/ 84289 h 84384"/>
                      <a:gd name="connsiteX1" fmla="*/ 16852 w 84238"/>
                      <a:gd name="connsiteY1" fmla="*/ 75907 h 84384"/>
                      <a:gd name="connsiteX2" fmla="*/ 8389 w 84238"/>
                      <a:gd name="connsiteY2" fmla="*/ 16852 h 84384"/>
                      <a:gd name="connsiteX3" fmla="*/ 67346 w 84238"/>
                      <a:gd name="connsiteY3" fmla="*/ 8375 h 84384"/>
                      <a:gd name="connsiteX4" fmla="*/ 83797 w 84238"/>
                      <a:gd name="connsiteY4" fmla="*/ 36188 h 84384"/>
                      <a:gd name="connsiteX5" fmla="*/ 75809 w 84238"/>
                      <a:gd name="connsiteY5" fmla="*/ 67430 h 84384"/>
                      <a:gd name="connsiteX6" fmla="*/ 75809 w 84238"/>
                      <a:gd name="connsiteY6" fmla="*/ 67430 h 84384"/>
                      <a:gd name="connsiteX7" fmla="*/ 48042 w 84238"/>
                      <a:gd name="connsiteY7" fmla="*/ 83908 h 84384"/>
                      <a:gd name="connsiteX8" fmla="*/ 41956 w 84238"/>
                      <a:gd name="connsiteY8" fmla="*/ 84384 h 84384"/>
                      <a:gd name="connsiteX9" fmla="*/ 42147 w 84238"/>
                      <a:gd name="connsiteY9" fmla="*/ 9423 h 84384"/>
                      <a:gd name="connsiteX10" fmla="*/ 15996 w 84238"/>
                      <a:gd name="connsiteY10" fmla="*/ 22472 h 84384"/>
                      <a:gd name="connsiteX11" fmla="*/ 22558 w 84238"/>
                      <a:gd name="connsiteY11" fmla="*/ 68192 h 84384"/>
                      <a:gd name="connsiteX12" fmla="*/ 46711 w 84238"/>
                      <a:gd name="connsiteY12" fmla="*/ 74383 h 84384"/>
                      <a:gd name="connsiteX13" fmla="*/ 68202 w 84238"/>
                      <a:gd name="connsiteY13" fmla="*/ 61620 h 84384"/>
                      <a:gd name="connsiteX14" fmla="*/ 68202 w 84238"/>
                      <a:gd name="connsiteY14" fmla="*/ 61620 h 84384"/>
                      <a:gd name="connsiteX15" fmla="*/ 74383 w 84238"/>
                      <a:gd name="connsiteY15" fmla="*/ 37426 h 84384"/>
                      <a:gd name="connsiteX16" fmla="*/ 61640 w 84238"/>
                      <a:gd name="connsiteY16" fmla="*/ 15900 h 84384"/>
                      <a:gd name="connsiteX17" fmla="*/ 42147 w 84238"/>
                      <a:gd name="connsiteY17" fmla="*/ 9423 h 8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38" h="84384">
                        <a:moveTo>
                          <a:pt x="42051" y="84289"/>
                        </a:moveTo>
                        <a:cubicBezTo>
                          <a:pt x="33018" y="84289"/>
                          <a:pt x="24269" y="81432"/>
                          <a:pt x="16852" y="75907"/>
                        </a:cubicBezTo>
                        <a:cubicBezTo>
                          <a:pt x="-1786" y="62000"/>
                          <a:pt x="-5495" y="35521"/>
                          <a:pt x="8389" y="16852"/>
                        </a:cubicBezTo>
                        <a:cubicBezTo>
                          <a:pt x="22272" y="-1722"/>
                          <a:pt x="48708" y="-5532"/>
                          <a:pt x="67346" y="8375"/>
                        </a:cubicBezTo>
                        <a:cubicBezTo>
                          <a:pt x="76380" y="15138"/>
                          <a:pt x="82180" y="24948"/>
                          <a:pt x="83797" y="36188"/>
                        </a:cubicBezTo>
                        <a:cubicBezTo>
                          <a:pt x="85413" y="47332"/>
                          <a:pt x="82561" y="58476"/>
                          <a:pt x="75809" y="67430"/>
                        </a:cubicBezTo>
                        <a:lnTo>
                          <a:pt x="75809" y="67430"/>
                        </a:lnTo>
                        <a:cubicBezTo>
                          <a:pt x="69057" y="76479"/>
                          <a:pt x="59263" y="82289"/>
                          <a:pt x="48042" y="83908"/>
                        </a:cubicBezTo>
                        <a:cubicBezTo>
                          <a:pt x="46045" y="84194"/>
                          <a:pt x="43953" y="84384"/>
                          <a:pt x="41956" y="84384"/>
                        </a:cubicBezTo>
                        <a:close/>
                        <a:moveTo>
                          <a:pt x="42147" y="9423"/>
                        </a:moveTo>
                        <a:cubicBezTo>
                          <a:pt x="32257" y="9423"/>
                          <a:pt x="22368" y="13899"/>
                          <a:pt x="15996" y="22472"/>
                        </a:cubicBezTo>
                        <a:cubicBezTo>
                          <a:pt x="5251" y="36854"/>
                          <a:pt x="8199" y="57429"/>
                          <a:pt x="22558" y="68192"/>
                        </a:cubicBezTo>
                        <a:cubicBezTo>
                          <a:pt x="29499" y="73431"/>
                          <a:pt x="38058" y="75621"/>
                          <a:pt x="46711" y="74383"/>
                        </a:cubicBezTo>
                        <a:cubicBezTo>
                          <a:pt x="55364" y="73145"/>
                          <a:pt x="62972" y="68573"/>
                          <a:pt x="68202" y="61620"/>
                        </a:cubicBezTo>
                        <a:lnTo>
                          <a:pt x="68202" y="61620"/>
                        </a:lnTo>
                        <a:cubicBezTo>
                          <a:pt x="73432" y="54666"/>
                          <a:pt x="75619" y="45998"/>
                          <a:pt x="74383" y="37426"/>
                        </a:cubicBezTo>
                        <a:cubicBezTo>
                          <a:pt x="73147" y="28758"/>
                          <a:pt x="68582" y="21138"/>
                          <a:pt x="61640" y="15900"/>
                        </a:cubicBezTo>
                        <a:cubicBezTo>
                          <a:pt x="55745" y="11518"/>
                          <a:pt x="48898" y="9423"/>
                          <a:pt x="42147" y="9423"/>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7" name="Freeform 136">
                    <a:extLst>
                      <a:ext uri="{FF2B5EF4-FFF2-40B4-BE49-F238E27FC236}">
                        <a16:creationId xmlns:a16="http://schemas.microsoft.com/office/drawing/2014/main" id="{85AC5F43-F975-7CC2-8957-2B1A8C36E1A6}"/>
                      </a:ext>
                    </a:extLst>
                  </p:cNvPr>
                  <p:cNvSpPr/>
                  <p:nvPr/>
                </p:nvSpPr>
                <p:spPr>
                  <a:xfrm>
                    <a:off x="11112354" y="2722790"/>
                    <a:ext cx="84210" cy="84453"/>
                  </a:xfrm>
                  <a:custGeom>
                    <a:avLst/>
                    <a:gdLst>
                      <a:gd name="connsiteX0" fmla="*/ 42092 w 84210"/>
                      <a:gd name="connsiteY0" fmla="*/ 84358 h 84453"/>
                      <a:gd name="connsiteX1" fmla="*/ 16893 w 84210"/>
                      <a:gd name="connsiteY1" fmla="*/ 75976 h 84453"/>
                      <a:gd name="connsiteX2" fmla="*/ 442 w 84210"/>
                      <a:gd name="connsiteY2" fmla="*/ 48163 h 84453"/>
                      <a:gd name="connsiteX3" fmla="*/ 8430 w 84210"/>
                      <a:gd name="connsiteY3" fmla="*/ 16921 h 84453"/>
                      <a:gd name="connsiteX4" fmla="*/ 36197 w 84210"/>
                      <a:gd name="connsiteY4" fmla="*/ 443 h 84453"/>
                      <a:gd name="connsiteX5" fmla="*/ 67387 w 84210"/>
                      <a:gd name="connsiteY5" fmla="*/ 8444 h 84453"/>
                      <a:gd name="connsiteX6" fmla="*/ 75850 w 84210"/>
                      <a:gd name="connsiteY6" fmla="*/ 67499 h 84453"/>
                      <a:gd name="connsiteX7" fmla="*/ 75850 w 84210"/>
                      <a:gd name="connsiteY7" fmla="*/ 67499 h 84453"/>
                      <a:gd name="connsiteX8" fmla="*/ 48083 w 84210"/>
                      <a:gd name="connsiteY8" fmla="*/ 83977 h 84453"/>
                      <a:gd name="connsiteX9" fmla="*/ 41997 w 84210"/>
                      <a:gd name="connsiteY9" fmla="*/ 84453 h 84453"/>
                      <a:gd name="connsiteX10" fmla="*/ 42282 w 84210"/>
                      <a:gd name="connsiteY10" fmla="*/ 9491 h 84453"/>
                      <a:gd name="connsiteX11" fmla="*/ 37528 w 84210"/>
                      <a:gd name="connsiteY11" fmla="*/ 9872 h 84453"/>
                      <a:gd name="connsiteX12" fmla="*/ 16037 w 84210"/>
                      <a:gd name="connsiteY12" fmla="*/ 22636 h 84453"/>
                      <a:gd name="connsiteX13" fmla="*/ 9856 w 84210"/>
                      <a:gd name="connsiteY13" fmla="*/ 46829 h 84453"/>
                      <a:gd name="connsiteX14" fmla="*/ 22599 w 84210"/>
                      <a:gd name="connsiteY14" fmla="*/ 68356 h 84453"/>
                      <a:gd name="connsiteX15" fmla="*/ 46752 w 84210"/>
                      <a:gd name="connsiteY15" fmla="*/ 74547 h 84453"/>
                      <a:gd name="connsiteX16" fmla="*/ 68243 w 84210"/>
                      <a:gd name="connsiteY16" fmla="*/ 61784 h 84453"/>
                      <a:gd name="connsiteX17" fmla="*/ 61681 w 84210"/>
                      <a:gd name="connsiteY17" fmla="*/ 16064 h 84453"/>
                      <a:gd name="connsiteX18" fmla="*/ 42187 w 84210"/>
                      <a:gd name="connsiteY18" fmla="*/ 9587 h 84453"/>
                      <a:gd name="connsiteX19" fmla="*/ 72141 w 84210"/>
                      <a:gd name="connsiteY19" fmla="*/ 64546 h 84453"/>
                      <a:gd name="connsiteX20" fmla="*/ 72141 w 84210"/>
                      <a:gd name="connsiteY20" fmla="*/ 64546 h 84453"/>
                      <a:gd name="connsiteX21" fmla="*/ 72141 w 84210"/>
                      <a:gd name="connsiteY21" fmla="*/ 64546 h 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210" h="84453">
                        <a:moveTo>
                          <a:pt x="42092" y="84358"/>
                        </a:moveTo>
                        <a:cubicBezTo>
                          <a:pt x="33058" y="84358"/>
                          <a:pt x="24310" y="81500"/>
                          <a:pt x="16893" y="75976"/>
                        </a:cubicBezTo>
                        <a:cubicBezTo>
                          <a:pt x="7859" y="69213"/>
                          <a:pt x="2059" y="59402"/>
                          <a:pt x="442" y="48163"/>
                        </a:cubicBezTo>
                        <a:cubicBezTo>
                          <a:pt x="-1174" y="37019"/>
                          <a:pt x="1678" y="25875"/>
                          <a:pt x="8430" y="16921"/>
                        </a:cubicBezTo>
                        <a:cubicBezTo>
                          <a:pt x="15181" y="7967"/>
                          <a:pt x="24976" y="2062"/>
                          <a:pt x="36197" y="443"/>
                        </a:cubicBezTo>
                        <a:cubicBezTo>
                          <a:pt x="47322" y="-1177"/>
                          <a:pt x="58448" y="1681"/>
                          <a:pt x="67387" y="8444"/>
                        </a:cubicBezTo>
                        <a:cubicBezTo>
                          <a:pt x="85930" y="22350"/>
                          <a:pt x="89733" y="48925"/>
                          <a:pt x="75850" y="67499"/>
                        </a:cubicBezTo>
                        <a:lnTo>
                          <a:pt x="75850" y="67499"/>
                        </a:lnTo>
                        <a:cubicBezTo>
                          <a:pt x="69098" y="76548"/>
                          <a:pt x="59209" y="82358"/>
                          <a:pt x="48083" y="83977"/>
                        </a:cubicBezTo>
                        <a:cubicBezTo>
                          <a:pt x="46086" y="84263"/>
                          <a:pt x="43994" y="84453"/>
                          <a:pt x="41997" y="84453"/>
                        </a:cubicBezTo>
                        <a:close/>
                        <a:moveTo>
                          <a:pt x="42282" y="9491"/>
                        </a:moveTo>
                        <a:cubicBezTo>
                          <a:pt x="40761" y="9491"/>
                          <a:pt x="39144" y="9587"/>
                          <a:pt x="37528" y="9872"/>
                        </a:cubicBezTo>
                        <a:cubicBezTo>
                          <a:pt x="28874" y="11111"/>
                          <a:pt x="21267" y="15683"/>
                          <a:pt x="16037" y="22636"/>
                        </a:cubicBezTo>
                        <a:cubicBezTo>
                          <a:pt x="10807" y="29589"/>
                          <a:pt x="8620" y="38257"/>
                          <a:pt x="9856" y="46829"/>
                        </a:cubicBezTo>
                        <a:cubicBezTo>
                          <a:pt x="11092" y="55497"/>
                          <a:pt x="15657" y="63117"/>
                          <a:pt x="22599" y="68356"/>
                        </a:cubicBezTo>
                        <a:cubicBezTo>
                          <a:pt x="29540" y="73595"/>
                          <a:pt x="38193" y="75881"/>
                          <a:pt x="46752" y="74547"/>
                        </a:cubicBezTo>
                        <a:cubicBezTo>
                          <a:pt x="55405" y="73309"/>
                          <a:pt x="63013" y="68737"/>
                          <a:pt x="68243" y="61784"/>
                        </a:cubicBezTo>
                        <a:cubicBezTo>
                          <a:pt x="78988" y="47401"/>
                          <a:pt x="76040" y="26827"/>
                          <a:pt x="61681" y="16064"/>
                        </a:cubicBezTo>
                        <a:cubicBezTo>
                          <a:pt x="55976" y="11777"/>
                          <a:pt x="49224" y="9587"/>
                          <a:pt x="42187" y="9587"/>
                        </a:cubicBezTo>
                        <a:close/>
                        <a:moveTo>
                          <a:pt x="72141" y="64546"/>
                        </a:moveTo>
                        <a:lnTo>
                          <a:pt x="72141" y="64546"/>
                        </a:lnTo>
                        <a:lnTo>
                          <a:pt x="72141" y="6454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8" name="Freeform 137">
                    <a:extLst>
                      <a:ext uri="{FF2B5EF4-FFF2-40B4-BE49-F238E27FC236}">
                        <a16:creationId xmlns:a16="http://schemas.microsoft.com/office/drawing/2014/main" id="{625C6124-6504-D709-AE71-63EF7811AE92}"/>
                      </a:ext>
                    </a:extLst>
                  </p:cNvPr>
                  <p:cNvSpPr/>
                  <p:nvPr/>
                </p:nvSpPr>
                <p:spPr>
                  <a:xfrm>
                    <a:off x="11311156" y="2587024"/>
                    <a:ext cx="84201" cy="84297"/>
                  </a:xfrm>
                  <a:custGeom>
                    <a:avLst/>
                    <a:gdLst>
                      <a:gd name="connsiteX0" fmla="*/ 42032 w 84201"/>
                      <a:gd name="connsiteY0" fmla="*/ 84298 h 84297"/>
                      <a:gd name="connsiteX1" fmla="*/ 21302 w 84201"/>
                      <a:gd name="connsiteY1" fmla="*/ 78773 h 84297"/>
                      <a:gd name="connsiteX2" fmla="*/ 1523 w 84201"/>
                      <a:gd name="connsiteY2" fmla="*/ 53342 h 84297"/>
                      <a:gd name="connsiteX3" fmla="*/ 5517 w 84201"/>
                      <a:gd name="connsiteY3" fmla="*/ 21338 h 84297"/>
                      <a:gd name="connsiteX4" fmla="*/ 30907 w 84201"/>
                      <a:gd name="connsiteY4" fmla="*/ 1526 h 84297"/>
                      <a:gd name="connsiteX5" fmla="*/ 62857 w 84201"/>
                      <a:gd name="connsiteY5" fmla="*/ 5526 h 84297"/>
                      <a:gd name="connsiteX6" fmla="*/ 82637 w 84201"/>
                      <a:gd name="connsiteY6" fmla="*/ 30958 h 84297"/>
                      <a:gd name="connsiteX7" fmla="*/ 78643 w 84201"/>
                      <a:gd name="connsiteY7" fmla="*/ 62962 h 84297"/>
                      <a:gd name="connsiteX8" fmla="*/ 53253 w 84201"/>
                      <a:gd name="connsiteY8" fmla="*/ 82774 h 84297"/>
                      <a:gd name="connsiteX9" fmla="*/ 53253 w 84201"/>
                      <a:gd name="connsiteY9" fmla="*/ 82774 h 84297"/>
                      <a:gd name="connsiteX10" fmla="*/ 41937 w 84201"/>
                      <a:gd name="connsiteY10" fmla="*/ 84298 h 84297"/>
                      <a:gd name="connsiteX11" fmla="*/ 52017 w 84201"/>
                      <a:gd name="connsiteY11" fmla="*/ 78202 h 84297"/>
                      <a:gd name="connsiteX12" fmla="*/ 52017 w 84201"/>
                      <a:gd name="connsiteY12" fmla="*/ 78202 h 84297"/>
                      <a:gd name="connsiteX13" fmla="*/ 52017 w 84201"/>
                      <a:gd name="connsiteY13" fmla="*/ 78202 h 84297"/>
                      <a:gd name="connsiteX14" fmla="*/ 42127 w 84201"/>
                      <a:gd name="connsiteY14" fmla="*/ 9431 h 84297"/>
                      <a:gd name="connsiteX15" fmla="*/ 33379 w 84201"/>
                      <a:gd name="connsiteY15" fmla="*/ 10670 h 84297"/>
                      <a:gd name="connsiteX16" fmla="*/ 13695 w 84201"/>
                      <a:gd name="connsiteY16" fmla="*/ 26005 h 84297"/>
                      <a:gd name="connsiteX17" fmla="*/ 10652 w 84201"/>
                      <a:gd name="connsiteY17" fmla="*/ 50770 h 84297"/>
                      <a:gd name="connsiteX18" fmla="*/ 25962 w 84201"/>
                      <a:gd name="connsiteY18" fmla="*/ 70487 h 84297"/>
                      <a:gd name="connsiteX19" fmla="*/ 50781 w 84201"/>
                      <a:gd name="connsiteY19" fmla="*/ 73535 h 84297"/>
                      <a:gd name="connsiteX20" fmla="*/ 50781 w 84201"/>
                      <a:gd name="connsiteY20" fmla="*/ 73535 h 84297"/>
                      <a:gd name="connsiteX21" fmla="*/ 73508 w 84201"/>
                      <a:gd name="connsiteY21" fmla="*/ 33339 h 84297"/>
                      <a:gd name="connsiteX22" fmla="*/ 58198 w 84201"/>
                      <a:gd name="connsiteY22" fmla="*/ 13622 h 84297"/>
                      <a:gd name="connsiteX23" fmla="*/ 42127 w 84201"/>
                      <a:gd name="connsiteY23" fmla="*/ 9336 h 8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201" h="84297">
                        <a:moveTo>
                          <a:pt x="42032" y="84298"/>
                        </a:moveTo>
                        <a:cubicBezTo>
                          <a:pt x="34805" y="84298"/>
                          <a:pt x="27768" y="82488"/>
                          <a:pt x="21302" y="78773"/>
                        </a:cubicBezTo>
                        <a:cubicBezTo>
                          <a:pt x="11508" y="73249"/>
                          <a:pt x="4471" y="64200"/>
                          <a:pt x="1523" y="53342"/>
                        </a:cubicBezTo>
                        <a:cubicBezTo>
                          <a:pt x="-1425" y="42483"/>
                          <a:pt x="-93" y="31148"/>
                          <a:pt x="5517" y="21338"/>
                        </a:cubicBezTo>
                        <a:cubicBezTo>
                          <a:pt x="11032" y="11527"/>
                          <a:pt x="20066" y="4478"/>
                          <a:pt x="30907" y="1526"/>
                        </a:cubicBezTo>
                        <a:cubicBezTo>
                          <a:pt x="41747" y="-1427"/>
                          <a:pt x="53063" y="-94"/>
                          <a:pt x="62857" y="5526"/>
                        </a:cubicBezTo>
                        <a:cubicBezTo>
                          <a:pt x="72652" y="11051"/>
                          <a:pt x="79689" y="20099"/>
                          <a:pt x="82637" y="30958"/>
                        </a:cubicBezTo>
                        <a:cubicBezTo>
                          <a:pt x="85679" y="41816"/>
                          <a:pt x="84253" y="53151"/>
                          <a:pt x="78643" y="62962"/>
                        </a:cubicBezTo>
                        <a:cubicBezTo>
                          <a:pt x="73128" y="72773"/>
                          <a:pt x="64094" y="79821"/>
                          <a:pt x="53253" y="82774"/>
                        </a:cubicBezTo>
                        <a:lnTo>
                          <a:pt x="53253" y="82774"/>
                        </a:lnTo>
                        <a:cubicBezTo>
                          <a:pt x="49545" y="83822"/>
                          <a:pt x="45741" y="84298"/>
                          <a:pt x="41937" y="84298"/>
                        </a:cubicBezTo>
                        <a:close/>
                        <a:moveTo>
                          <a:pt x="52017" y="78202"/>
                        </a:moveTo>
                        <a:lnTo>
                          <a:pt x="52017" y="78202"/>
                        </a:lnTo>
                        <a:lnTo>
                          <a:pt x="52017" y="78202"/>
                        </a:lnTo>
                        <a:close/>
                        <a:moveTo>
                          <a:pt x="42127" y="9431"/>
                        </a:moveTo>
                        <a:cubicBezTo>
                          <a:pt x="39180" y="9431"/>
                          <a:pt x="36232" y="9812"/>
                          <a:pt x="33379" y="10670"/>
                        </a:cubicBezTo>
                        <a:cubicBezTo>
                          <a:pt x="25011" y="12956"/>
                          <a:pt x="17974" y="18480"/>
                          <a:pt x="13695" y="26005"/>
                        </a:cubicBezTo>
                        <a:cubicBezTo>
                          <a:pt x="9416" y="33625"/>
                          <a:pt x="8275" y="42388"/>
                          <a:pt x="10652" y="50770"/>
                        </a:cubicBezTo>
                        <a:cubicBezTo>
                          <a:pt x="12934" y="59152"/>
                          <a:pt x="18450" y="66200"/>
                          <a:pt x="25962" y="70487"/>
                        </a:cubicBezTo>
                        <a:cubicBezTo>
                          <a:pt x="33569" y="74773"/>
                          <a:pt x="42317" y="75821"/>
                          <a:pt x="50781" y="73535"/>
                        </a:cubicBezTo>
                        <a:lnTo>
                          <a:pt x="50781" y="73535"/>
                        </a:lnTo>
                        <a:cubicBezTo>
                          <a:pt x="68088" y="68772"/>
                          <a:pt x="78262" y="50675"/>
                          <a:pt x="73508" y="33339"/>
                        </a:cubicBezTo>
                        <a:cubicBezTo>
                          <a:pt x="71226" y="24957"/>
                          <a:pt x="65710" y="17909"/>
                          <a:pt x="58198" y="13622"/>
                        </a:cubicBezTo>
                        <a:cubicBezTo>
                          <a:pt x="53253" y="10765"/>
                          <a:pt x="47738" y="9336"/>
                          <a:pt x="42127" y="933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Freeform 138">
                    <a:extLst>
                      <a:ext uri="{FF2B5EF4-FFF2-40B4-BE49-F238E27FC236}">
                        <a16:creationId xmlns:a16="http://schemas.microsoft.com/office/drawing/2014/main" id="{FAB95C1A-299C-BC66-5329-411E12E8A95E}"/>
                      </a:ext>
                    </a:extLst>
                  </p:cNvPr>
                  <p:cNvSpPr/>
                  <p:nvPr/>
                </p:nvSpPr>
                <p:spPr>
                  <a:xfrm>
                    <a:off x="11066099" y="2654748"/>
                    <a:ext cx="84259" cy="84391"/>
                  </a:xfrm>
                  <a:custGeom>
                    <a:avLst/>
                    <a:gdLst>
                      <a:gd name="connsiteX0" fmla="*/ 42133 w 84259"/>
                      <a:gd name="connsiteY0" fmla="*/ 84392 h 84391"/>
                      <a:gd name="connsiteX1" fmla="*/ 1528 w 84259"/>
                      <a:gd name="connsiteY1" fmla="*/ 53435 h 84391"/>
                      <a:gd name="connsiteX2" fmla="*/ 30911 w 84259"/>
                      <a:gd name="connsiteY2" fmla="*/ 1524 h 84391"/>
                      <a:gd name="connsiteX3" fmla="*/ 82737 w 84259"/>
                      <a:gd name="connsiteY3" fmla="*/ 30956 h 84391"/>
                      <a:gd name="connsiteX4" fmla="*/ 78743 w 84259"/>
                      <a:gd name="connsiteY4" fmla="*/ 62960 h 84391"/>
                      <a:gd name="connsiteX5" fmla="*/ 53353 w 84259"/>
                      <a:gd name="connsiteY5" fmla="*/ 82772 h 84391"/>
                      <a:gd name="connsiteX6" fmla="*/ 53353 w 84259"/>
                      <a:gd name="connsiteY6" fmla="*/ 82772 h 84391"/>
                      <a:gd name="connsiteX7" fmla="*/ 42133 w 84259"/>
                      <a:gd name="connsiteY7" fmla="*/ 84296 h 84391"/>
                      <a:gd name="connsiteX8" fmla="*/ 52022 w 84259"/>
                      <a:gd name="connsiteY8" fmla="*/ 78296 h 84391"/>
                      <a:gd name="connsiteX9" fmla="*/ 52022 w 84259"/>
                      <a:gd name="connsiteY9" fmla="*/ 78296 h 84391"/>
                      <a:gd name="connsiteX10" fmla="*/ 52022 w 84259"/>
                      <a:gd name="connsiteY10" fmla="*/ 78296 h 84391"/>
                      <a:gd name="connsiteX11" fmla="*/ 42037 w 84259"/>
                      <a:gd name="connsiteY11" fmla="*/ 9525 h 84391"/>
                      <a:gd name="connsiteX12" fmla="*/ 33384 w 84259"/>
                      <a:gd name="connsiteY12" fmla="*/ 10668 h 84391"/>
                      <a:gd name="connsiteX13" fmla="*/ 10657 w 84259"/>
                      <a:gd name="connsiteY13" fmla="*/ 50864 h 84391"/>
                      <a:gd name="connsiteX14" fmla="*/ 50786 w 84259"/>
                      <a:gd name="connsiteY14" fmla="*/ 73628 h 84391"/>
                      <a:gd name="connsiteX15" fmla="*/ 70470 w 84259"/>
                      <a:gd name="connsiteY15" fmla="*/ 58293 h 84391"/>
                      <a:gd name="connsiteX16" fmla="*/ 73513 w 84259"/>
                      <a:gd name="connsiteY16" fmla="*/ 33528 h 84391"/>
                      <a:gd name="connsiteX17" fmla="*/ 42037 w 84259"/>
                      <a:gd name="connsiteY17"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59" h="84391">
                        <a:moveTo>
                          <a:pt x="42133" y="84392"/>
                        </a:moveTo>
                        <a:cubicBezTo>
                          <a:pt x="23685" y="84392"/>
                          <a:pt x="6663" y="72104"/>
                          <a:pt x="1528" y="53435"/>
                        </a:cubicBezTo>
                        <a:cubicBezTo>
                          <a:pt x="-4653" y="31051"/>
                          <a:pt x="8470" y="7715"/>
                          <a:pt x="30911" y="1524"/>
                        </a:cubicBezTo>
                        <a:cubicBezTo>
                          <a:pt x="53353" y="-4667"/>
                          <a:pt x="76556" y="8572"/>
                          <a:pt x="82737" y="30956"/>
                        </a:cubicBezTo>
                        <a:cubicBezTo>
                          <a:pt x="85685" y="41815"/>
                          <a:pt x="84353" y="53149"/>
                          <a:pt x="78743" y="62960"/>
                        </a:cubicBezTo>
                        <a:cubicBezTo>
                          <a:pt x="73228" y="72771"/>
                          <a:pt x="64194" y="79820"/>
                          <a:pt x="53353" y="82772"/>
                        </a:cubicBezTo>
                        <a:lnTo>
                          <a:pt x="53353" y="82772"/>
                        </a:lnTo>
                        <a:cubicBezTo>
                          <a:pt x="49645" y="83820"/>
                          <a:pt x="45841" y="84296"/>
                          <a:pt x="42133" y="84296"/>
                        </a:cubicBezTo>
                        <a:close/>
                        <a:moveTo>
                          <a:pt x="52022" y="78296"/>
                        </a:moveTo>
                        <a:lnTo>
                          <a:pt x="52022" y="78296"/>
                        </a:lnTo>
                        <a:lnTo>
                          <a:pt x="52022" y="78296"/>
                        </a:lnTo>
                        <a:close/>
                        <a:moveTo>
                          <a:pt x="42037" y="9525"/>
                        </a:moveTo>
                        <a:cubicBezTo>
                          <a:pt x="39184" y="9525"/>
                          <a:pt x="36237" y="9906"/>
                          <a:pt x="33384" y="10668"/>
                        </a:cubicBezTo>
                        <a:cubicBezTo>
                          <a:pt x="16077" y="15430"/>
                          <a:pt x="5902" y="33528"/>
                          <a:pt x="10657" y="50864"/>
                        </a:cubicBezTo>
                        <a:cubicBezTo>
                          <a:pt x="15411" y="68199"/>
                          <a:pt x="33479" y="78391"/>
                          <a:pt x="50786" y="73628"/>
                        </a:cubicBezTo>
                        <a:cubicBezTo>
                          <a:pt x="59154" y="71342"/>
                          <a:pt x="66191" y="65818"/>
                          <a:pt x="70470" y="58293"/>
                        </a:cubicBezTo>
                        <a:cubicBezTo>
                          <a:pt x="74749" y="50673"/>
                          <a:pt x="75890" y="41910"/>
                          <a:pt x="73513" y="33528"/>
                        </a:cubicBezTo>
                        <a:cubicBezTo>
                          <a:pt x="69519" y="19050"/>
                          <a:pt x="56396" y="9525"/>
                          <a:pt x="42037"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0" name="Freeform 139">
                    <a:extLst>
                      <a:ext uri="{FF2B5EF4-FFF2-40B4-BE49-F238E27FC236}">
                        <a16:creationId xmlns:a16="http://schemas.microsoft.com/office/drawing/2014/main" id="{9FF397EB-500D-2083-1FC2-1514AF43E634}"/>
                      </a:ext>
                    </a:extLst>
                  </p:cNvPr>
                  <p:cNvSpPr/>
                  <p:nvPr/>
                </p:nvSpPr>
                <p:spPr>
                  <a:xfrm>
                    <a:off x="11306940" y="2667376"/>
                    <a:ext cx="84223" cy="84336"/>
                  </a:xfrm>
                  <a:custGeom>
                    <a:avLst/>
                    <a:gdLst>
                      <a:gd name="connsiteX0" fmla="*/ 42064 w 84223"/>
                      <a:gd name="connsiteY0" fmla="*/ 84337 h 84336"/>
                      <a:gd name="connsiteX1" fmla="*/ 26755 w 84223"/>
                      <a:gd name="connsiteY1" fmla="*/ 81479 h 84336"/>
                      <a:gd name="connsiteX2" fmla="*/ 26755 w 84223"/>
                      <a:gd name="connsiteY2" fmla="*/ 81479 h 84336"/>
                      <a:gd name="connsiteX3" fmla="*/ 3552 w 84223"/>
                      <a:gd name="connsiteY3" fmla="*/ 59096 h 84336"/>
                      <a:gd name="connsiteX4" fmla="*/ 2886 w 84223"/>
                      <a:gd name="connsiteY4" fmla="*/ 26806 h 84336"/>
                      <a:gd name="connsiteX5" fmla="*/ 57469 w 84223"/>
                      <a:gd name="connsiteY5" fmla="*/ 2898 h 84336"/>
                      <a:gd name="connsiteX6" fmla="*/ 80672 w 84223"/>
                      <a:gd name="connsiteY6" fmla="*/ 25282 h 84336"/>
                      <a:gd name="connsiteX7" fmla="*/ 81337 w 84223"/>
                      <a:gd name="connsiteY7" fmla="*/ 57572 h 84336"/>
                      <a:gd name="connsiteX8" fmla="*/ 42064 w 84223"/>
                      <a:gd name="connsiteY8" fmla="*/ 84337 h 84336"/>
                      <a:gd name="connsiteX9" fmla="*/ 30273 w 84223"/>
                      <a:gd name="connsiteY9" fmla="*/ 72526 h 84336"/>
                      <a:gd name="connsiteX10" fmla="*/ 72494 w 84223"/>
                      <a:gd name="connsiteY10" fmla="*/ 54047 h 84336"/>
                      <a:gd name="connsiteX11" fmla="*/ 54046 w 84223"/>
                      <a:gd name="connsiteY11" fmla="*/ 11756 h 84336"/>
                      <a:gd name="connsiteX12" fmla="*/ 11825 w 84223"/>
                      <a:gd name="connsiteY12" fmla="*/ 30235 h 84336"/>
                      <a:gd name="connsiteX13" fmla="*/ 30273 w 84223"/>
                      <a:gd name="connsiteY13" fmla="*/ 72526 h 84336"/>
                      <a:gd name="connsiteX14" fmla="*/ 30273 w 84223"/>
                      <a:gd name="connsiteY14" fmla="*/ 72526 h 8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23" h="84336">
                        <a:moveTo>
                          <a:pt x="42064" y="84337"/>
                        </a:moveTo>
                        <a:cubicBezTo>
                          <a:pt x="36929" y="84337"/>
                          <a:pt x="31794" y="83384"/>
                          <a:pt x="26755" y="81479"/>
                        </a:cubicBezTo>
                        <a:lnTo>
                          <a:pt x="26755" y="81479"/>
                        </a:lnTo>
                        <a:cubicBezTo>
                          <a:pt x="16294" y="77384"/>
                          <a:pt x="8021" y="69383"/>
                          <a:pt x="3552" y="59096"/>
                        </a:cubicBezTo>
                        <a:cubicBezTo>
                          <a:pt x="-917" y="48809"/>
                          <a:pt x="-1203" y="37283"/>
                          <a:pt x="2886" y="26806"/>
                        </a:cubicBezTo>
                        <a:cubicBezTo>
                          <a:pt x="11350" y="5184"/>
                          <a:pt x="35788" y="-5579"/>
                          <a:pt x="57469" y="2898"/>
                        </a:cubicBezTo>
                        <a:cubicBezTo>
                          <a:pt x="67929" y="6994"/>
                          <a:pt x="76202" y="14995"/>
                          <a:pt x="80672" y="25282"/>
                        </a:cubicBezTo>
                        <a:cubicBezTo>
                          <a:pt x="85141" y="35569"/>
                          <a:pt x="85426" y="47094"/>
                          <a:pt x="81337" y="57572"/>
                        </a:cubicBezTo>
                        <a:cubicBezTo>
                          <a:pt x="74871" y="74145"/>
                          <a:pt x="58896" y="84337"/>
                          <a:pt x="42064" y="84337"/>
                        </a:cubicBezTo>
                        <a:close/>
                        <a:moveTo>
                          <a:pt x="30273" y="72526"/>
                        </a:moveTo>
                        <a:cubicBezTo>
                          <a:pt x="47009" y="79098"/>
                          <a:pt x="65932" y="70811"/>
                          <a:pt x="72494" y="54047"/>
                        </a:cubicBezTo>
                        <a:cubicBezTo>
                          <a:pt x="79055" y="37283"/>
                          <a:pt x="70782" y="18329"/>
                          <a:pt x="54046" y="11756"/>
                        </a:cubicBezTo>
                        <a:cubicBezTo>
                          <a:pt x="37310" y="5184"/>
                          <a:pt x="18386" y="13471"/>
                          <a:pt x="11825" y="30235"/>
                        </a:cubicBezTo>
                        <a:cubicBezTo>
                          <a:pt x="5264" y="46999"/>
                          <a:pt x="13537" y="65954"/>
                          <a:pt x="30273" y="72526"/>
                        </a:cubicBezTo>
                        <a:lnTo>
                          <a:pt x="30273" y="7252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1" name="Freeform 140">
                    <a:extLst>
                      <a:ext uri="{FF2B5EF4-FFF2-40B4-BE49-F238E27FC236}">
                        <a16:creationId xmlns:a16="http://schemas.microsoft.com/office/drawing/2014/main" id="{A28FD6EA-366E-41E5-E01E-1798A13C6E76}"/>
                      </a:ext>
                    </a:extLst>
                  </p:cNvPr>
                  <p:cNvSpPr/>
                  <p:nvPr/>
                </p:nvSpPr>
                <p:spPr>
                  <a:xfrm>
                    <a:off x="11070256" y="2574412"/>
                    <a:ext cx="84223" cy="84432"/>
                  </a:xfrm>
                  <a:custGeom>
                    <a:avLst/>
                    <a:gdLst>
                      <a:gd name="connsiteX0" fmla="*/ 42159 w 84223"/>
                      <a:gd name="connsiteY0" fmla="*/ 84432 h 84432"/>
                      <a:gd name="connsiteX1" fmla="*/ 26755 w 84223"/>
                      <a:gd name="connsiteY1" fmla="*/ 81479 h 84432"/>
                      <a:gd name="connsiteX2" fmla="*/ 26755 w 84223"/>
                      <a:gd name="connsiteY2" fmla="*/ 81479 h 84432"/>
                      <a:gd name="connsiteX3" fmla="*/ 3552 w 84223"/>
                      <a:gd name="connsiteY3" fmla="*/ 59096 h 84432"/>
                      <a:gd name="connsiteX4" fmla="*/ 2887 w 84223"/>
                      <a:gd name="connsiteY4" fmla="*/ 26806 h 84432"/>
                      <a:gd name="connsiteX5" fmla="*/ 57469 w 84223"/>
                      <a:gd name="connsiteY5" fmla="*/ 2898 h 84432"/>
                      <a:gd name="connsiteX6" fmla="*/ 80672 w 84223"/>
                      <a:gd name="connsiteY6" fmla="*/ 25282 h 84432"/>
                      <a:gd name="connsiteX7" fmla="*/ 81338 w 84223"/>
                      <a:gd name="connsiteY7" fmla="*/ 57572 h 84432"/>
                      <a:gd name="connsiteX8" fmla="*/ 58991 w 84223"/>
                      <a:gd name="connsiteY8" fmla="*/ 80813 h 84432"/>
                      <a:gd name="connsiteX9" fmla="*/ 42159 w 84223"/>
                      <a:gd name="connsiteY9" fmla="*/ 84337 h 84432"/>
                      <a:gd name="connsiteX10" fmla="*/ 42159 w 84223"/>
                      <a:gd name="connsiteY10" fmla="*/ 9566 h 84432"/>
                      <a:gd name="connsiteX11" fmla="*/ 11730 w 84223"/>
                      <a:gd name="connsiteY11" fmla="*/ 30330 h 84432"/>
                      <a:gd name="connsiteX12" fmla="*/ 12205 w 84223"/>
                      <a:gd name="connsiteY12" fmla="*/ 55286 h 84432"/>
                      <a:gd name="connsiteX13" fmla="*/ 30178 w 84223"/>
                      <a:gd name="connsiteY13" fmla="*/ 72621 h 84432"/>
                      <a:gd name="connsiteX14" fmla="*/ 30178 w 84223"/>
                      <a:gd name="connsiteY14" fmla="*/ 72621 h 84432"/>
                      <a:gd name="connsiteX15" fmla="*/ 55092 w 84223"/>
                      <a:gd name="connsiteY15" fmla="*/ 72145 h 84432"/>
                      <a:gd name="connsiteX16" fmla="*/ 72399 w 84223"/>
                      <a:gd name="connsiteY16" fmla="*/ 54143 h 84432"/>
                      <a:gd name="connsiteX17" fmla="*/ 71923 w 84223"/>
                      <a:gd name="connsiteY17" fmla="*/ 29187 h 84432"/>
                      <a:gd name="connsiteX18" fmla="*/ 53951 w 84223"/>
                      <a:gd name="connsiteY18" fmla="*/ 11852 h 84432"/>
                      <a:gd name="connsiteX19" fmla="*/ 42065 w 84223"/>
                      <a:gd name="connsiteY19" fmla="*/ 9566 h 8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223" h="84432">
                        <a:moveTo>
                          <a:pt x="42159" y="84432"/>
                        </a:moveTo>
                        <a:cubicBezTo>
                          <a:pt x="36929" y="84432"/>
                          <a:pt x="31794" y="83480"/>
                          <a:pt x="26755" y="81479"/>
                        </a:cubicBezTo>
                        <a:lnTo>
                          <a:pt x="26755" y="81479"/>
                        </a:lnTo>
                        <a:cubicBezTo>
                          <a:pt x="16294" y="77384"/>
                          <a:pt x="8021" y="69383"/>
                          <a:pt x="3552" y="59096"/>
                        </a:cubicBezTo>
                        <a:cubicBezTo>
                          <a:pt x="-917" y="48809"/>
                          <a:pt x="-1203" y="37283"/>
                          <a:pt x="2887" y="26806"/>
                        </a:cubicBezTo>
                        <a:cubicBezTo>
                          <a:pt x="11350" y="5184"/>
                          <a:pt x="35788" y="-5579"/>
                          <a:pt x="57469" y="2898"/>
                        </a:cubicBezTo>
                        <a:cubicBezTo>
                          <a:pt x="67930" y="6994"/>
                          <a:pt x="76203" y="14995"/>
                          <a:pt x="80672" y="25282"/>
                        </a:cubicBezTo>
                        <a:cubicBezTo>
                          <a:pt x="85141" y="35569"/>
                          <a:pt x="85426" y="47094"/>
                          <a:pt x="81338" y="57572"/>
                        </a:cubicBezTo>
                        <a:cubicBezTo>
                          <a:pt x="77248" y="68049"/>
                          <a:pt x="69261" y="76336"/>
                          <a:pt x="58991" y="80813"/>
                        </a:cubicBezTo>
                        <a:cubicBezTo>
                          <a:pt x="53571" y="83194"/>
                          <a:pt x="47865" y="84337"/>
                          <a:pt x="42159" y="84337"/>
                        </a:cubicBezTo>
                        <a:close/>
                        <a:moveTo>
                          <a:pt x="42159" y="9566"/>
                        </a:moveTo>
                        <a:cubicBezTo>
                          <a:pt x="29132" y="9566"/>
                          <a:pt x="16770" y="17471"/>
                          <a:pt x="11730" y="30330"/>
                        </a:cubicBezTo>
                        <a:cubicBezTo>
                          <a:pt x="8592" y="38426"/>
                          <a:pt x="8687" y="47285"/>
                          <a:pt x="12205" y="55286"/>
                        </a:cubicBezTo>
                        <a:cubicBezTo>
                          <a:pt x="15724" y="63287"/>
                          <a:pt x="22095" y="69383"/>
                          <a:pt x="30178" y="72621"/>
                        </a:cubicBezTo>
                        <a:lnTo>
                          <a:pt x="30178" y="72621"/>
                        </a:lnTo>
                        <a:cubicBezTo>
                          <a:pt x="38261" y="75764"/>
                          <a:pt x="47104" y="75669"/>
                          <a:pt x="55092" y="72145"/>
                        </a:cubicBezTo>
                        <a:cubicBezTo>
                          <a:pt x="63080" y="68621"/>
                          <a:pt x="69166" y="62239"/>
                          <a:pt x="72399" y="54143"/>
                        </a:cubicBezTo>
                        <a:cubicBezTo>
                          <a:pt x="75537" y="46046"/>
                          <a:pt x="75442" y="37188"/>
                          <a:pt x="71923" y="29187"/>
                        </a:cubicBezTo>
                        <a:cubicBezTo>
                          <a:pt x="68405" y="21186"/>
                          <a:pt x="62034" y="14995"/>
                          <a:pt x="53951" y="11852"/>
                        </a:cubicBezTo>
                        <a:cubicBezTo>
                          <a:pt x="50052" y="10328"/>
                          <a:pt x="46058" y="9566"/>
                          <a:pt x="42065" y="956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2" name="Freeform 141">
                    <a:extLst>
                      <a:ext uri="{FF2B5EF4-FFF2-40B4-BE49-F238E27FC236}">
                        <a16:creationId xmlns:a16="http://schemas.microsoft.com/office/drawing/2014/main" id="{10A6C752-CE66-552E-AB34-C13FE10CE3A1}"/>
                      </a:ext>
                    </a:extLst>
                  </p:cNvPr>
                  <p:cNvSpPr/>
                  <p:nvPr/>
                </p:nvSpPr>
                <p:spPr>
                  <a:xfrm>
                    <a:off x="11260099" y="2726192"/>
                    <a:ext cx="84238" cy="84385"/>
                  </a:xfrm>
                  <a:custGeom>
                    <a:avLst/>
                    <a:gdLst>
                      <a:gd name="connsiteX0" fmla="*/ 42214 w 84238"/>
                      <a:gd name="connsiteY0" fmla="*/ 84290 h 84385"/>
                      <a:gd name="connsiteX1" fmla="*/ 7316 w 84238"/>
                      <a:gd name="connsiteY1" fmla="*/ 65907 h 84385"/>
                      <a:gd name="connsiteX2" fmla="*/ 7316 w 84238"/>
                      <a:gd name="connsiteY2" fmla="*/ 65907 h 84385"/>
                      <a:gd name="connsiteX3" fmla="*/ 754 w 84238"/>
                      <a:gd name="connsiteY3" fmla="*/ 34284 h 84385"/>
                      <a:gd name="connsiteX4" fmla="*/ 18441 w 84238"/>
                      <a:gd name="connsiteY4" fmla="*/ 7328 h 84385"/>
                      <a:gd name="connsiteX5" fmla="*/ 50012 w 84238"/>
                      <a:gd name="connsiteY5" fmla="*/ 756 h 84385"/>
                      <a:gd name="connsiteX6" fmla="*/ 76923 w 84238"/>
                      <a:gd name="connsiteY6" fmla="*/ 18472 h 84385"/>
                      <a:gd name="connsiteX7" fmla="*/ 83485 w 84238"/>
                      <a:gd name="connsiteY7" fmla="*/ 50095 h 84385"/>
                      <a:gd name="connsiteX8" fmla="*/ 65797 w 84238"/>
                      <a:gd name="connsiteY8" fmla="*/ 77051 h 84385"/>
                      <a:gd name="connsiteX9" fmla="*/ 42119 w 84238"/>
                      <a:gd name="connsiteY9" fmla="*/ 84385 h 84385"/>
                      <a:gd name="connsiteX10" fmla="*/ 15208 w 84238"/>
                      <a:gd name="connsiteY10" fmla="*/ 60477 h 84385"/>
                      <a:gd name="connsiteX11" fmla="*/ 36129 w 84238"/>
                      <a:gd name="connsiteY11" fmla="*/ 74193 h 84385"/>
                      <a:gd name="connsiteX12" fmla="*/ 60567 w 84238"/>
                      <a:gd name="connsiteY12" fmla="*/ 69145 h 84385"/>
                      <a:gd name="connsiteX13" fmla="*/ 74261 w 84238"/>
                      <a:gd name="connsiteY13" fmla="*/ 48285 h 84385"/>
                      <a:gd name="connsiteX14" fmla="*/ 69221 w 84238"/>
                      <a:gd name="connsiteY14" fmla="*/ 23806 h 84385"/>
                      <a:gd name="connsiteX15" fmla="*/ 48396 w 84238"/>
                      <a:gd name="connsiteY15" fmla="*/ 10090 h 84385"/>
                      <a:gd name="connsiteX16" fmla="*/ 23957 w 84238"/>
                      <a:gd name="connsiteY16" fmla="*/ 15138 h 84385"/>
                      <a:gd name="connsiteX17" fmla="*/ 15303 w 84238"/>
                      <a:gd name="connsiteY17" fmla="*/ 60477 h 84385"/>
                      <a:gd name="connsiteX18" fmla="*/ 15303 w 84238"/>
                      <a:gd name="connsiteY18" fmla="*/ 60477 h 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38" h="84385">
                        <a:moveTo>
                          <a:pt x="42214" y="84290"/>
                        </a:moveTo>
                        <a:cubicBezTo>
                          <a:pt x="28711" y="84290"/>
                          <a:pt x="15494" y="77813"/>
                          <a:pt x="7316" y="65907"/>
                        </a:cubicBezTo>
                        <a:lnTo>
                          <a:pt x="7316" y="65907"/>
                        </a:lnTo>
                        <a:cubicBezTo>
                          <a:pt x="944" y="56572"/>
                          <a:pt x="-1338" y="45333"/>
                          <a:pt x="754" y="34284"/>
                        </a:cubicBezTo>
                        <a:cubicBezTo>
                          <a:pt x="2846" y="23235"/>
                          <a:pt x="9123" y="13614"/>
                          <a:pt x="18441" y="7328"/>
                        </a:cubicBezTo>
                        <a:cubicBezTo>
                          <a:pt x="27760" y="946"/>
                          <a:pt x="38981" y="-1340"/>
                          <a:pt x="50012" y="756"/>
                        </a:cubicBezTo>
                        <a:cubicBezTo>
                          <a:pt x="61043" y="2851"/>
                          <a:pt x="70647" y="9138"/>
                          <a:pt x="76923" y="18472"/>
                        </a:cubicBezTo>
                        <a:cubicBezTo>
                          <a:pt x="83294" y="27807"/>
                          <a:pt x="85576" y="39046"/>
                          <a:pt x="83485" y="50095"/>
                        </a:cubicBezTo>
                        <a:cubicBezTo>
                          <a:pt x="81393" y="61144"/>
                          <a:pt x="75116" y="70764"/>
                          <a:pt x="65797" y="77051"/>
                        </a:cubicBezTo>
                        <a:cubicBezTo>
                          <a:pt x="58570" y="82004"/>
                          <a:pt x="50297" y="84385"/>
                          <a:pt x="42119" y="84385"/>
                        </a:cubicBezTo>
                        <a:close/>
                        <a:moveTo>
                          <a:pt x="15208" y="60477"/>
                        </a:moveTo>
                        <a:cubicBezTo>
                          <a:pt x="20153" y="67716"/>
                          <a:pt x="27570" y="72574"/>
                          <a:pt x="36129" y="74193"/>
                        </a:cubicBezTo>
                        <a:cubicBezTo>
                          <a:pt x="44687" y="75813"/>
                          <a:pt x="53340" y="74003"/>
                          <a:pt x="60567" y="69145"/>
                        </a:cubicBezTo>
                        <a:cubicBezTo>
                          <a:pt x="67794" y="64192"/>
                          <a:pt x="72644" y="56858"/>
                          <a:pt x="74261" y="48285"/>
                        </a:cubicBezTo>
                        <a:cubicBezTo>
                          <a:pt x="75877" y="39713"/>
                          <a:pt x="74070" y="31045"/>
                          <a:pt x="69221" y="23806"/>
                        </a:cubicBezTo>
                        <a:cubicBezTo>
                          <a:pt x="64276" y="16567"/>
                          <a:pt x="56954" y="11709"/>
                          <a:pt x="48396" y="10090"/>
                        </a:cubicBezTo>
                        <a:cubicBezTo>
                          <a:pt x="39837" y="8471"/>
                          <a:pt x="31184" y="10281"/>
                          <a:pt x="23957" y="15138"/>
                        </a:cubicBezTo>
                        <a:cubicBezTo>
                          <a:pt x="9123" y="25235"/>
                          <a:pt x="5224" y="45618"/>
                          <a:pt x="15303" y="60477"/>
                        </a:cubicBezTo>
                        <a:lnTo>
                          <a:pt x="15303" y="60477"/>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3" name="Freeform 142">
                    <a:extLst>
                      <a:ext uri="{FF2B5EF4-FFF2-40B4-BE49-F238E27FC236}">
                        <a16:creationId xmlns:a16="http://schemas.microsoft.com/office/drawing/2014/main" id="{BA50C4F5-DE95-6B1B-AEB7-7E78A1F7B248}"/>
                      </a:ext>
                    </a:extLst>
                  </p:cNvPr>
                  <p:cNvSpPr/>
                  <p:nvPr/>
                </p:nvSpPr>
                <p:spPr>
                  <a:xfrm>
                    <a:off x="11117081" y="2515599"/>
                    <a:ext cx="84192" cy="84380"/>
                  </a:xfrm>
                  <a:custGeom>
                    <a:avLst/>
                    <a:gdLst>
                      <a:gd name="connsiteX0" fmla="*/ 42215 w 84192"/>
                      <a:gd name="connsiteY0" fmla="*/ 84381 h 84380"/>
                      <a:gd name="connsiteX1" fmla="*/ 34227 w 84192"/>
                      <a:gd name="connsiteY1" fmla="*/ 83619 h 84380"/>
                      <a:gd name="connsiteX2" fmla="*/ 7316 w 84192"/>
                      <a:gd name="connsiteY2" fmla="*/ 65902 h 84380"/>
                      <a:gd name="connsiteX3" fmla="*/ 7316 w 84192"/>
                      <a:gd name="connsiteY3" fmla="*/ 65902 h 84380"/>
                      <a:gd name="connsiteX4" fmla="*/ 754 w 84192"/>
                      <a:gd name="connsiteY4" fmla="*/ 34279 h 84380"/>
                      <a:gd name="connsiteX5" fmla="*/ 18442 w 84192"/>
                      <a:gd name="connsiteY5" fmla="*/ 7324 h 84380"/>
                      <a:gd name="connsiteX6" fmla="*/ 76923 w 84192"/>
                      <a:gd name="connsiteY6" fmla="*/ 18468 h 84380"/>
                      <a:gd name="connsiteX7" fmla="*/ 65797 w 84192"/>
                      <a:gd name="connsiteY7" fmla="*/ 77047 h 84380"/>
                      <a:gd name="connsiteX8" fmla="*/ 42215 w 84192"/>
                      <a:gd name="connsiteY8" fmla="*/ 84381 h 84380"/>
                      <a:gd name="connsiteX9" fmla="*/ 42119 w 84192"/>
                      <a:gd name="connsiteY9" fmla="*/ 9514 h 84380"/>
                      <a:gd name="connsiteX10" fmla="*/ 23862 w 84192"/>
                      <a:gd name="connsiteY10" fmla="*/ 15134 h 84380"/>
                      <a:gd name="connsiteX11" fmla="*/ 10169 w 84192"/>
                      <a:gd name="connsiteY11" fmla="*/ 35994 h 84380"/>
                      <a:gd name="connsiteX12" fmla="*/ 15209 w 84192"/>
                      <a:gd name="connsiteY12" fmla="*/ 60473 h 84380"/>
                      <a:gd name="connsiteX13" fmla="*/ 15209 w 84192"/>
                      <a:gd name="connsiteY13" fmla="*/ 60473 h 84380"/>
                      <a:gd name="connsiteX14" fmla="*/ 36033 w 84192"/>
                      <a:gd name="connsiteY14" fmla="*/ 74189 h 84380"/>
                      <a:gd name="connsiteX15" fmla="*/ 60472 w 84192"/>
                      <a:gd name="connsiteY15" fmla="*/ 69141 h 84380"/>
                      <a:gd name="connsiteX16" fmla="*/ 69126 w 84192"/>
                      <a:gd name="connsiteY16" fmla="*/ 23802 h 84380"/>
                      <a:gd name="connsiteX17" fmla="*/ 42119 w 84192"/>
                      <a:gd name="connsiteY17" fmla="*/ 9514 h 8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2" h="84380">
                        <a:moveTo>
                          <a:pt x="42215" y="84381"/>
                        </a:moveTo>
                        <a:cubicBezTo>
                          <a:pt x="39552" y="84381"/>
                          <a:pt x="36889" y="84095"/>
                          <a:pt x="34227" y="83619"/>
                        </a:cubicBezTo>
                        <a:cubicBezTo>
                          <a:pt x="23196" y="81523"/>
                          <a:pt x="13592" y="75237"/>
                          <a:pt x="7316" y="65902"/>
                        </a:cubicBezTo>
                        <a:lnTo>
                          <a:pt x="7316" y="65902"/>
                        </a:lnTo>
                        <a:cubicBezTo>
                          <a:pt x="945" y="56568"/>
                          <a:pt x="-1338" y="45328"/>
                          <a:pt x="754" y="34279"/>
                        </a:cubicBezTo>
                        <a:cubicBezTo>
                          <a:pt x="2846" y="23230"/>
                          <a:pt x="9122" y="13610"/>
                          <a:pt x="18442" y="7324"/>
                        </a:cubicBezTo>
                        <a:cubicBezTo>
                          <a:pt x="37650" y="-5821"/>
                          <a:pt x="63896" y="-773"/>
                          <a:pt x="76923" y="18468"/>
                        </a:cubicBezTo>
                        <a:cubicBezTo>
                          <a:pt x="89951" y="37708"/>
                          <a:pt x="85006" y="63997"/>
                          <a:pt x="65797" y="77047"/>
                        </a:cubicBezTo>
                        <a:cubicBezTo>
                          <a:pt x="58761" y="81904"/>
                          <a:pt x="50583" y="84381"/>
                          <a:pt x="42215" y="84381"/>
                        </a:cubicBezTo>
                        <a:close/>
                        <a:moveTo>
                          <a:pt x="42119" y="9514"/>
                        </a:moveTo>
                        <a:cubicBezTo>
                          <a:pt x="35748" y="9514"/>
                          <a:pt x="29377" y="11324"/>
                          <a:pt x="23862" y="15134"/>
                        </a:cubicBezTo>
                        <a:cubicBezTo>
                          <a:pt x="16635" y="20087"/>
                          <a:pt x="11785" y="27421"/>
                          <a:pt x="10169" y="35994"/>
                        </a:cubicBezTo>
                        <a:cubicBezTo>
                          <a:pt x="8552" y="44566"/>
                          <a:pt x="10359" y="53234"/>
                          <a:pt x="15209" y="60473"/>
                        </a:cubicBezTo>
                        <a:lnTo>
                          <a:pt x="15209" y="60473"/>
                        </a:lnTo>
                        <a:cubicBezTo>
                          <a:pt x="20153" y="67712"/>
                          <a:pt x="27475" y="72570"/>
                          <a:pt x="36033" y="74189"/>
                        </a:cubicBezTo>
                        <a:cubicBezTo>
                          <a:pt x="44592" y="75808"/>
                          <a:pt x="53245" y="73999"/>
                          <a:pt x="60472" y="69141"/>
                        </a:cubicBezTo>
                        <a:cubicBezTo>
                          <a:pt x="75306" y="59044"/>
                          <a:pt x="79205" y="38661"/>
                          <a:pt x="69126" y="23802"/>
                        </a:cubicBezTo>
                        <a:cubicBezTo>
                          <a:pt x="62849" y="14563"/>
                          <a:pt x="52580" y="9514"/>
                          <a:pt x="42119" y="9514"/>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144" name="Group 143">
                <a:extLst>
                  <a:ext uri="{FF2B5EF4-FFF2-40B4-BE49-F238E27FC236}">
                    <a16:creationId xmlns:a16="http://schemas.microsoft.com/office/drawing/2014/main" id="{91D88BC9-095C-57FD-1F6E-FBA8856A052C}"/>
                  </a:ext>
                </a:extLst>
              </p:cNvPr>
              <p:cNvGrpSpPr>
                <a:grpSpLocks noChangeAspect="1"/>
              </p:cNvGrpSpPr>
              <p:nvPr/>
            </p:nvGrpSpPr>
            <p:grpSpPr>
              <a:xfrm>
                <a:off x="1723708" y="1911210"/>
                <a:ext cx="2012284" cy="2230371"/>
                <a:chOff x="-2844613" y="205872"/>
                <a:chExt cx="466792" cy="517382"/>
              </a:xfrm>
            </p:grpSpPr>
            <p:sp>
              <p:nvSpPr>
                <p:cNvPr id="145" name="Hexagon 144">
                  <a:extLst>
                    <a:ext uri="{FF2B5EF4-FFF2-40B4-BE49-F238E27FC236}">
                      <a16:creationId xmlns:a16="http://schemas.microsoft.com/office/drawing/2014/main" id="{CB914458-B831-2692-B936-724997AE0EC3}"/>
                    </a:ext>
                  </a:extLst>
                </p:cNvPr>
                <p:cNvSpPr/>
                <p:nvPr/>
              </p:nvSpPr>
              <p:spPr>
                <a:xfrm rot="5400000">
                  <a:off x="-2869908" y="231167"/>
                  <a:ext cx="517382" cy="466792"/>
                </a:xfrm>
                <a:prstGeom prst="hexagon">
                  <a:avLst>
                    <a:gd name="adj" fmla="val 25000"/>
                    <a:gd name="vf" fmla="val 115470"/>
                  </a:avLst>
                </a:prstGeom>
                <a:solidFill>
                  <a:srgbClr val="00305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46" name="Graphic 78">
                  <a:extLst>
                    <a:ext uri="{FF2B5EF4-FFF2-40B4-BE49-F238E27FC236}">
                      <a16:creationId xmlns:a16="http://schemas.microsoft.com/office/drawing/2014/main" id="{FEC860C0-58CF-3F2E-4DF7-A00C00FC8740}"/>
                    </a:ext>
                  </a:extLst>
                </p:cNvPr>
                <p:cNvGrpSpPr/>
                <p:nvPr/>
              </p:nvGrpSpPr>
              <p:grpSpPr>
                <a:xfrm>
                  <a:off x="-2767671" y="272799"/>
                  <a:ext cx="306916" cy="362856"/>
                  <a:chOff x="12205526" y="977866"/>
                  <a:chExt cx="289577" cy="342357"/>
                </a:xfrm>
                <a:solidFill>
                  <a:schemeClr val="bg1"/>
                </a:solidFill>
              </p:grpSpPr>
              <p:sp>
                <p:nvSpPr>
                  <p:cNvPr id="147" name="Freeform 146">
                    <a:extLst>
                      <a:ext uri="{FF2B5EF4-FFF2-40B4-BE49-F238E27FC236}">
                        <a16:creationId xmlns:a16="http://schemas.microsoft.com/office/drawing/2014/main" id="{D66A1258-E252-9E03-A9DE-1801D818DB22}"/>
                      </a:ext>
                    </a:extLst>
                  </p:cNvPr>
                  <p:cNvSpPr/>
                  <p:nvPr/>
                </p:nvSpPr>
                <p:spPr>
                  <a:xfrm>
                    <a:off x="12206944" y="979632"/>
                    <a:ext cx="153790" cy="338972"/>
                  </a:xfrm>
                  <a:custGeom>
                    <a:avLst/>
                    <a:gdLst>
                      <a:gd name="connsiteX0" fmla="*/ 150799 w 153790"/>
                      <a:gd name="connsiteY0" fmla="*/ 338973 h 338972"/>
                      <a:gd name="connsiteX1" fmla="*/ 147756 w 153790"/>
                      <a:gd name="connsiteY1" fmla="*/ 336401 h 338972"/>
                      <a:gd name="connsiteX2" fmla="*/ 111431 w 153790"/>
                      <a:gd name="connsiteY2" fmla="*/ 115231 h 338972"/>
                      <a:gd name="connsiteX3" fmla="*/ 61032 w 153790"/>
                      <a:gd name="connsiteY3" fmla="*/ 134852 h 338972"/>
                      <a:gd name="connsiteX4" fmla="*/ 59320 w 153790"/>
                      <a:gd name="connsiteY4" fmla="*/ 135043 h 338972"/>
                      <a:gd name="connsiteX5" fmla="*/ 2455 w 153790"/>
                      <a:gd name="connsiteY5" fmla="*/ 123041 h 338972"/>
                      <a:gd name="connsiteX6" fmla="*/ 78 w 153790"/>
                      <a:gd name="connsiteY6" fmla="*/ 119422 h 338972"/>
                      <a:gd name="connsiteX7" fmla="*/ 3691 w 153790"/>
                      <a:gd name="connsiteY7" fmla="*/ 117040 h 338972"/>
                      <a:gd name="connsiteX8" fmla="*/ 59701 w 153790"/>
                      <a:gd name="connsiteY8" fmla="*/ 128851 h 338972"/>
                      <a:gd name="connsiteX9" fmla="*/ 109624 w 153790"/>
                      <a:gd name="connsiteY9" fmla="*/ 109420 h 338972"/>
                      <a:gd name="connsiteX10" fmla="*/ 58179 w 153790"/>
                      <a:gd name="connsiteY10" fmla="*/ 4455 h 338972"/>
                      <a:gd name="connsiteX11" fmla="*/ 58940 w 153790"/>
                      <a:gd name="connsiteY11" fmla="*/ 740 h 338972"/>
                      <a:gd name="connsiteX12" fmla="*/ 62744 w 153790"/>
                      <a:gd name="connsiteY12" fmla="*/ 550 h 338972"/>
                      <a:gd name="connsiteX13" fmla="*/ 145093 w 153790"/>
                      <a:gd name="connsiteY13" fmla="*/ 59033 h 338972"/>
                      <a:gd name="connsiteX14" fmla="*/ 145949 w 153790"/>
                      <a:gd name="connsiteY14" fmla="*/ 63129 h 338972"/>
                      <a:gd name="connsiteX15" fmla="*/ 117041 w 153790"/>
                      <a:gd name="connsiteY15" fmla="*/ 111611 h 338972"/>
                      <a:gd name="connsiteX16" fmla="*/ 153747 w 153790"/>
                      <a:gd name="connsiteY16" fmla="*/ 335449 h 338972"/>
                      <a:gd name="connsiteX17" fmla="*/ 151179 w 153790"/>
                      <a:gd name="connsiteY17" fmla="*/ 338973 h 338972"/>
                      <a:gd name="connsiteX18" fmla="*/ 150704 w 153790"/>
                      <a:gd name="connsiteY18" fmla="*/ 338973 h 338972"/>
                      <a:gd name="connsiteX19" fmla="*/ 69115 w 153790"/>
                      <a:gd name="connsiteY19" fmla="*/ 12456 h 338972"/>
                      <a:gd name="connsiteX20" fmla="*/ 114188 w 153790"/>
                      <a:gd name="connsiteY20" fmla="*/ 104467 h 338972"/>
                      <a:gd name="connsiteX21" fmla="*/ 139293 w 153790"/>
                      <a:gd name="connsiteY21" fmla="*/ 62272 h 338972"/>
                      <a:gd name="connsiteX22" fmla="*/ 69115 w 153790"/>
                      <a:gd name="connsiteY22" fmla="*/ 12456 h 3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790" h="338972">
                        <a:moveTo>
                          <a:pt x="150799" y="338973"/>
                        </a:moveTo>
                        <a:cubicBezTo>
                          <a:pt x="149277" y="338973"/>
                          <a:pt x="148041" y="337925"/>
                          <a:pt x="147756" y="336401"/>
                        </a:cubicBezTo>
                        <a:lnTo>
                          <a:pt x="111431" y="115231"/>
                        </a:lnTo>
                        <a:lnTo>
                          <a:pt x="61032" y="134852"/>
                        </a:lnTo>
                        <a:cubicBezTo>
                          <a:pt x="60461" y="135043"/>
                          <a:pt x="59891" y="135138"/>
                          <a:pt x="59320" y="135043"/>
                        </a:cubicBezTo>
                        <a:lnTo>
                          <a:pt x="2455" y="123041"/>
                        </a:lnTo>
                        <a:cubicBezTo>
                          <a:pt x="744" y="122660"/>
                          <a:pt x="-302" y="121041"/>
                          <a:pt x="78" y="119422"/>
                        </a:cubicBezTo>
                        <a:cubicBezTo>
                          <a:pt x="458" y="117707"/>
                          <a:pt x="2075" y="116659"/>
                          <a:pt x="3691" y="117040"/>
                        </a:cubicBezTo>
                        <a:lnTo>
                          <a:pt x="59701" y="128851"/>
                        </a:lnTo>
                        <a:lnTo>
                          <a:pt x="109624" y="109420"/>
                        </a:lnTo>
                        <a:lnTo>
                          <a:pt x="58179" y="4455"/>
                        </a:lnTo>
                        <a:cubicBezTo>
                          <a:pt x="57514" y="3217"/>
                          <a:pt x="57894" y="1693"/>
                          <a:pt x="58940" y="740"/>
                        </a:cubicBezTo>
                        <a:cubicBezTo>
                          <a:pt x="59986" y="-212"/>
                          <a:pt x="61602" y="-212"/>
                          <a:pt x="62744" y="550"/>
                        </a:cubicBezTo>
                        <a:lnTo>
                          <a:pt x="145093" y="59033"/>
                        </a:lnTo>
                        <a:cubicBezTo>
                          <a:pt x="146425" y="59986"/>
                          <a:pt x="146805" y="61700"/>
                          <a:pt x="145949" y="63129"/>
                        </a:cubicBezTo>
                        <a:lnTo>
                          <a:pt x="117041" y="111611"/>
                        </a:lnTo>
                        <a:lnTo>
                          <a:pt x="153747" y="335449"/>
                        </a:lnTo>
                        <a:cubicBezTo>
                          <a:pt x="154032" y="337163"/>
                          <a:pt x="152891" y="338687"/>
                          <a:pt x="151179" y="338973"/>
                        </a:cubicBezTo>
                        <a:cubicBezTo>
                          <a:pt x="150989" y="338973"/>
                          <a:pt x="150799" y="338973"/>
                          <a:pt x="150704" y="338973"/>
                        </a:cubicBezTo>
                        <a:close/>
                        <a:moveTo>
                          <a:pt x="69115" y="12456"/>
                        </a:moveTo>
                        <a:lnTo>
                          <a:pt x="114188" y="104467"/>
                        </a:lnTo>
                        <a:lnTo>
                          <a:pt x="139293" y="62272"/>
                        </a:lnTo>
                        <a:lnTo>
                          <a:pt x="69115" y="1245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8" name="Freeform 147">
                    <a:extLst>
                      <a:ext uri="{FF2B5EF4-FFF2-40B4-BE49-F238E27FC236}">
                        <a16:creationId xmlns:a16="http://schemas.microsoft.com/office/drawing/2014/main" id="{690998BE-513C-5AFD-15A9-DD97345A1D9B}"/>
                      </a:ext>
                    </a:extLst>
                  </p:cNvPr>
                  <p:cNvSpPr/>
                  <p:nvPr/>
                </p:nvSpPr>
                <p:spPr>
                  <a:xfrm>
                    <a:off x="12205526" y="977866"/>
                    <a:ext cx="156659" cy="342167"/>
                  </a:xfrm>
                  <a:custGeom>
                    <a:avLst/>
                    <a:gdLst>
                      <a:gd name="connsiteX0" fmla="*/ 152217 w 156659"/>
                      <a:gd name="connsiteY0" fmla="*/ 342167 h 342167"/>
                      <a:gd name="connsiteX1" fmla="*/ 147748 w 156659"/>
                      <a:gd name="connsiteY1" fmla="*/ 338357 h 342167"/>
                      <a:gd name="connsiteX2" fmla="*/ 111708 w 156659"/>
                      <a:gd name="connsiteY2" fmla="*/ 118901 h 342167"/>
                      <a:gd name="connsiteX3" fmla="*/ 63021 w 156659"/>
                      <a:gd name="connsiteY3" fmla="*/ 137856 h 342167"/>
                      <a:gd name="connsiteX4" fmla="*/ 60453 w 156659"/>
                      <a:gd name="connsiteY4" fmla="*/ 138047 h 342167"/>
                      <a:gd name="connsiteX5" fmla="*/ 3588 w 156659"/>
                      <a:gd name="connsiteY5" fmla="*/ 126045 h 342167"/>
                      <a:gd name="connsiteX6" fmla="*/ 736 w 156659"/>
                      <a:gd name="connsiteY6" fmla="*/ 124045 h 342167"/>
                      <a:gd name="connsiteX7" fmla="*/ 70 w 156659"/>
                      <a:gd name="connsiteY7" fmla="*/ 120616 h 342167"/>
                      <a:gd name="connsiteX8" fmla="*/ 5395 w 156659"/>
                      <a:gd name="connsiteY8" fmla="*/ 117092 h 342167"/>
                      <a:gd name="connsiteX9" fmla="*/ 60929 w 156659"/>
                      <a:gd name="connsiteY9" fmla="*/ 128807 h 342167"/>
                      <a:gd name="connsiteX10" fmla="*/ 108950 w 156659"/>
                      <a:gd name="connsiteY10" fmla="*/ 110043 h 342167"/>
                      <a:gd name="connsiteX11" fmla="*/ 58266 w 156659"/>
                      <a:gd name="connsiteY11" fmla="*/ 6506 h 342167"/>
                      <a:gd name="connsiteX12" fmla="*/ 59407 w 156659"/>
                      <a:gd name="connsiteY12" fmla="*/ 1077 h 342167"/>
                      <a:gd name="connsiteX13" fmla="*/ 64923 w 156659"/>
                      <a:gd name="connsiteY13" fmla="*/ 791 h 342167"/>
                      <a:gd name="connsiteX14" fmla="*/ 147272 w 156659"/>
                      <a:gd name="connsiteY14" fmla="*/ 59275 h 342167"/>
                      <a:gd name="connsiteX15" fmla="*/ 148509 w 156659"/>
                      <a:gd name="connsiteY15" fmla="*/ 65276 h 342167"/>
                      <a:gd name="connsiteX16" fmla="*/ 119886 w 156659"/>
                      <a:gd name="connsiteY16" fmla="*/ 113377 h 342167"/>
                      <a:gd name="connsiteX17" fmla="*/ 156591 w 156659"/>
                      <a:gd name="connsiteY17" fmla="*/ 336738 h 342167"/>
                      <a:gd name="connsiteX18" fmla="*/ 155831 w 156659"/>
                      <a:gd name="connsiteY18" fmla="*/ 340072 h 342167"/>
                      <a:gd name="connsiteX19" fmla="*/ 152883 w 156659"/>
                      <a:gd name="connsiteY19" fmla="*/ 341882 h 342167"/>
                      <a:gd name="connsiteX20" fmla="*/ 152122 w 156659"/>
                      <a:gd name="connsiteY20" fmla="*/ 341882 h 342167"/>
                      <a:gd name="connsiteX21" fmla="*/ 113990 w 156659"/>
                      <a:gd name="connsiteY21" fmla="*/ 114996 h 342167"/>
                      <a:gd name="connsiteX22" fmla="*/ 114275 w 156659"/>
                      <a:gd name="connsiteY22" fmla="*/ 116711 h 342167"/>
                      <a:gd name="connsiteX23" fmla="*/ 150601 w 156659"/>
                      <a:gd name="connsiteY23" fmla="*/ 337881 h 342167"/>
                      <a:gd name="connsiteX24" fmla="*/ 152502 w 156659"/>
                      <a:gd name="connsiteY24" fmla="*/ 339215 h 342167"/>
                      <a:gd name="connsiteX25" fmla="*/ 153549 w 156659"/>
                      <a:gd name="connsiteY25" fmla="*/ 338548 h 342167"/>
                      <a:gd name="connsiteX26" fmla="*/ 153834 w 156659"/>
                      <a:gd name="connsiteY26" fmla="*/ 337310 h 342167"/>
                      <a:gd name="connsiteX27" fmla="*/ 117033 w 156659"/>
                      <a:gd name="connsiteY27" fmla="*/ 112996 h 342167"/>
                      <a:gd name="connsiteX28" fmla="*/ 117319 w 156659"/>
                      <a:gd name="connsiteY28" fmla="*/ 112520 h 342167"/>
                      <a:gd name="connsiteX29" fmla="*/ 146226 w 156659"/>
                      <a:gd name="connsiteY29" fmla="*/ 64037 h 342167"/>
                      <a:gd name="connsiteX30" fmla="*/ 145751 w 156659"/>
                      <a:gd name="connsiteY30" fmla="*/ 61847 h 342167"/>
                      <a:gd name="connsiteX31" fmla="*/ 63401 w 156659"/>
                      <a:gd name="connsiteY31" fmla="*/ 3363 h 342167"/>
                      <a:gd name="connsiteX32" fmla="*/ 61404 w 156659"/>
                      <a:gd name="connsiteY32" fmla="*/ 3363 h 342167"/>
                      <a:gd name="connsiteX33" fmla="*/ 61024 w 156659"/>
                      <a:gd name="connsiteY33" fmla="*/ 5363 h 342167"/>
                      <a:gd name="connsiteX34" fmla="*/ 113134 w 156659"/>
                      <a:gd name="connsiteY34" fmla="*/ 111758 h 342167"/>
                      <a:gd name="connsiteX35" fmla="*/ 61404 w 156659"/>
                      <a:gd name="connsiteY35" fmla="*/ 131951 h 342167"/>
                      <a:gd name="connsiteX36" fmla="*/ 61024 w 156659"/>
                      <a:gd name="connsiteY36" fmla="*/ 131951 h 342167"/>
                      <a:gd name="connsiteX37" fmla="*/ 5015 w 156659"/>
                      <a:gd name="connsiteY37" fmla="*/ 120044 h 342167"/>
                      <a:gd name="connsiteX38" fmla="*/ 3018 w 156659"/>
                      <a:gd name="connsiteY38" fmla="*/ 121283 h 342167"/>
                      <a:gd name="connsiteX39" fmla="*/ 3208 w 156659"/>
                      <a:gd name="connsiteY39" fmla="*/ 122521 h 342167"/>
                      <a:gd name="connsiteX40" fmla="*/ 4254 w 156659"/>
                      <a:gd name="connsiteY40" fmla="*/ 123188 h 342167"/>
                      <a:gd name="connsiteX41" fmla="*/ 61119 w 156659"/>
                      <a:gd name="connsiteY41" fmla="*/ 135189 h 342167"/>
                      <a:gd name="connsiteX42" fmla="*/ 62070 w 156659"/>
                      <a:gd name="connsiteY42" fmla="*/ 135189 h 342167"/>
                      <a:gd name="connsiteX43" fmla="*/ 114085 w 156659"/>
                      <a:gd name="connsiteY43" fmla="*/ 114901 h 342167"/>
                      <a:gd name="connsiteX44" fmla="*/ 115417 w 156659"/>
                      <a:gd name="connsiteY44" fmla="*/ 109281 h 342167"/>
                      <a:gd name="connsiteX45" fmla="*/ 66729 w 156659"/>
                      <a:gd name="connsiteY45" fmla="*/ 9935 h 342167"/>
                      <a:gd name="connsiteX46" fmla="*/ 142518 w 156659"/>
                      <a:gd name="connsiteY46" fmla="*/ 63752 h 342167"/>
                      <a:gd name="connsiteX47" fmla="*/ 115417 w 156659"/>
                      <a:gd name="connsiteY47" fmla="*/ 109281 h 342167"/>
                      <a:gd name="connsiteX48" fmla="*/ 74242 w 156659"/>
                      <a:gd name="connsiteY48" fmla="*/ 18698 h 342167"/>
                      <a:gd name="connsiteX49" fmla="*/ 115702 w 156659"/>
                      <a:gd name="connsiteY49" fmla="*/ 103280 h 342167"/>
                      <a:gd name="connsiteX50" fmla="*/ 138714 w 156659"/>
                      <a:gd name="connsiteY50" fmla="*/ 64514 h 342167"/>
                      <a:gd name="connsiteX51" fmla="*/ 74242 w 156659"/>
                      <a:gd name="connsiteY51" fmla="*/ 18698 h 3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659" h="342167">
                        <a:moveTo>
                          <a:pt x="152217" y="342167"/>
                        </a:moveTo>
                        <a:cubicBezTo>
                          <a:pt x="150030" y="342167"/>
                          <a:pt x="148128" y="340548"/>
                          <a:pt x="147748" y="338357"/>
                        </a:cubicBezTo>
                        <a:lnTo>
                          <a:pt x="111708" y="118901"/>
                        </a:lnTo>
                        <a:lnTo>
                          <a:pt x="63021" y="137856"/>
                        </a:lnTo>
                        <a:cubicBezTo>
                          <a:pt x="62260" y="138142"/>
                          <a:pt x="61309" y="138237"/>
                          <a:pt x="60453" y="138047"/>
                        </a:cubicBezTo>
                        <a:lnTo>
                          <a:pt x="3588" y="126045"/>
                        </a:lnTo>
                        <a:cubicBezTo>
                          <a:pt x="2447" y="125759"/>
                          <a:pt x="1401" y="125093"/>
                          <a:pt x="736" y="124045"/>
                        </a:cubicBezTo>
                        <a:cubicBezTo>
                          <a:pt x="70" y="122997"/>
                          <a:pt x="-120" y="121854"/>
                          <a:pt x="70" y="120616"/>
                        </a:cubicBezTo>
                        <a:cubicBezTo>
                          <a:pt x="545" y="118235"/>
                          <a:pt x="2922" y="116615"/>
                          <a:pt x="5395" y="117092"/>
                        </a:cubicBezTo>
                        <a:lnTo>
                          <a:pt x="60929" y="128807"/>
                        </a:lnTo>
                        <a:lnTo>
                          <a:pt x="108950" y="110043"/>
                        </a:lnTo>
                        <a:lnTo>
                          <a:pt x="58266" y="6506"/>
                        </a:lnTo>
                        <a:cubicBezTo>
                          <a:pt x="57315" y="4697"/>
                          <a:pt x="57791" y="2411"/>
                          <a:pt x="59407" y="1077"/>
                        </a:cubicBezTo>
                        <a:cubicBezTo>
                          <a:pt x="61024" y="-256"/>
                          <a:pt x="63211" y="-352"/>
                          <a:pt x="64923" y="791"/>
                        </a:cubicBezTo>
                        <a:lnTo>
                          <a:pt x="147272" y="59275"/>
                        </a:lnTo>
                        <a:cubicBezTo>
                          <a:pt x="149174" y="60608"/>
                          <a:pt x="149745" y="63275"/>
                          <a:pt x="148509" y="65276"/>
                        </a:cubicBezTo>
                        <a:lnTo>
                          <a:pt x="119886" y="113377"/>
                        </a:lnTo>
                        <a:lnTo>
                          <a:pt x="156591" y="336738"/>
                        </a:lnTo>
                        <a:cubicBezTo>
                          <a:pt x="156782" y="337881"/>
                          <a:pt x="156591" y="339119"/>
                          <a:pt x="155831" y="340072"/>
                        </a:cubicBezTo>
                        <a:cubicBezTo>
                          <a:pt x="155070" y="341024"/>
                          <a:pt x="154119" y="341691"/>
                          <a:pt x="152883" y="341882"/>
                        </a:cubicBezTo>
                        <a:cubicBezTo>
                          <a:pt x="152598" y="341882"/>
                          <a:pt x="152407" y="341882"/>
                          <a:pt x="152122" y="341882"/>
                        </a:cubicBezTo>
                        <a:close/>
                        <a:moveTo>
                          <a:pt x="113990" y="114996"/>
                        </a:moveTo>
                        <a:lnTo>
                          <a:pt x="114275" y="116711"/>
                        </a:lnTo>
                        <a:lnTo>
                          <a:pt x="150601" y="337881"/>
                        </a:lnTo>
                        <a:cubicBezTo>
                          <a:pt x="150791" y="338738"/>
                          <a:pt x="151647" y="339405"/>
                          <a:pt x="152502" y="339215"/>
                        </a:cubicBezTo>
                        <a:cubicBezTo>
                          <a:pt x="152978" y="339215"/>
                          <a:pt x="153358" y="338929"/>
                          <a:pt x="153549" y="338548"/>
                        </a:cubicBezTo>
                        <a:cubicBezTo>
                          <a:pt x="153834" y="338167"/>
                          <a:pt x="153929" y="337786"/>
                          <a:pt x="153834" y="337310"/>
                        </a:cubicBezTo>
                        <a:lnTo>
                          <a:pt x="117033" y="112996"/>
                        </a:lnTo>
                        <a:lnTo>
                          <a:pt x="117319" y="112520"/>
                        </a:lnTo>
                        <a:lnTo>
                          <a:pt x="146226" y="64037"/>
                        </a:lnTo>
                        <a:cubicBezTo>
                          <a:pt x="146702" y="63275"/>
                          <a:pt x="146417" y="62323"/>
                          <a:pt x="145751" y="61847"/>
                        </a:cubicBezTo>
                        <a:lnTo>
                          <a:pt x="63401" y="3363"/>
                        </a:lnTo>
                        <a:cubicBezTo>
                          <a:pt x="62831" y="2887"/>
                          <a:pt x="61975" y="2982"/>
                          <a:pt x="61404" y="3363"/>
                        </a:cubicBezTo>
                        <a:cubicBezTo>
                          <a:pt x="60834" y="3839"/>
                          <a:pt x="60643" y="4697"/>
                          <a:pt x="61024" y="5363"/>
                        </a:cubicBezTo>
                        <a:lnTo>
                          <a:pt x="113134" y="111758"/>
                        </a:lnTo>
                        <a:lnTo>
                          <a:pt x="61404" y="131951"/>
                        </a:lnTo>
                        <a:lnTo>
                          <a:pt x="61024" y="131951"/>
                        </a:lnTo>
                        <a:cubicBezTo>
                          <a:pt x="61024" y="131951"/>
                          <a:pt x="5015" y="120044"/>
                          <a:pt x="5015" y="120044"/>
                        </a:cubicBezTo>
                        <a:cubicBezTo>
                          <a:pt x="4159" y="119854"/>
                          <a:pt x="3208" y="120425"/>
                          <a:pt x="3018" y="121283"/>
                        </a:cubicBezTo>
                        <a:cubicBezTo>
                          <a:pt x="3018" y="121664"/>
                          <a:pt x="3018" y="122140"/>
                          <a:pt x="3208" y="122521"/>
                        </a:cubicBezTo>
                        <a:cubicBezTo>
                          <a:pt x="3493" y="122902"/>
                          <a:pt x="3779" y="123188"/>
                          <a:pt x="4254" y="123188"/>
                        </a:cubicBezTo>
                        <a:lnTo>
                          <a:pt x="61119" y="135189"/>
                        </a:lnTo>
                        <a:cubicBezTo>
                          <a:pt x="61119" y="135189"/>
                          <a:pt x="61784" y="135189"/>
                          <a:pt x="62070" y="135189"/>
                        </a:cubicBezTo>
                        <a:lnTo>
                          <a:pt x="114085" y="114901"/>
                        </a:lnTo>
                        <a:close/>
                        <a:moveTo>
                          <a:pt x="115417" y="109281"/>
                        </a:moveTo>
                        <a:lnTo>
                          <a:pt x="66729" y="9935"/>
                        </a:lnTo>
                        <a:lnTo>
                          <a:pt x="142518" y="63752"/>
                        </a:lnTo>
                        <a:lnTo>
                          <a:pt x="115417" y="109281"/>
                        </a:lnTo>
                        <a:close/>
                        <a:moveTo>
                          <a:pt x="74242" y="18698"/>
                        </a:moveTo>
                        <a:lnTo>
                          <a:pt x="115702" y="103280"/>
                        </a:lnTo>
                        <a:lnTo>
                          <a:pt x="138714" y="64514"/>
                        </a:lnTo>
                        <a:lnTo>
                          <a:pt x="74242" y="18698"/>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9" name="Freeform 148">
                    <a:extLst>
                      <a:ext uri="{FF2B5EF4-FFF2-40B4-BE49-F238E27FC236}">
                        <a16:creationId xmlns:a16="http://schemas.microsoft.com/office/drawing/2014/main" id="{1F047730-3F81-AB22-5205-4DAC460C52A2}"/>
                      </a:ext>
                    </a:extLst>
                  </p:cNvPr>
                  <p:cNvSpPr/>
                  <p:nvPr/>
                </p:nvSpPr>
                <p:spPr>
                  <a:xfrm>
                    <a:off x="12392606" y="1062442"/>
                    <a:ext cx="72913" cy="110621"/>
                  </a:xfrm>
                  <a:custGeom>
                    <a:avLst/>
                    <a:gdLst>
                      <a:gd name="connsiteX0" fmla="*/ 34934 w 72913"/>
                      <a:gd name="connsiteY0" fmla="*/ 110621 h 110621"/>
                      <a:gd name="connsiteX1" fmla="*/ 34934 w 72913"/>
                      <a:gd name="connsiteY1" fmla="*/ 110621 h 110621"/>
                      <a:gd name="connsiteX2" fmla="*/ 32082 w 72913"/>
                      <a:gd name="connsiteY2" fmla="*/ 108430 h 110621"/>
                      <a:gd name="connsiteX3" fmla="*/ 131 w 72913"/>
                      <a:gd name="connsiteY3" fmla="*/ 3941 h 110621"/>
                      <a:gd name="connsiteX4" fmla="*/ 2128 w 72913"/>
                      <a:gd name="connsiteY4" fmla="*/ 131 h 110621"/>
                      <a:gd name="connsiteX5" fmla="*/ 5932 w 72913"/>
                      <a:gd name="connsiteY5" fmla="*/ 2131 h 110621"/>
                      <a:gd name="connsiteX6" fmla="*/ 35220 w 72913"/>
                      <a:gd name="connsiteY6" fmla="*/ 97762 h 110621"/>
                      <a:gd name="connsiteX7" fmla="*/ 66980 w 72913"/>
                      <a:gd name="connsiteY7" fmla="*/ 9942 h 110621"/>
                      <a:gd name="connsiteX8" fmla="*/ 70879 w 72913"/>
                      <a:gd name="connsiteY8" fmla="*/ 8132 h 110621"/>
                      <a:gd name="connsiteX9" fmla="*/ 72686 w 72913"/>
                      <a:gd name="connsiteY9" fmla="*/ 12037 h 110621"/>
                      <a:gd name="connsiteX10" fmla="*/ 37787 w 72913"/>
                      <a:gd name="connsiteY10" fmla="*/ 108526 h 110621"/>
                      <a:gd name="connsiteX11" fmla="*/ 34934 w 72913"/>
                      <a:gd name="connsiteY11" fmla="*/ 110526 h 11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3" h="110621">
                        <a:moveTo>
                          <a:pt x="34934" y="110621"/>
                        </a:moveTo>
                        <a:cubicBezTo>
                          <a:pt x="34934" y="110621"/>
                          <a:pt x="34934" y="110621"/>
                          <a:pt x="34934" y="110621"/>
                        </a:cubicBezTo>
                        <a:cubicBezTo>
                          <a:pt x="33603" y="110621"/>
                          <a:pt x="32462" y="109669"/>
                          <a:pt x="32082" y="108430"/>
                        </a:cubicBezTo>
                        <a:lnTo>
                          <a:pt x="131" y="3941"/>
                        </a:lnTo>
                        <a:cubicBezTo>
                          <a:pt x="-345" y="2322"/>
                          <a:pt x="511" y="607"/>
                          <a:pt x="2128" y="131"/>
                        </a:cubicBezTo>
                        <a:cubicBezTo>
                          <a:pt x="3744" y="-345"/>
                          <a:pt x="5456" y="512"/>
                          <a:pt x="5932" y="2131"/>
                        </a:cubicBezTo>
                        <a:lnTo>
                          <a:pt x="35220" y="97762"/>
                        </a:lnTo>
                        <a:lnTo>
                          <a:pt x="66980" y="9942"/>
                        </a:lnTo>
                        <a:cubicBezTo>
                          <a:pt x="67551" y="8323"/>
                          <a:pt x="69358" y="7561"/>
                          <a:pt x="70879" y="8132"/>
                        </a:cubicBezTo>
                        <a:cubicBezTo>
                          <a:pt x="72496" y="8704"/>
                          <a:pt x="73352" y="10513"/>
                          <a:pt x="72686" y="12037"/>
                        </a:cubicBezTo>
                        <a:lnTo>
                          <a:pt x="37787" y="108526"/>
                        </a:lnTo>
                        <a:cubicBezTo>
                          <a:pt x="37312" y="109764"/>
                          <a:pt x="36171" y="110526"/>
                          <a:pt x="34934" y="11052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0" name="Freeform 149">
                    <a:extLst>
                      <a:ext uri="{FF2B5EF4-FFF2-40B4-BE49-F238E27FC236}">
                        <a16:creationId xmlns:a16="http://schemas.microsoft.com/office/drawing/2014/main" id="{66FD5422-D551-5768-A173-D6D1C0F3082D}"/>
                      </a:ext>
                    </a:extLst>
                  </p:cNvPr>
                  <p:cNvSpPr/>
                  <p:nvPr/>
                </p:nvSpPr>
                <p:spPr>
                  <a:xfrm>
                    <a:off x="12391096" y="1061025"/>
                    <a:ext cx="75856" cy="113466"/>
                  </a:xfrm>
                  <a:custGeom>
                    <a:avLst/>
                    <a:gdLst>
                      <a:gd name="connsiteX0" fmla="*/ 36444 w 75856"/>
                      <a:gd name="connsiteY0" fmla="*/ 113467 h 113466"/>
                      <a:gd name="connsiteX1" fmla="*/ 36444 w 75856"/>
                      <a:gd name="connsiteY1" fmla="*/ 113467 h 113466"/>
                      <a:gd name="connsiteX2" fmla="*/ 32165 w 75856"/>
                      <a:gd name="connsiteY2" fmla="*/ 110324 h 113466"/>
                      <a:gd name="connsiteX3" fmla="*/ 214 w 75856"/>
                      <a:gd name="connsiteY3" fmla="*/ 5834 h 113466"/>
                      <a:gd name="connsiteX4" fmla="*/ 3162 w 75856"/>
                      <a:gd name="connsiteY4" fmla="*/ 215 h 113466"/>
                      <a:gd name="connsiteX5" fmla="*/ 8772 w 75856"/>
                      <a:gd name="connsiteY5" fmla="*/ 3167 h 113466"/>
                      <a:gd name="connsiteX6" fmla="*/ 36729 w 75856"/>
                      <a:gd name="connsiteY6" fmla="*/ 94703 h 113466"/>
                      <a:gd name="connsiteX7" fmla="*/ 67064 w 75856"/>
                      <a:gd name="connsiteY7" fmla="*/ 10883 h 113466"/>
                      <a:gd name="connsiteX8" fmla="*/ 72865 w 75856"/>
                      <a:gd name="connsiteY8" fmla="*/ 8216 h 113466"/>
                      <a:gd name="connsiteX9" fmla="*/ 75622 w 75856"/>
                      <a:gd name="connsiteY9" fmla="*/ 14026 h 113466"/>
                      <a:gd name="connsiteX10" fmla="*/ 40723 w 75856"/>
                      <a:gd name="connsiteY10" fmla="*/ 110514 h 113466"/>
                      <a:gd name="connsiteX11" fmla="*/ 36444 w 75856"/>
                      <a:gd name="connsiteY11" fmla="*/ 113467 h 113466"/>
                      <a:gd name="connsiteX12" fmla="*/ 4493 w 75856"/>
                      <a:gd name="connsiteY12" fmla="*/ 2786 h 113466"/>
                      <a:gd name="connsiteX13" fmla="*/ 4018 w 75856"/>
                      <a:gd name="connsiteY13" fmla="*/ 2786 h 113466"/>
                      <a:gd name="connsiteX14" fmla="*/ 2877 w 75856"/>
                      <a:gd name="connsiteY14" fmla="*/ 4882 h 113466"/>
                      <a:gd name="connsiteX15" fmla="*/ 34828 w 75856"/>
                      <a:gd name="connsiteY15" fmla="*/ 109371 h 113466"/>
                      <a:gd name="connsiteX16" fmla="*/ 36349 w 75856"/>
                      <a:gd name="connsiteY16" fmla="*/ 110514 h 113466"/>
                      <a:gd name="connsiteX17" fmla="*/ 36349 w 75856"/>
                      <a:gd name="connsiteY17" fmla="*/ 111943 h 113466"/>
                      <a:gd name="connsiteX18" fmla="*/ 36349 w 75856"/>
                      <a:gd name="connsiteY18" fmla="*/ 110514 h 113466"/>
                      <a:gd name="connsiteX19" fmla="*/ 37871 w 75856"/>
                      <a:gd name="connsiteY19" fmla="*/ 109466 h 113466"/>
                      <a:gd name="connsiteX20" fmla="*/ 72769 w 75856"/>
                      <a:gd name="connsiteY20" fmla="*/ 12978 h 113466"/>
                      <a:gd name="connsiteX21" fmla="*/ 71818 w 75856"/>
                      <a:gd name="connsiteY21" fmla="*/ 10883 h 113466"/>
                      <a:gd name="connsiteX22" fmla="*/ 69726 w 75856"/>
                      <a:gd name="connsiteY22" fmla="*/ 11835 h 113466"/>
                      <a:gd name="connsiteX23" fmla="*/ 36444 w 75856"/>
                      <a:gd name="connsiteY23" fmla="*/ 103656 h 113466"/>
                      <a:gd name="connsiteX24" fmla="*/ 5920 w 75856"/>
                      <a:gd name="connsiteY24" fmla="*/ 3929 h 113466"/>
                      <a:gd name="connsiteX25" fmla="*/ 4303 w 75856"/>
                      <a:gd name="connsiteY25" fmla="*/ 2786 h 1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856" h="113466">
                        <a:moveTo>
                          <a:pt x="36444" y="113467"/>
                        </a:moveTo>
                        <a:lnTo>
                          <a:pt x="36444" y="113467"/>
                        </a:lnTo>
                        <a:cubicBezTo>
                          <a:pt x="34447" y="113467"/>
                          <a:pt x="32831" y="112133"/>
                          <a:pt x="32165" y="110324"/>
                        </a:cubicBezTo>
                        <a:lnTo>
                          <a:pt x="214" y="5834"/>
                        </a:lnTo>
                        <a:cubicBezTo>
                          <a:pt x="-546" y="3453"/>
                          <a:pt x="785" y="881"/>
                          <a:pt x="3162" y="215"/>
                        </a:cubicBezTo>
                        <a:cubicBezTo>
                          <a:pt x="5539" y="-547"/>
                          <a:pt x="8012" y="786"/>
                          <a:pt x="8772" y="3167"/>
                        </a:cubicBezTo>
                        <a:lnTo>
                          <a:pt x="36729" y="94703"/>
                        </a:lnTo>
                        <a:lnTo>
                          <a:pt x="67064" y="10883"/>
                        </a:lnTo>
                        <a:cubicBezTo>
                          <a:pt x="67920" y="8501"/>
                          <a:pt x="70487" y="7358"/>
                          <a:pt x="72865" y="8216"/>
                        </a:cubicBezTo>
                        <a:cubicBezTo>
                          <a:pt x="75242" y="9073"/>
                          <a:pt x="76383" y="11645"/>
                          <a:pt x="75622" y="14026"/>
                        </a:cubicBezTo>
                        <a:lnTo>
                          <a:pt x="40723" y="110514"/>
                        </a:lnTo>
                        <a:cubicBezTo>
                          <a:pt x="40058" y="112324"/>
                          <a:pt x="38346" y="113467"/>
                          <a:pt x="36444" y="113467"/>
                        </a:cubicBezTo>
                        <a:close/>
                        <a:moveTo>
                          <a:pt x="4493" y="2786"/>
                        </a:moveTo>
                        <a:cubicBezTo>
                          <a:pt x="4493" y="2786"/>
                          <a:pt x="4208" y="2786"/>
                          <a:pt x="4018" y="2786"/>
                        </a:cubicBezTo>
                        <a:cubicBezTo>
                          <a:pt x="3162" y="3072"/>
                          <a:pt x="2687" y="4025"/>
                          <a:pt x="2877" y="4882"/>
                        </a:cubicBezTo>
                        <a:lnTo>
                          <a:pt x="34828" y="109371"/>
                        </a:lnTo>
                        <a:cubicBezTo>
                          <a:pt x="35018" y="110038"/>
                          <a:pt x="35684" y="110514"/>
                          <a:pt x="36349" y="110514"/>
                        </a:cubicBezTo>
                        <a:lnTo>
                          <a:pt x="36349" y="111943"/>
                        </a:lnTo>
                        <a:cubicBezTo>
                          <a:pt x="36349" y="111943"/>
                          <a:pt x="36349" y="110514"/>
                          <a:pt x="36349" y="110514"/>
                        </a:cubicBezTo>
                        <a:cubicBezTo>
                          <a:pt x="37015" y="110514"/>
                          <a:pt x="37680" y="110038"/>
                          <a:pt x="37871" y="109466"/>
                        </a:cubicBezTo>
                        <a:lnTo>
                          <a:pt x="72769" y="12978"/>
                        </a:lnTo>
                        <a:cubicBezTo>
                          <a:pt x="73055" y="12121"/>
                          <a:pt x="72674" y="11168"/>
                          <a:pt x="71818" y="10883"/>
                        </a:cubicBezTo>
                        <a:cubicBezTo>
                          <a:pt x="70963" y="10502"/>
                          <a:pt x="70012" y="10978"/>
                          <a:pt x="69726" y="11835"/>
                        </a:cubicBezTo>
                        <a:lnTo>
                          <a:pt x="36444" y="103656"/>
                        </a:lnTo>
                        <a:lnTo>
                          <a:pt x="5920" y="3929"/>
                        </a:lnTo>
                        <a:cubicBezTo>
                          <a:pt x="5730" y="3263"/>
                          <a:pt x="5064" y="2786"/>
                          <a:pt x="4303" y="278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1" name="Freeform 150">
                    <a:extLst>
                      <a:ext uri="{FF2B5EF4-FFF2-40B4-BE49-F238E27FC236}">
                        <a16:creationId xmlns:a16="http://schemas.microsoft.com/office/drawing/2014/main" id="{76E39322-621D-C458-6527-F5C196D23D40}"/>
                      </a:ext>
                    </a:extLst>
                  </p:cNvPr>
                  <p:cNvSpPr/>
                  <p:nvPr/>
                </p:nvSpPr>
                <p:spPr>
                  <a:xfrm>
                    <a:off x="12206897" y="979504"/>
                    <a:ext cx="286708" cy="339196"/>
                  </a:xfrm>
                  <a:custGeom>
                    <a:avLst/>
                    <a:gdLst>
                      <a:gd name="connsiteX0" fmla="*/ 113855 w 286708"/>
                      <a:gd name="connsiteY0" fmla="*/ 339101 h 339196"/>
                      <a:gd name="connsiteX1" fmla="*/ 113855 w 286708"/>
                      <a:gd name="connsiteY1" fmla="*/ 339101 h 339196"/>
                      <a:gd name="connsiteX2" fmla="*/ 66499 w 286708"/>
                      <a:gd name="connsiteY2" fmla="*/ 339101 h 339196"/>
                      <a:gd name="connsiteX3" fmla="*/ 63551 w 286708"/>
                      <a:gd name="connsiteY3" fmla="*/ 336910 h 339196"/>
                      <a:gd name="connsiteX4" fmla="*/ 125 w 286708"/>
                      <a:gd name="connsiteY4" fmla="*/ 120979 h 339196"/>
                      <a:gd name="connsiteX5" fmla="*/ 315 w 286708"/>
                      <a:gd name="connsiteY5" fmla="*/ 118693 h 339196"/>
                      <a:gd name="connsiteX6" fmla="*/ 58226 w 286708"/>
                      <a:gd name="connsiteY6" fmla="*/ 1726 h 339196"/>
                      <a:gd name="connsiteX7" fmla="*/ 61745 w 286708"/>
                      <a:gd name="connsiteY7" fmla="*/ 106 h 339196"/>
                      <a:gd name="connsiteX8" fmla="*/ 64122 w 286708"/>
                      <a:gd name="connsiteY8" fmla="*/ 3154 h 339196"/>
                      <a:gd name="connsiteX9" fmla="*/ 63171 w 286708"/>
                      <a:gd name="connsiteY9" fmla="*/ 131742 h 339196"/>
                      <a:gd name="connsiteX10" fmla="*/ 116327 w 286708"/>
                      <a:gd name="connsiteY10" fmla="*/ 333005 h 339196"/>
                      <a:gd name="connsiteX11" fmla="*/ 231674 w 286708"/>
                      <a:gd name="connsiteY11" fmla="*/ 333005 h 339196"/>
                      <a:gd name="connsiteX12" fmla="*/ 279600 w 286708"/>
                      <a:gd name="connsiteY12" fmla="*/ 214895 h 339196"/>
                      <a:gd name="connsiteX13" fmla="*/ 220168 w 286708"/>
                      <a:gd name="connsiteY13" fmla="*/ 193654 h 339196"/>
                      <a:gd name="connsiteX14" fmla="*/ 157692 w 286708"/>
                      <a:gd name="connsiteY14" fmla="*/ 190225 h 339196"/>
                      <a:gd name="connsiteX15" fmla="*/ 155315 w 286708"/>
                      <a:gd name="connsiteY15" fmla="*/ 188892 h 339196"/>
                      <a:gd name="connsiteX16" fmla="*/ 154935 w 286708"/>
                      <a:gd name="connsiteY16" fmla="*/ 186225 h 339196"/>
                      <a:gd name="connsiteX17" fmla="*/ 185840 w 286708"/>
                      <a:gd name="connsiteY17" fmla="*/ 85260 h 339196"/>
                      <a:gd name="connsiteX18" fmla="*/ 189168 w 286708"/>
                      <a:gd name="connsiteY18" fmla="*/ 83069 h 339196"/>
                      <a:gd name="connsiteX19" fmla="*/ 256018 w 286708"/>
                      <a:gd name="connsiteY19" fmla="*/ 91070 h 339196"/>
                      <a:gd name="connsiteX20" fmla="*/ 258680 w 286708"/>
                      <a:gd name="connsiteY20" fmla="*/ 93451 h 339196"/>
                      <a:gd name="connsiteX21" fmla="*/ 286637 w 286708"/>
                      <a:gd name="connsiteY21" fmla="*/ 212419 h 339196"/>
                      <a:gd name="connsiteX22" fmla="*/ 286637 w 286708"/>
                      <a:gd name="connsiteY22" fmla="*/ 214133 h 339196"/>
                      <a:gd name="connsiteX23" fmla="*/ 286637 w 286708"/>
                      <a:gd name="connsiteY23" fmla="*/ 214324 h 339196"/>
                      <a:gd name="connsiteX24" fmla="*/ 286637 w 286708"/>
                      <a:gd name="connsiteY24" fmla="*/ 214324 h 339196"/>
                      <a:gd name="connsiteX25" fmla="*/ 236714 w 286708"/>
                      <a:gd name="connsiteY25" fmla="*/ 337291 h 339196"/>
                      <a:gd name="connsiteX26" fmla="*/ 233861 w 286708"/>
                      <a:gd name="connsiteY26" fmla="*/ 339196 h 339196"/>
                      <a:gd name="connsiteX27" fmla="*/ 114140 w 286708"/>
                      <a:gd name="connsiteY27" fmla="*/ 339196 h 339196"/>
                      <a:gd name="connsiteX28" fmla="*/ 114140 w 286708"/>
                      <a:gd name="connsiteY28" fmla="*/ 339196 h 339196"/>
                      <a:gd name="connsiteX29" fmla="*/ 68781 w 286708"/>
                      <a:gd name="connsiteY29" fmla="*/ 332910 h 339196"/>
                      <a:gd name="connsiteX30" fmla="*/ 109861 w 286708"/>
                      <a:gd name="connsiteY30" fmla="*/ 332910 h 339196"/>
                      <a:gd name="connsiteX31" fmla="*/ 56990 w 286708"/>
                      <a:gd name="connsiteY31" fmla="*/ 132790 h 339196"/>
                      <a:gd name="connsiteX32" fmla="*/ 56895 w 286708"/>
                      <a:gd name="connsiteY32" fmla="*/ 131932 h 339196"/>
                      <a:gd name="connsiteX33" fmla="*/ 57751 w 286708"/>
                      <a:gd name="connsiteY33" fmla="*/ 16394 h 339196"/>
                      <a:gd name="connsiteX34" fmla="*/ 6306 w 286708"/>
                      <a:gd name="connsiteY34" fmla="*/ 120312 h 339196"/>
                      <a:gd name="connsiteX35" fmla="*/ 68686 w 286708"/>
                      <a:gd name="connsiteY35" fmla="*/ 332910 h 339196"/>
                      <a:gd name="connsiteX36" fmla="*/ 161876 w 286708"/>
                      <a:gd name="connsiteY36" fmla="*/ 184129 h 339196"/>
                      <a:gd name="connsiteX37" fmla="*/ 220834 w 286708"/>
                      <a:gd name="connsiteY37" fmla="*/ 187368 h 339196"/>
                      <a:gd name="connsiteX38" fmla="*/ 221689 w 286708"/>
                      <a:gd name="connsiteY38" fmla="*/ 187558 h 339196"/>
                      <a:gd name="connsiteX39" fmla="*/ 279220 w 286708"/>
                      <a:gd name="connsiteY39" fmla="*/ 208132 h 339196"/>
                      <a:gd name="connsiteX40" fmla="*/ 253070 w 286708"/>
                      <a:gd name="connsiteY40" fmla="*/ 96785 h 339196"/>
                      <a:gd name="connsiteX41" fmla="*/ 190879 w 286708"/>
                      <a:gd name="connsiteY41" fmla="*/ 89356 h 339196"/>
                      <a:gd name="connsiteX42" fmla="*/ 161876 w 286708"/>
                      <a:gd name="connsiteY42" fmla="*/ 184129 h 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708" h="339196">
                        <a:moveTo>
                          <a:pt x="113855" y="339101"/>
                        </a:moveTo>
                        <a:cubicBezTo>
                          <a:pt x="113855" y="339101"/>
                          <a:pt x="113855" y="339101"/>
                          <a:pt x="113855" y="339101"/>
                        </a:cubicBezTo>
                        <a:lnTo>
                          <a:pt x="66499" y="339101"/>
                        </a:lnTo>
                        <a:cubicBezTo>
                          <a:pt x="65168" y="339101"/>
                          <a:pt x="63932" y="338244"/>
                          <a:pt x="63551" y="336910"/>
                        </a:cubicBezTo>
                        <a:lnTo>
                          <a:pt x="125" y="120979"/>
                        </a:lnTo>
                        <a:cubicBezTo>
                          <a:pt x="-65" y="120217"/>
                          <a:pt x="-65" y="119455"/>
                          <a:pt x="315" y="118693"/>
                        </a:cubicBezTo>
                        <a:lnTo>
                          <a:pt x="58226" y="1726"/>
                        </a:lnTo>
                        <a:cubicBezTo>
                          <a:pt x="58892" y="392"/>
                          <a:pt x="60318" y="-275"/>
                          <a:pt x="61745" y="106"/>
                        </a:cubicBezTo>
                        <a:cubicBezTo>
                          <a:pt x="63171" y="392"/>
                          <a:pt x="64122" y="1726"/>
                          <a:pt x="64122" y="3154"/>
                        </a:cubicBezTo>
                        <a:lnTo>
                          <a:pt x="63171" y="131742"/>
                        </a:lnTo>
                        <a:lnTo>
                          <a:pt x="116327" y="333005"/>
                        </a:lnTo>
                        <a:lnTo>
                          <a:pt x="231674" y="333005"/>
                        </a:lnTo>
                        <a:lnTo>
                          <a:pt x="279600" y="214895"/>
                        </a:lnTo>
                        <a:lnTo>
                          <a:pt x="220168" y="193654"/>
                        </a:lnTo>
                        <a:lnTo>
                          <a:pt x="157692" y="190225"/>
                        </a:lnTo>
                        <a:cubicBezTo>
                          <a:pt x="156741" y="190225"/>
                          <a:pt x="155886" y="189654"/>
                          <a:pt x="155315" y="188892"/>
                        </a:cubicBezTo>
                        <a:cubicBezTo>
                          <a:pt x="154745" y="188130"/>
                          <a:pt x="154649" y="187082"/>
                          <a:pt x="154935" y="186225"/>
                        </a:cubicBezTo>
                        <a:lnTo>
                          <a:pt x="185840" y="85260"/>
                        </a:lnTo>
                        <a:cubicBezTo>
                          <a:pt x="186315" y="83831"/>
                          <a:pt x="187646" y="82879"/>
                          <a:pt x="189168" y="83069"/>
                        </a:cubicBezTo>
                        <a:lnTo>
                          <a:pt x="256018" y="91070"/>
                        </a:lnTo>
                        <a:cubicBezTo>
                          <a:pt x="257349" y="91261"/>
                          <a:pt x="258395" y="92118"/>
                          <a:pt x="258680" y="93451"/>
                        </a:cubicBezTo>
                        <a:lnTo>
                          <a:pt x="286637" y="212419"/>
                        </a:lnTo>
                        <a:cubicBezTo>
                          <a:pt x="286732" y="212990"/>
                          <a:pt x="286732" y="213562"/>
                          <a:pt x="286637" y="214133"/>
                        </a:cubicBezTo>
                        <a:cubicBezTo>
                          <a:pt x="286637" y="214133"/>
                          <a:pt x="286637" y="214228"/>
                          <a:pt x="286637" y="214324"/>
                        </a:cubicBezTo>
                        <a:cubicBezTo>
                          <a:pt x="286637" y="214324"/>
                          <a:pt x="286637" y="214324"/>
                          <a:pt x="286637" y="214324"/>
                        </a:cubicBezTo>
                        <a:lnTo>
                          <a:pt x="236714" y="337291"/>
                        </a:lnTo>
                        <a:cubicBezTo>
                          <a:pt x="236239" y="338434"/>
                          <a:pt x="235097" y="339196"/>
                          <a:pt x="233861" y="339196"/>
                        </a:cubicBezTo>
                        <a:lnTo>
                          <a:pt x="114140" y="339196"/>
                        </a:lnTo>
                        <a:cubicBezTo>
                          <a:pt x="114140" y="339196"/>
                          <a:pt x="114140" y="339196"/>
                          <a:pt x="114140" y="339196"/>
                        </a:cubicBezTo>
                        <a:close/>
                        <a:moveTo>
                          <a:pt x="68781" y="332910"/>
                        </a:moveTo>
                        <a:lnTo>
                          <a:pt x="109861" y="332910"/>
                        </a:lnTo>
                        <a:lnTo>
                          <a:pt x="56990" y="132790"/>
                        </a:lnTo>
                        <a:cubicBezTo>
                          <a:pt x="56990" y="132790"/>
                          <a:pt x="56895" y="132218"/>
                          <a:pt x="56895" y="131932"/>
                        </a:cubicBezTo>
                        <a:lnTo>
                          <a:pt x="57751" y="16394"/>
                        </a:lnTo>
                        <a:lnTo>
                          <a:pt x="6306" y="120312"/>
                        </a:lnTo>
                        <a:lnTo>
                          <a:pt x="68686" y="332910"/>
                        </a:lnTo>
                        <a:close/>
                        <a:moveTo>
                          <a:pt x="161876" y="184129"/>
                        </a:moveTo>
                        <a:lnTo>
                          <a:pt x="220834" y="187368"/>
                        </a:lnTo>
                        <a:cubicBezTo>
                          <a:pt x="220834" y="187368"/>
                          <a:pt x="221404" y="187368"/>
                          <a:pt x="221689" y="187558"/>
                        </a:cubicBezTo>
                        <a:lnTo>
                          <a:pt x="279220" y="208132"/>
                        </a:lnTo>
                        <a:lnTo>
                          <a:pt x="253070" y="96785"/>
                        </a:lnTo>
                        <a:lnTo>
                          <a:pt x="190879" y="89356"/>
                        </a:lnTo>
                        <a:lnTo>
                          <a:pt x="161876" y="184129"/>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Freeform 151">
                    <a:extLst>
                      <a:ext uri="{FF2B5EF4-FFF2-40B4-BE49-F238E27FC236}">
                        <a16:creationId xmlns:a16="http://schemas.microsoft.com/office/drawing/2014/main" id="{4294C90F-3434-C549-53B4-C5FB8F72798E}"/>
                      </a:ext>
                    </a:extLst>
                  </p:cNvPr>
                  <p:cNvSpPr/>
                  <p:nvPr/>
                </p:nvSpPr>
                <p:spPr>
                  <a:xfrm>
                    <a:off x="12205530" y="978155"/>
                    <a:ext cx="289573" cy="342068"/>
                  </a:xfrm>
                  <a:custGeom>
                    <a:avLst/>
                    <a:gdLst>
                      <a:gd name="connsiteX0" fmla="*/ 235038 w 289573"/>
                      <a:gd name="connsiteY0" fmla="*/ 341878 h 342068"/>
                      <a:gd name="connsiteX1" fmla="*/ 67866 w 289573"/>
                      <a:gd name="connsiteY1" fmla="*/ 341878 h 342068"/>
                      <a:gd name="connsiteX2" fmla="*/ 63587 w 289573"/>
                      <a:gd name="connsiteY2" fmla="*/ 338640 h 342068"/>
                      <a:gd name="connsiteX3" fmla="*/ 161 w 289573"/>
                      <a:gd name="connsiteY3" fmla="*/ 122708 h 342068"/>
                      <a:gd name="connsiteX4" fmla="*/ 446 w 289573"/>
                      <a:gd name="connsiteY4" fmla="*/ 119470 h 342068"/>
                      <a:gd name="connsiteX5" fmla="*/ 58357 w 289573"/>
                      <a:gd name="connsiteY5" fmla="*/ 2503 h 342068"/>
                      <a:gd name="connsiteX6" fmla="*/ 63397 w 289573"/>
                      <a:gd name="connsiteY6" fmla="*/ 121 h 342068"/>
                      <a:gd name="connsiteX7" fmla="*/ 66915 w 289573"/>
                      <a:gd name="connsiteY7" fmla="*/ 4503 h 342068"/>
                      <a:gd name="connsiteX8" fmla="*/ 65964 w 289573"/>
                      <a:gd name="connsiteY8" fmla="*/ 132900 h 342068"/>
                      <a:gd name="connsiteX9" fmla="*/ 118835 w 289573"/>
                      <a:gd name="connsiteY9" fmla="*/ 332925 h 342068"/>
                      <a:gd name="connsiteX10" fmla="*/ 232090 w 289573"/>
                      <a:gd name="connsiteY10" fmla="*/ 332925 h 342068"/>
                      <a:gd name="connsiteX11" fmla="*/ 279065 w 289573"/>
                      <a:gd name="connsiteY11" fmla="*/ 217101 h 342068"/>
                      <a:gd name="connsiteX12" fmla="*/ 221250 w 289573"/>
                      <a:gd name="connsiteY12" fmla="*/ 196432 h 342068"/>
                      <a:gd name="connsiteX13" fmla="*/ 159059 w 289573"/>
                      <a:gd name="connsiteY13" fmla="*/ 193003 h 342068"/>
                      <a:gd name="connsiteX14" fmla="*/ 155636 w 289573"/>
                      <a:gd name="connsiteY14" fmla="*/ 191098 h 342068"/>
                      <a:gd name="connsiteX15" fmla="*/ 155065 w 289573"/>
                      <a:gd name="connsiteY15" fmla="*/ 187192 h 342068"/>
                      <a:gd name="connsiteX16" fmla="*/ 185970 w 289573"/>
                      <a:gd name="connsiteY16" fmla="*/ 86227 h 342068"/>
                      <a:gd name="connsiteX17" fmla="*/ 190820 w 289573"/>
                      <a:gd name="connsiteY17" fmla="*/ 83084 h 342068"/>
                      <a:gd name="connsiteX18" fmla="*/ 257670 w 289573"/>
                      <a:gd name="connsiteY18" fmla="*/ 91085 h 342068"/>
                      <a:gd name="connsiteX19" fmla="*/ 261473 w 289573"/>
                      <a:gd name="connsiteY19" fmla="*/ 94514 h 342068"/>
                      <a:gd name="connsiteX20" fmla="*/ 289430 w 289573"/>
                      <a:gd name="connsiteY20" fmla="*/ 213481 h 342068"/>
                      <a:gd name="connsiteX21" fmla="*/ 289430 w 289573"/>
                      <a:gd name="connsiteY21" fmla="*/ 215958 h 342068"/>
                      <a:gd name="connsiteX22" fmla="*/ 289145 w 289573"/>
                      <a:gd name="connsiteY22" fmla="*/ 216529 h 342068"/>
                      <a:gd name="connsiteX23" fmla="*/ 239412 w 289573"/>
                      <a:gd name="connsiteY23" fmla="*/ 339211 h 342068"/>
                      <a:gd name="connsiteX24" fmla="*/ 235228 w 289573"/>
                      <a:gd name="connsiteY24" fmla="*/ 342069 h 342068"/>
                      <a:gd name="connsiteX25" fmla="*/ 62350 w 289573"/>
                      <a:gd name="connsiteY25" fmla="*/ 2788 h 342068"/>
                      <a:gd name="connsiteX26" fmla="*/ 60829 w 289573"/>
                      <a:gd name="connsiteY26" fmla="*/ 3741 h 342068"/>
                      <a:gd name="connsiteX27" fmla="*/ 2918 w 289573"/>
                      <a:gd name="connsiteY27" fmla="*/ 120708 h 342068"/>
                      <a:gd name="connsiteX28" fmla="*/ 2823 w 289573"/>
                      <a:gd name="connsiteY28" fmla="*/ 121946 h 342068"/>
                      <a:gd name="connsiteX29" fmla="*/ 66154 w 289573"/>
                      <a:gd name="connsiteY29" fmla="*/ 337878 h 342068"/>
                      <a:gd name="connsiteX30" fmla="*/ 67771 w 289573"/>
                      <a:gd name="connsiteY30" fmla="*/ 339116 h 342068"/>
                      <a:gd name="connsiteX31" fmla="*/ 234943 w 289573"/>
                      <a:gd name="connsiteY31" fmla="*/ 339116 h 342068"/>
                      <a:gd name="connsiteX32" fmla="*/ 236464 w 289573"/>
                      <a:gd name="connsiteY32" fmla="*/ 338068 h 342068"/>
                      <a:gd name="connsiteX33" fmla="*/ 286388 w 289573"/>
                      <a:gd name="connsiteY33" fmla="*/ 215005 h 342068"/>
                      <a:gd name="connsiteX34" fmla="*/ 286388 w 289573"/>
                      <a:gd name="connsiteY34" fmla="*/ 214053 h 342068"/>
                      <a:gd name="connsiteX35" fmla="*/ 258431 w 289573"/>
                      <a:gd name="connsiteY35" fmla="*/ 95086 h 342068"/>
                      <a:gd name="connsiteX36" fmla="*/ 257004 w 289573"/>
                      <a:gd name="connsiteY36" fmla="*/ 93847 h 342068"/>
                      <a:gd name="connsiteX37" fmla="*/ 190154 w 289573"/>
                      <a:gd name="connsiteY37" fmla="*/ 85846 h 342068"/>
                      <a:gd name="connsiteX38" fmla="*/ 188347 w 289573"/>
                      <a:gd name="connsiteY38" fmla="*/ 86989 h 342068"/>
                      <a:gd name="connsiteX39" fmla="*/ 157443 w 289573"/>
                      <a:gd name="connsiteY39" fmla="*/ 187954 h 342068"/>
                      <a:gd name="connsiteX40" fmla="*/ 157633 w 289573"/>
                      <a:gd name="connsiteY40" fmla="*/ 189383 h 342068"/>
                      <a:gd name="connsiteX41" fmla="*/ 158869 w 289573"/>
                      <a:gd name="connsiteY41" fmla="*/ 190050 h 342068"/>
                      <a:gd name="connsiteX42" fmla="*/ 221725 w 289573"/>
                      <a:gd name="connsiteY42" fmla="*/ 193574 h 342068"/>
                      <a:gd name="connsiteX43" fmla="*/ 282584 w 289573"/>
                      <a:gd name="connsiteY43" fmla="*/ 215386 h 342068"/>
                      <a:gd name="connsiteX44" fmla="*/ 282013 w 289573"/>
                      <a:gd name="connsiteY44" fmla="*/ 216815 h 342068"/>
                      <a:gd name="connsiteX45" fmla="*/ 233707 w 289573"/>
                      <a:gd name="connsiteY45" fmla="*/ 335782 h 342068"/>
                      <a:gd name="connsiteX46" fmla="*/ 116363 w 289573"/>
                      <a:gd name="connsiteY46" fmla="*/ 335782 h 342068"/>
                      <a:gd name="connsiteX47" fmla="*/ 116078 w 289573"/>
                      <a:gd name="connsiteY47" fmla="*/ 334735 h 342068"/>
                      <a:gd name="connsiteX48" fmla="*/ 62826 w 289573"/>
                      <a:gd name="connsiteY48" fmla="*/ 133090 h 342068"/>
                      <a:gd name="connsiteX49" fmla="*/ 63777 w 289573"/>
                      <a:gd name="connsiteY49" fmla="*/ 4503 h 342068"/>
                      <a:gd name="connsiteX50" fmla="*/ 62541 w 289573"/>
                      <a:gd name="connsiteY50" fmla="*/ 2884 h 342068"/>
                      <a:gd name="connsiteX51" fmla="*/ 62160 w 289573"/>
                      <a:gd name="connsiteY51" fmla="*/ 2884 h 342068"/>
                      <a:gd name="connsiteX52" fmla="*/ 113130 w 289573"/>
                      <a:gd name="connsiteY52" fmla="*/ 335687 h 342068"/>
                      <a:gd name="connsiteX53" fmla="*/ 69102 w 289573"/>
                      <a:gd name="connsiteY53" fmla="*/ 335687 h 342068"/>
                      <a:gd name="connsiteX54" fmla="*/ 68817 w 289573"/>
                      <a:gd name="connsiteY54" fmla="*/ 334639 h 342068"/>
                      <a:gd name="connsiteX55" fmla="*/ 6246 w 289573"/>
                      <a:gd name="connsiteY55" fmla="*/ 121565 h 342068"/>
                      <a:gd name="connsiteX56" fmla="*/ 6532 w 289573"/>
                      <a:gd name="connsiteY56" fmla="*/ 121089 h 342068"/>
                      <a:gd name="connsiteX57" fmla="*/ 60734 w 289573"/>
                      <a:gd name="connsiteY57" fmla="*/ 11647 h 342068"/>
                      <a:gd name="connsiteX58" fmla="*/ 59783 w 289573"/>
                      <a:gd name="connsiteY58" fmla="*/ 133376 h 342068"/>
                      <a:gd name="connsiteX59" fmla="*/ 59783 w 289573"/>
                      <a:gd name="connsiteY59" fmla="*/ 133852 h 342068"/>
                      <a:gd name="connsiteX60" fmla="*/ 113130 w 289573"/>
                      <a:gd name="connsiteY60" fmla="*/ 335687 h 342068"/>
                      <a:gd name="connsiteX61" fmla="*/ 71194 w 289573"/>
                      <a:gd name="connsiteY61" fmla="*/ 332830 h 342068"/>
                      <a:gd name="connsiteX62" fmla="*/ 109326 w 289573"/>
                      <a:gd name="connsiteY62" fmla="*/ 332830 h 342068"/>
                      <a:gd name="connsiteX63" fmla="*/ 56930 w 289573"/>
                      <a:gd name="connsiteY63" fmla="*/ 134519 h 342068"/>
                      <a:gd name="connsiteX64" fmla="*/ 56740 w 289573"/>
                      <a:gd name="connsiteY64" fmla="*/ 133376 h 342068"/>
                      <a:gd name="connsiteX65" fmla="*/ 57596 w 289573"/>
                      <a:gd name="connsiteY65" fmla="*/ 24029 h 342068"/>
                      <a:gd name="connsiteX66" fmla="*/ 9194 w 289573"/>
                      <a:gd name="connsiteY66" fmla="*/ 121851 h 342068"/>
                      <a:gd name="connsiteX67" fmla="*/ 71099 w 289573"/>
                      <a:gd name="connsiteY67" fmla="*/ 332830 h 342068"/>
                      <a:gd name="connsiteX68" fmla="*/ 282584 w 289573"/>
                      <a:gd name="connsiteY68" fmla="*/ 211767 h 342068"/>
                      <a:gd name="connsiteX69" fmla="*/ 222581 w 289573"/>
                      <a:gd name="connsiteY69" fmla="*/ 190336 h 342068"/>
                      <a:gd name="connsiteX70" fmla="*/ 222105 w 289573"/>
                      <a:gd name="connsiteY70" fmla="*/ 190336 h 342068"/>
                      <a:gd name="connsiteX71" fmla="*/ 161341 w 289573"/>
                      <a:gd name="connsiteY71" fmla="*/ 187002 h 342068"/>
                      <a:gd name="connsiteX72" fmla="*/ 161912 w 289573"/>
                      <a:gd name="connsiteY72" fmla="*/ 185287 h 342068"/>
                      <a:gd name="connsiteX73" fmla="*/ 191296 w 289573"/>
                      <a:gd name="connsiteY73" fmla="*/ 89371 h 342068"/>
                      <a:gd name="connsiteX74" fmla="*/ 255673 w 289573"/>
                      <a:gd name="connsiteY74" fmla="*/ 97086 h 342068"/>
                      <a:gd name="connsiteX75" fmla="*/ 255863 w 289573"/>
                      <a:gd name="connsiteY75" fmla="*/ 98038 h 342068"/>
                      <a:gd name="connsiteX76" fmla="*/ 282584 w 289573"/>
                      <a:gd name="connsiteY76" fmla="*/ 211957 h 342068"/>
                      <a:gd name="connsiteX77" fmla="*/ 165145 w 289573"/>
                      <a:gd name="connsiteY77" fmla="*/ 184144 h 342068"/>
                      <a:gd name="connsiteX78" fmla="*/ 222295 w 289573"/>
                      <a:gd name="connsiteY78" fmla="*/ 187288 h 342068"/>
                      <a:gd name="connsiteX79" fmla="*/ 223532 w 289573"/>
                      <a:gd name="connsiteY79" fmla="*/ 187573 h 342068"/>
                      <a:gd name="connsiteX80" fmla="*/ 278590 w 289573"/>
                      <a:gd name="connsiteY80" fmla="*/ 207290 h 342068"/>
                      <a:gd name="connsiteX81" fmla="*/ 253295 w 289573"/>
                      <a:gd name="connsiteY81" fmla="*/ 99467 h 342068"/>
                      <a:gd name="connsiteX82" fmla="*/ 193292 w 289573"/>
                      <a:gd name="connsiteY82" fmla="*/ 92323 h 342068"/>
                      <a:gd name="connsiteX83" fmla="*/ 165145 w 289573"/>
                      <a:gd name="connsiteY83" fmla="*/ 184144 h 3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9573" h="342068">
                        <a:moveTo>
                          <a:pt x="235038" y="341878"/>
                        </a:moveTo>
                        <a:lnTo>
                          <a:pt x="67866" y="341878"/>
                        </a:lnTo>
                        <a:cubicBezTo>
                          <a:pt x="65869" y="341878"/>
                          <a:pt x="64157" y="340545"/>
                          <a:pt x="63587" y="338640"/>
                        </a:cubicBezTo>
                        <a:lnTo>
                          <a:pt x="161" y="122708"/>
                        </a:lnTo>
                        <a:cubicBezTo>
                          <a:pt x="-125" y="121565"/>
                          <a:pt x="-30" y="120422"/>
                          <a:pt x="446" y="119470"/>
                        </a:cubicBezTo>
                        <a:lnTo>
                          <a:pt x="58357" y="2503"/>
                        </a:lnTo>
                        <a:cubicBezTo>
                          <a:pt x="59308" y="598"/>
                          <a:pt x="61495" y="-355"/>
                          <a:pt x="63397" y="121"/>
                        </a:cubicBezTo>
                        <a:cubicBezTo>
                          <a:pt x="65489" y="598"/>
                          <a:pt x="66915" y="2407"/>
                          <a:pt x="66915" y="4503"/>
                        </a:cubicBezTo>
                        <a:lnTo>
                          <a:pt x="65964" y="132900"/>
                        </a:lnTo>
                        <a:lnTo>
                          <a:pt x="118835" y="332925"/>
                        </a:lnTo>
                        <a:lnTo>
                          <a:pt x="232090" y="332925"/>
                        </a:lnTo>
                        <a:lnTo>
                          <a:pt x="279065" y="217101"/>
                        </a:lnTo>
                        <a:lnTo>
                          <a:pt x="221250" y="196432"/>
                        </a:lnTo>
                        <a:lnTo>
                          <a:pt x="159059" y="193003"/>
                        </a:lnTo>
                        <a:cubicBezTo>
                          <a:pt x="157728" y="193003"/>
                          <a:pt x="156397" y="192241"/>
                          <a:pt x="155636" y="191098"/>
                        </a:cubicBezTo>
                        <a:cubicBezTo>
                          <a:pt x="154875" y="189955"/>
                          <a:pt x="154590" y="188526"/>
                          <a:pt x="155065" y="187192"/>
                        </a:cubicBezTo>
                        <a:lnTo>
                          <a:pt x="185970" y="86227"/>
                        </a:lnTo>
                        <a:cubicBezTo>
                          <a:pt x="186636" y="84132"/>
                          <a:pt x="188633" y="82798"/>
                          <a:pt x="190820" y="83084"/>
                        </a:cubicBezTo>
                        <a:lnTo>
                          <a:pt x="257670" y="91085"/>
                        </a:lnTo>
                        <a:cubicBezTo>
                          <a:pt x="259572" y="91276"/>
                          <a:pt x="261093" y="92704"/>
                          <a:pt x="261473" y="94514"/>
                        </a:cubicBezTo>
                        <a:lnTo>
                          <a:pt x="289430" y="213481"/>
                        </a:lnTo>
                        <a:cubicBezTo>
                          <a:pt x="289621" y="214243"/>
                          <a:pt x="289621" y="215101"/>
                          <a:pt x="289430" y="215958"/>
                        </a:cubicBezTo>
                        <a:lnTo>
                          <a:pt x="289145" y="216529"/>
                        </a:lnTo>
                        <a:lnTo>
                          <a:pt x="239412" y="339211"/>
                        </a:lnTo>
                        <a:cubicBezTo>
                          <a:pt x="238746" y="340926"/>
                          <a:pt x="237035" y="342069"/>
                          <a:pt x="235228" y="342069"/>
                        </a:cubicBezTo>
                        <a:close/>
                        <a:moveTo>
                          <a:pt x="62350" y="2788"/>
                        </a:moveTo>
                        <a:cubicBezTo>
                          <a:pt x="61780" y="2788"/>
                          <a:pt x="61115" y="3169"/>
                          <a:pt x="60829" y="3741"/>
                        </a:cubicBezTo>
                        <a:lnTo>
                          <a:pt x="2918" y="120708"/>
                        </a:lnTo>
                        <a:cubicBezTo>
                          <a:pt x="2918" y="120708"/>
                          <a:pt x="2728" y="121470"/>
                          <a:pt x="2823" y="121946"/>
                        </a:cubicBezTo>
                        <a:lnTo>
                          <a:pt x="66154" y="337878"/>
                        </a:lnTo>
                        <a:cubicBezTo>
                          <a:pt x="66344" y="338545"/>
                          <a:pt x="67010" y="339116"/>
                          <a:pt x="67771" y="339116"/>
                        </a:cubicBezTo>
                        <a:lnTo>
                          <a:pt x="234943" y="339116"/>
                        </a:lnTo>
                        <a:cubicBezTo>
                          <a:pt x="235608" y="339116"/>
                          <a:pt x="236179" y="338735"/>
                          <a:pt x="236464" y="338068"/>
                        </a:cubicBezTo>
                        <a:lnTo>
                          <a:pt x="286388" y="215005"/>
                        </a:lnTo>
                        <a:cubicBezTo>
                          <a:pt x="286388" y="215005"/>
                          <a:pt x="286483" y="214339"/>
                          <a:pt x="286388" y="214053"/>
                        </a:cubicBezTo>
                        <a:lnTo>
                          <a:pt x="258431" y="95086"/>
                        </a:lnTo>
                        <a:cubicBezTo>
                          <a:pt x="258240" y="94419"/>
                          <a:pt x="257670" y="93943"/>
                          <a:pt x="257004" y="93847"/>
                        </a:cubicBezTo>
                        <a:lnTo>
                          <a:pt x="190154" y="85846"/>
                        </a:lnTo>
                        <a:cubicBezTo>
                          <a:pt x="189394" y="85751"/>
                          <a:pt x="188633" y="86227"/>
                          <a:pt x="188347" y="86989"/>
                        </a:cubicBezTo>
                        <a:lnTo>
                          <a:pt x="157443" y="187954"/>
                        </a:lnTo>
                        <a:cubicBezTo>
                          <a:pt x="157252" y="188431"/>
                          <a:pt x="157443" y="189002"/>
                          <a:pt x="157633" y="189383"/>
                        </a:cubicBezTo>
                        <a:cubicBezTo>
                          <a:pt x="157918" y="189764"/>
                          <a:pt x="158394" y="190050"/>
                          <a:pt x="158869" y="190050"/>
                        </a:cubicBezTo>
                        <a:lnTo>
                          <a:pt x="221725" y="193574"/>
                        </a:lnTo>
                        <a:lnTo>
                          <a:pt x="282584" y="215386"/>
                        </a:lnTo>
                        <a:lnTo>
                          <a:pt x="282013" y="216815"/>
                        </a:lnTo>
                        <a:lnTo>
                          <a:pt x="233707" y="335782"/>
                        </a:lnTo>
                        <a:lnTo>
                          <a:pt x="116363" y="335782"/>
                        </a:lnTo>
                        <a:lnTo>
                          <a:pt x="116078" y="334735"/>
                        </a:lnTo>
                        <a:lnTo>
                          <a:pt x="62826" y="133090"/>
                        </a:lnTo>
                        <a:lnTo>
                          <a:pt x="63777" y="4503"/>
                        </a:lnTo>
                        <a:cubicBezTo>
                          <a:pt x="63777" y="3741"/>
                          <a:pt x="63301" y="3074"/>
                          <a:pt x="62541" y="2884"/>
                        </a:cubicBezTo>
                        <a:cubicBezTo>
                          <a:pt x="62446" y="2884"/>
                          <a:pt x="62256" y="2884"/>
                          <a:pt x="62160" y="2884"/>
                        </a:cubicBezTo>
                        <a:close/>
                        <a:moveTo>
                          <a:pt x="113130" y="335687"/>
                        </a:moveTo>
                        <a:lnTo>
                          <a:pt x="69102" y="335687"/>
                        </a:lnTo>
                        <a:lnTo>
                          <a:pt x="68817" y="334639"/>
                        </a:lnTo>
                        <a:lnTo>
                          <a:pt x="6246" y="121565"/>
                        </a:lnTo>
                        <a:lnTo>
                          <a:pt x="6532" y="121089"/>
                        </a:lnTo>
                        <a:lnTo>
                          <a:pt x="60734" y="11647"/>
                        </a:lnTo>
                        <a:lnTo>
                          <a:pt x="59783" y="133376"/>
                        </a:lnTo>
                        <a:cubicBezTo>
                          <a:pt x="59783" y="133376"/>
                          <a:pt x="59783" y="133662"/>
                          <a:pt x="59783" y="133852"/>
                        </a:cubicBezTo>
                        <a:lnTo>
                          <a:pt x="113130" y="335687"/>
                        </a:lnTo>
                        <a:close/>
                        <a:moveTo>
                          <a:pt x="71194" y="332830"/>
                        </a:moveTo>
                        <a:lnTo>
                          <a:pt x="109326" y="332830"/>
                        </a:lnTo>
                        <a:lnTo>
                          <a:pt x="56930" y="134519"/>
                        </a:lnTo>
                        <a:cubicBezTo>
                          <a:pt x="56930" y="134519"/>
                          <a:pt x="56740" y="133757"/>
                          <a:pt x="56740" y="133376"/>
                        </a:cubicBezTo>
                        <a:lnTo>
                          <a:pt x="57596" y="24029"/>
                        </a:lnTo>
                        <a:lnTo>
                          <a:pt x="9194" y="121851"/>
                        </a:lnTo>
                        <a:lnTo>
                          <a:pt x="71099" y="332830"/>
                        </a:lnTo>
                        <a:close/>
                        <a:moveTo>
                          <a:pt x="282584" y="211767"/>
                        </a:moveTo>
                        <a:lnTo>
                          <a:pt x="222581" y="190336"/>
                        </a:lnTo>
                        <a:cubicBezTo>
                          <a:pt x="222581" y="190336"/>
                          <a:pt x="222295" y="190336"/>
                          <a:pt x="222105" y="190336"/>
                        </a:cubicBezTo>
                        <a:lnTo>
                          <a:pt x="161341" y="187002"/>
                        </a:lnTo>
                        <a:lnTo>
                          <a:pt x="161912" y="185287"/>
                        </a:lnTo>
                        <a:lnTo>
                          <a:pt x="191296" y="89371"/>
                        </a:lnTo>
                        <a:lnTo>
                          <a:pt x="255673" y="97086"/>
                        </a:lnTo>
                        <a:lnTo>
                          <a:pt x="255863" y="98038"/>
                        </a:lnTo>
                        <a:lnTo>
                          <a:pt x="282584" y="211957"/>
                        </a:lnTo>
                        <a:close/>
                        <a:moveTo>
                          <a:pt x="165145" y="184144"/>
                        </a:moveTo>
                        <a:lnTo>
                          <a:pt x="222295" y="187288"/>
                        </a:lnTo>
                        <a:cubicBezTo>
                          <a:pt x="222295" y="187288"/>
                          <a:pt x="223151" y="187383"/>
                          <a:pt x="223532" y="187573"/>
                        </a:cubicBezTo>
                        <a:lnTo>
                          <a:pt x="278590" y="207290"/>
                        </a:lnTo>
                        <a:lnTo>
                          <a:pt x="253295" y="99467"/>
                        </a:lnTo>
                        <a:lnTo>
                          <a:pt x="193292" y="92323"/>
                        </a:lnTo>
                        <a:lnTo>
                          <a:pt x="165145" y="184144"/>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3" name="Freeform 152">
                    <a:extLst>
                      <a:ext uri="{FF2B5EF4-FFF2-40B4-BE49-F238E27FC236}">
                        <a16:creationId xmlns:a16="http://schemas.microsoft.com/office/drawing/2014/main" id="{01684A16-BC15-A82E-7FB7-84E0AF8B15B4}"/>
                      </a:ext>
                    </a:extLst>
                  </p:cNvPr>
                  <p:cNvSpPr/>
                  <p:nvPr/>
                </p:nvSpPr>
                <p:spPr>
                  <a:xfrm>
                    <a:off x="12347168" y="1037979"/>
                    <a:ext cx="38075" cy="280625"/>
                  </a:xfrm>
                  <a:custGeom>
                    <a:avLst/>
                    <a:gdLst>
                      <a:gd name="connsiteX0" fmla="*/ 35013 w 38075"/>
                      <a:gd name="connsiteY0" fmla="*/ 280626 h 280625"/>
                      <a:gd name="connsiteX1" fmla="*/ 31970 w 38075"/>
                      <a:gd name="connsiteY1" fmla="*/ 277864 h 280625"/>
                      <a:gd name="connsiteX2" fmla="*/ 19 w 38075"/>
                      <a:gd name="connsiteY2" fmla="*/ 3448 h 280625"/>
                      <a:gd name="connsiteX3" fmla="*/ 2682 w 38075"/>
                      <a:gd name="connsiteY3" fmla="*/ 19 h 280625"/>
                      <a:gd name="connsiteX4" fmla="*/ 6105 w 38075"/>
                      <a:gd name="connsiteY4" fmla="*/ 2686 h 280625"/>
                      <a:gd name="connsiteX5" fmla="*/ 38056 w 38075"/>
                      <a:gd name="connsiteY5" fmla="*/ 277102 h 280625"/>
                      <a:gd name="connsiteX6" fmla="*/ 35394 w 38075"/>
                      <a:gd name="connsiteY6" fmla="*/ 280531 h 280625"/>
                      <a:gd name="connsiteX7" fmla="*/ 35013 w 38075"/>
                      <a:gd name="connsiteY7" fmla="*/ 280531 h 28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75" h="280625">
                        <a:moveTo>
                          <a:pt x="35013" y="280626"/>
                        </a:moveTo>
                        <a:cubicBezTo>
                          <a:pt x="33492" y="280626"/>
                          <a:pt x="32160" y="279483"/>
                          <a:pt x="31970" y="277864"/>
                        </a:cubicBezTo>
                        <a:lnTo>
                          <a:pt x="19" y="3448"/>
                        </a:lnTo>
                        <a:cubicBezTo>
                          <a:pt x="-171" y="1734"/>
                          <a:pt x="1065" y="210"/>
                          <a:pt x="2682" y="19"/>
                        </a:cubicBezTo>
                        <a:cubicBezTo>
                          <a:pt x="4394" y="-171"/>
                          <a:pt x="5915" y="1067"/>
                          <a:pt x="6105" y="2686"/>
                        </a:cubicBezTo>
                        <a:lnTo>
                          <a:pt x="38056" y="277102"/>
                        </a:lnTo>
                        <a:cubicBezTo>
                          <a:pt x="38246" y="278816"/>
                          <a:pt x="37010" y="280340"/>
                          <a:pt x="35394" y="280531"/>
                        </a:cubicBezTo>
                        <a:cubicBezTo>
                          <a:pt x="35298" y="280531"/>
                          <a:pt x="35108" y="280531"/>
                          <a:pt x="35013" y="280531"/>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4" name="Freeform 153">
                    <a:extLst>
                      <a:ext uri="{FF2B5EF4-FFF2-40B4-BE49-F238E27FC236}">
                        <a16:creationId xmlns:a16="http://schemas.microsoft.com/office/drawing/2014/main" id="{A49DC94A-F30E-8984-4668-DAA54146C7A5}"/>
                      </a:ext>
                    </a:extLst>
                  </p:cNvPr>
                  <p:cNvSpPr/>
                  <p:nvPr/>
                </p:nvSpPr>
                <p:spPr>
                  <a:xfrm>
                    <a:off x="12345744" y="1036521"/>
                    <a:ext cx="41019" cy="283512"/>
                  </a:xfrm>
                  <a:custGeom>
                    <a:avLst/>
                    <a:gdLst>
                      <a:gd name="connsiteX0" fmla="*/ 36438 w 41019"/>
                      <a:gd name="connsiteY0" fmla="*/ 283513 h 283512"/>
                      <a:gd name="connsiteX1" fmla="*/ 31969 w 41019"/>
                      <a:gd name="connsiteY1" fmla="*/ 279512 h 283512"/>
                      <a:gd name="connsiteX2" fmla="*/ 18 w 41019"/>
                      <a:gd name="connsiteY2" fmla="*/ 5097 h 283512"/>
                      <a:gd name="connsiteX3" fmla="*/ 969 w 41019"/>
                      <a:gd name="connsiteY3" fmla="*/ 1763 h 283512"/>
                      <a:gd name="connsiteX4" fmla="*/ 4012 w 41019"/>
                      <a:gd name="connsiteY4" fmla="*/ 49 h 283512"/>
                      <a:gd name="connsiteX5" fmla="*/ 7340 w 41019"/>
                      <a:gd name="connsiteY5" fmla="*/ 1001 h 283512"/>
                      <a:gd name="connsiteX6" fmla="*/ 9051 w 41019"/>
                      <a:gd name="connsiteY6" fmla="*/ 4049 h 283512"/>
                      <a:gd name="connsiteX7" fmla="*/ 41002 w 41019"/>
                      <a:gd name="connsiteY7" fmla="*/ 278464 h 283512"/>
                      <a:gd name="connsiteX8" fmla="*/ 40052 w 41019"/>
                      <a:gd name="connsiteY8" fmla="*/ 281798 h 283512"/>
                      <a:gd name="connsiteX9" fmla="*/ 37009 w 41019"/>
                      <a:gd name="connsiteY9" fmla="*/ 283513 h 283512"/>
                      <a:gd name="connsiteX10" fmla="*/ 36438 w 41019"/>
                      <a:gd name="connsiteY10" fmla="*/ 283513 h 283512"/>
                      <a:gd name="connsiteX11" fmla="*/ 4487 w 41019"/>
                      <a:gd name="connsiteY11" fmla="*/ 2906 h 283512"/>
                      <a:gd name="connsiteX12" fmla="*/ 4297 w 41019"/>
                      <a:gd name="connsiteY12" fmla="*/ 2906 h 283512"/>
                      <a:gd name="connsiteX13" fmla="*/ 3156 w 41019"/>
                      <a:gd name="connsiteY13" fmla="*/ 3478 h 283512"/>
                      <a:gd name="connsiteX14" fmla="*/ 2775 w 41019"/>
                      <a:gd name="connsiteY14" fmla="*/ 4716 h 283512"/>
                      <a:gd name="connsiteX15" fmla="*/ 34726 w 41019"/>
                      <a:gd name="connsiteY15" fmla="*/ 279131 h 283512"/>
                      <a:gd name="connsiteX16" fmla="*/ 36343 w 41019"/>
                      <a:gd name="connsiteY16" fmla="*/ 280560 h 283512"/>
                      <a:gd name="connsiteX17" fmla="*/ 36533 w 41019"/>
                      <a:gd name="connsiteY17" fmla="*/ 280560 h 283512"/>
                      <a:gd name="connsiteX18" fmla="*/ 37674 w 41019"/>
                      <a:gd name="connsiteY18" fmla="*/ 279893 h 283512"/>
                      <a:gd name="connsiteX19" fmla="*/ 38054 w 41019"/>
                      <a:gd name="connsiteY19" fmla="*/ 278655 h 283512"/>
                      <a:gd name="connsiteX20" fmla="*/ 6104 w 41019"/>
                      <a:gd name="connsiteY20" fmla="*/ 4240 h 283512"/>
                      <a:gd name="connsiteX21" fmla="*/ 5533 w 41019"/>
                      <a:gd name="connsiteY21" fmla="*/ 3097 h 283512"/>
                      <a:gd name="connsiteX22" fmla="*/ 4487 w 41019"/>
                      <a:gd name="connsiteY22" fmla="*/ 271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019" h="283512">
                        <a:moveTo>
                          <a:pt x="36438" y="283513"/>
                        </a:moveTo>
                        <a:cubicBezTo>
                          <a:pt x="34156" y="283513"/>
                          <a:pt x="32254" y="281798"/>
                          <a:pt x="31969" y="279512"/>
                        </a:cubicBezTo>
                        <a:lnTo>
                          <a:pt x="18" y="5097"/>
                        </a:lnTo>
                        <a:cubicBezTo>
                          <a:pt x="-77" y="3859"/>
                          <a:pt x="208" y="2716"/>
                          <a:pt x="969" y="1763"/>
                        </a:cubicBezTo>
                        <a:cubicBezTo>
                          <a:pt x="1729" y="811"/>
                          <a:pt x="2775" y="239"/>
                          <a:pt x="4012" y="49"/>
                        </a:cubicBezTo>
                        <a:cubicBezTo>
                          <a:pt x="5248" y="-142"/>
                          <a:pt x="6389" y="239"/>
                          <a:pt x="7340" y="1001"/>
                        </a:cubicBezTo>
                        <a:cubicBezTo>
                          <a:pt x="8291" y="1763"/>
                          <a:pt x="8861" y="2811"/>
                          <a:pt x="9051" y="4049"/>
                        </a:cubicBezTo>
                        <a:lnTo>
                          <a:pt x="41002" y="278464"/>
                        </a:lnTo>
                        <a:cubicBezTo>
                          <a:pt x="41097" y="279607"/>
                          <a:pt x="40812" y="280846"/>
                          <a:pt x="40052" y="281798"/>
                        </a:cubicBezTo>
                        <a:cubicBezTo>
                          <a:pt x="39291" y="282751"/>
                          <a:pt x="38245" y="283322"/>
                          <a:pt x="37009" y="283513"/>
                        </a:cubicBezTo>
                        <a:cubicBezTo>
                          <a:pt x="36818" y="283513"/>
                          <a:pt x="36628" y="283513"/>
                          <a:pt x="36438" y="283513"/>
                        </a:cubicBezTo>
                        <a:close/>
                        <a:moveTo>
                          <a:pt x="4487" y="2906"/>
                        </a:moveTo>
                        <a:cubicBezTo>
                          <a:pt x="4487" y="2906"/>
                          <a:pt x="4392" y="2906"/>
                          <a:pt x="4297" y="2906"/>
                        </a:cubicBezTo>
                        <a:cubicBezTo>
                          <a:pt x="3821" y="2906"/>
                          <a:pt x="3441" y="3192"/>
                          <a:pt x="3156" y="3478"/>
                        </a:cubicBezTo>
                        <a:cubicBezTo>
                          <a:pt x="2871" y="3859"/>
                          <a:pt x="2775" y="4240"/>
                          <a:pt x="2775" y="4716"/>
                        </a:cubicBezTo>
                        <a:lnTo>
                          <a:pt x="34726" y="279131"/>
                        </a:lnTo>
                        <a:cubicBezTo>
                          <a:pt x="34726" y="279988"/>
                          <a:pt x="35487" y="280560"/>
                          <a:pt x="36343" y="280560"/>
                        </a:cubicBezTo>
                        <a:lnTo>
                          <a:pt x="36533" y="280560"/>
                        </a:lnTo>
                        <a:cubicBezTo>
                          <a:pt x="36533" y="280560"/>
                          <a:pt x="37389" y="280274"/>
                          <a:pt x="37674" y="279893"/>
                        </a:cubicBezTo>
                        <a:cubicBezTo>
                          <a:pt x="37960" y="279512"/>
                          <a:pt x="38054" y="279131"/>
                          <a:pt x="38054" y="278655"/>
                        </a:cubicBezTo>
                        <a:lnTo>
                          <a:pt x="6104" y="4240"/>
                        </a:lnTo>
                        <a:cubicBezTo>
                          <a:pt x="6104" y="4240"/>
                          <a:pt x="5818" y="3382"/>
                          <a:pt x="5533" y="3097"/>
                        </a:cubicBezTo>
                        <a:cubicBezTo>
                          <a:pt x="5248" y="2906"/>
                          <a:pt x="4867" y="2716"/>
                          <a:pt x="4487" y="271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5" name="Freeform 154">
                    <a:extLst>
                      <a:ext uri="{FF2B5EF4-FFF2-40B4-BE49-F238E27FC236}">
                        <a16:creationId xmlns:a16="http://schemas.microsoft.com/office/drawing/2014/main" id="{B1A22D9C-1BCB-BA2E-906E-63A9A6679B52}"/>
                      </a:ext>
                    </a:extLst>
                  </p:cNvPr>
                  <p:cNvSpPr/>
                  <p:nvPr/>
                </p:nvSpPr>
                <p:spPr>
                  <a:xfrm>
                    <a:off x="12396589" y="1167015"/>
                    <a:ext cx="34136" cy="151589"/>
                  </a:xfrm>
                  <a:custGeom>
                    <a:avLst/>
                    <a:gdLst>
                      <a:gd name="connsiteX0" fmla="*/ 3090 w 34136"/>
                      <a:gd name="connsiteY0" fmla="*/ 151590 h 151589"/>
                      <a:gd name="connsiteX1" fmla="*/ 2519 w 34136"/>
                      <a:gd name="connsiteY1" fmla="*/ 151590 h 151589"/>
                      <a:gd name="connsiteX2" fmla="*/ 47 w 34136"/>
                      <a:gd name="connsiteY2" fmla="*/ 147970 h 151589"/>
                      <a:gd name="connsiteX3" fmla="*/ 28004 w 34136"/>
                      <a:gd name="connsiteY3" fmla="*/ 2523 h 151589"/>
                      <a:gd name="connsiteX4" fmla="*/ 31617 w 34136"/>
                      <a:gd name="connsiteY4" fmla="*/ 47 h 151589"/>
                      <a:gd name="connsiteX5" fmla="*/ 34090 w 34136"/>
                      <a:gd name="connsiteY5" fmla="*/ 3666 h 151589"/>
                      <a:gd name="connsiteX6" fmla="*/ 6133 w 34136"/>
                      <a:gd name="connsiteY6" fmla="*/ 149113 h 151589"/>
                      <a:gd name="connsiteX7" fmla="*/ 3090 w 34136"/>
                      <a:gd name="connsiteY7" fmla="*/ 151590 h 15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36" h="151589">
                        <a:moveTo>
                          <a:pt x="3090" y="151590"/>
                        </a:moveTo>
                        <a:cubicBezTo>
                          <a:pt x="3090" y="151590"/>
                          <a:pt x="2709" y="151590"/>
                          <a:pt x="2519" y="151590"/>
                        </a:cubicBezTo>
                        <a:cubicBezTo>
                          <a:pt x="808" y="151304"/>
                          <a:pt x="-239" y="149685"/>
                          <a:pt x="47" y="147970"/>
                        </a:cubicBezTo>
                        <a:lnTo>
                          <a:pt x="28004" y="2523"/>
                        </a:lnTo>
                        <a:cubicBezTo>
                          <a:pt x="28289" y="809"/>
                          <a:pt x="29906" y="-239"/>
                          <a:pt x="31617" y="47"/>
                        </a:cubicBezTo>
                        <a:cubicBezTo>
                          <a:pt x="33329" y="333"/>
                          <a:pt x="34375" y="1952"/>
                          <a:pt x="34090" y="3666"/>
                        </a:cubicBezTo>
                        <a:lnTo>
                          <a:pt x="6133" y="149113"/>
                        </a:lnTo>
                        <a:cubicBezTo>
                          <a:pt x="5847" y="150542"/>
                          <a:pt x="4516" y="151590"/>
                          <a:pt x="3090" y="151590"/>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Freeform 155">
                    <a:extLst>
                      <a:ext uri="{FF2B5EF4-FFF2-40B4-BE49-F238E27FC236}">
                        <a16:creationId xmlns:a16="http://schemas.microsoft.com/office/drawing/2014/main" id="{E713D9E2-12B2-2A44-CF39-BB46BD0723A5}"/>
                      </a:ext>
                    </a:extLst>
                  </p:cNvPr>
                  <p:cNvSpPr/>
                  <p:nvPr/>
                </p:nvSpPr>
                <p:spPr>
                  <a:xfrm>
                    <a:off x="12395151" y="1165714"/>
                    <a:ext cx="36968" cy="154415"/>
                  </a:xfrm>
                  <a:custGeom>
                    <a:avLst/>
                    <a:gdLst>
                      <a:gd name="connsiteX0" fmla="*/ 4527 w 36968"/>
                      <a:gd name="connsiteY0" fmla="*/ 154320 h 154415"/>
                      <a:gd name="connsiteX1" fmla="*/ 3672 w 36968"/>
                      <a:gd name="connsiteY1" fmla="*/ 154320 h 154415"/>
                      <a:gd name="connsiteX2" fmla="*/ 58 w 36968"/>
                      <a:gd name="connsiteY2" fmla="*/ 149081 h 154415"/>
                      <a:gd name="connsiteX3" fmla="*/ 28015 w 36968"/>
                      <a:gd name="connsiteY3" fmla="*/ 3635 h 154415"/>
                      <a:gd name="connsiteX4" fmla="*/ 29917 w 36968"/>
                      <a:gd name="connsiteY4" fmla="*/ 777 h 154415"/>
                      <a:gd name="connsiteX5" fmla="*/ 33340 w 36968"/>
                      <a:gd name="connsiteY5" fmla="*/ 110 h 154415"/>
                      <a:gd name="connsiteX6" fmla="*/ 36193 w 36968"/>
                      <a:gd name="connsiteY6" fmla="*/ 2015 h 154415"/>
                      <a:gd name="connsiteX7" fmla="*/ 36859 w 36968"/>
                      <a:gd name="connsiteY7" fmla="*/ 5349 h 154415"/>
                      <a:gd name="connsiteX8" fmla="*/ 8902 w 36968"/>
                      <a:gd name="connsiteY8" fmla="*/ 150796 h 154415"/>
                      <a:gd name="connsiteX9" fmla="*/ 4527 w 36968"/>
                      <a:gd name="connsiteY9" fmla="*/ 154415 h 154415"/>
                      <a:gd name="connsiteX10" fmla="*/ 32484 w 36968"/>
                      <a:gd name="connsiteY10" fmla="*/ 2682 h 154415"/>
                      <a:gd name="connsiteX11" fmla="*/ 31534 w 36968"/>
                      <a:gd name="connsiteY11" fmla="*/ 2968 h 154415"/>
                      <a:gd name="connsiteX12" fmla="*/ 30868 w 36968"/>
                      <a:gd name="connsiteY12" fmla="*/ 4016 h 154415"/>
                      <a:gd name="connsiteX13" fmla="*/ 2911 w 36968"/>
                      <a:gd name="connsiteY13" fmla="*/ 149462 h 154415"/>
                      <a:gd name="connsiteX14" fmla="*/ 4242 w 36968"/>
                      <a:gd name="connsiteY14" fmla="*/ 151367 h 154415"/>
                      <a:gd name="connsiteX15" fmla="*/ 4527 w 36968"/>
                      <a:gd name="connsiteY15" fmla="*/ 151367 h 154415"/>
                      <a:gd name="connsiteX16" fmla="*/ 6144 w 36968"/>
                      <a:gd name="connsiteY16" fmla="*/ 150034 h 154415"/>
                      <a:gd name="connsiteX17" fmla="*/ 34101 w 36968"/>
                      <a:gd name="connsiteY17" fmla="*/ 4587 h 154415"/>
                      <a:gd name="connsiteX18" fmla="*/ 33816 w 36968"/>
                      <a:gd name="connsiteY18" fmla="*/ 3349 h 154415"/>
                      <a:gd name="connsiteX19" fmla="*/ 32770 w 36968"/>
                      <a:gd name="connsiteY19" fmla="*/ 2682 h 154415"/>
                      <a:gd name="connsiteX20" fmla="*/ 32484 w 36968"/>
                      <a:gd name="connsiteY20" fmla="*/ 2682 h 1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68" h="154415">
                        <a:moveTo>
                          <a:pt x="4527" y="154320"/>
                        </a:moveTo>
                        <a:cubicBezTo>
                          <a:pt x="4527" y="154320"/>
                          <a:pt x="3957" y="154320"/>
                          <a:pt x="3672" y="154320"/>
                        </a:cubicBezTo>
                        <a:cubicBezTo>
                          <a:pt x="1199" y="153844"/>
                          <a:pt x="-322" y="151463"/>
                          <a:pt x="58" y="149081"/>
                        </a:cubicBezTo>
                        <a:lnTo>
                          <a:pt x="28015" y="3635"/>
                        </a:lnTo>
                        <a:cubicBezTo>
                          <a:pt x="28205" y="2492"/>
                          <a:pt x="28871" y="1444"/>
                          <a:pt x="29917" y="777"/>
                        </a:cubicBezTo>
                        <a:cubicBezTo>
                          <a:pt x="30963" y="110"/>
                          <a:pt x="32104" y="-175"/>
                          <a:pt x="33340" y="110"/>
                        </a:cubicBezTo>
                        <a:cubicBezTo>
                          <a:pt x="34481" y="301"/>
                          <a:pt x="35528" y="968"/>
                          <a:pt x="36193" y="2015"/>
                        </a:cubicBezTo>
                        <a:cubicBezTo>
                          <a:pt x="36859" y="2968"/>
                          <a:pt x="37144" y="4206"/>
                          <a:pt x="36859" y="5349"/>
                        </a:cubicBezTo>
                        <a:lnTo>
                          <a:pt x="8902" y="150796"/>
                        </a:lnTo>
                        <a:cubicBezTo>
                          <a:pt x="8521" y="152891"/>
                          <a:pt x="6619" y="154415"/>
                          <a:pt x="4527" y="154415"/>
                        </a:cubicBezTo>
                        <a:close/>
                        <a:moveTo>
                          <a:pt x="32484" y="2682"/>
                        </a:moveTo>
                        <a:cubicBezTo>
                          <a:pt x="32484" y="2682"/>
                          <a:pt x="31819" y="2682"/>
                          <a:pt x="31534" y="2968"/>
                        </a:cubicBezTo>
                        <a:cubicBezTo>
                          <a:pt x="31153" y="3254"/>
                          <a:pt x="30963" y="3635"/>
                          <a:pt x="30868" y="4016"/>
                        </a:cubicBezTo>
                        <a:lnTo>
                          <a:pt x="2911" y="149462"/>
                        </a:lnTo>
                        <a:cubicBezTo>
                          <a:pt x="2721" y="150320"/>
                          <a:pt x="3291" y="151272"/>
                          <a:pt x="4242" y="151367"/>
                        </a:cubicBezTo>
                        <a:lnTo>
                          <a:pt x="4527" y="151367"/>
                        </a:lnTo>
                        <a:cubicBezTo>
                          <a:pt x="5288" y="151367"/>
                          <a:pt x="5954" y="150796"/>
                          <a:pt x="6144" y="150034"/>
                        </a:cubicBezTo>
                        <a:lnTo>
                          <a:pt x="34101" y="4587"/>
                        </a:lnTo>
                        <a:cubicBezTo>
                          <a:pt x="34101" y="4587"/>
                          <a:pt x="34101" y="3730"/>
                          <a:pt x="33816" y="3349"/>
                        </a:cubicBezTo>
                        <a:cubicBezTo>
                          <a:pt x="33530" y="2968"/>
                          <a:pt x="33150" y="2777"/>
                          <a:pt x="32770" y="2682"/>
                        </a:cubicBezTo>
                        <a:cubicBezTo>
                          <a:pt x="32675" y="2682"/>
                          <a:pt x="32580" y="2682"/>
                          <a:pt x="32484" y="2682"/>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157" name="Group 156">
                <a:extLst>
                  <a:ext uri="{FF2B5EF4-FFF2-40B4-BE49-F238E27FC236}">
                    <a16:creationId xmlns:a16="http://schemas.microsoft.com/office/drawing/2014/main" id="{654940F3-3683-9026-313F-B6AEA2BF03EF}"/>
                  </a:ext>
                </a:extLst>
              </p:cNvPr>
              <p:cNvGrpSpPr/>
              <p:nvPr/>
            </p:nvGrpSpPr>
            <p:grpSpPr>
              <a:xfrm>
                <a:off x="3966090" y="1909331"/>
                <a:ext cx="2010589" cy="2228493"/>
                <a:chOff x="900175" y="3577646"/>
                <a:chExt cx="461994" cy="512064"/>
              </a:xfrm>
            </p:grpSpPr>
            <p:sp>
              <p:nvSpPr>
                <p:cNvPr id="158" name="Hexagon 157">
                  <a:extLst>
                    <a:ext uri="{FF2B5EF4-FFF2-40B4-BE49-F238E27FC236}">
                      <a16:creationId xmlns:a16="http://schemas.microsoft.com/office/drawing/2014/main" id="{6515395C-E457-2532-8613-11A3590BBE03}"/>
                    </a:ext>
                  </a:extLst>
                </p:cNvPr>
                <p:cNvSpPr/>
                <p:nvPr/>
              </p:nvSpPr>
              <p:spPr>
                <a:xfrm rot="5400000">
                  <a:off x="875140" y="3602681"/>
                  <a:ext cx="512064" cy="461994"/>
                </a:xfrm>
                <a:prstGeom prst="hexagon">
                  <a:avLst>
                    <a:gd name="adj" fmla="val 25000"/>
                    <a:gd name="vf" fmla="val 115470"/>
                  </a:avLst>
                </a:prstGeom>
                <a:solidFill>
                  <a:srgbClr val="00305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9" name="Group 158">
                  <a:extLst>
                    <a:ext uri="{FF2B5EF4-FFF2-40B4-BE49-F238E27FC236}">
                      <a16:creationId xmlns:a16="http://schemas.microsoft.com/office/drawing/2014/main" id="{28E456B3-01C1-313A-C74E-3972E19120EB}"/>
                    </a:ext>
                  </a:extLst>
                </p:cNvPr>
                <p:cNvGrpSpPr/>
                <p:nvPr/>
              </p:nvGrpSpPr>
              <p:grpSpPr>
                <a:xfrm>
                  <a:off x="961381" y="3680592"/>
                  <a:ext cx="329110" cy="293614"/>
                  <a:chOff x="13232446" y="2717643"/>
                  <a:chExt cx="386720" cy="345010"/>
                </a:xfrm>
                <a:solidFill>
                  <a:schemeClr val="bg1"/>
                </a:solidFill>
              </p:grpSpPr>
              <p:sp>
                <p:nvSpPr>
                  <p:cNvPr id="160" name="Freeform 159">
                    <a:extLst>
                      <a:ext uri="{FF2B5EF4-FFF2-40B4-BE49-F238E27FC236}">
                        <a16:creationId xmlns:a16="http://schemas.microsoft.com/office/drawing/2014/main" id="{6A75F627-AC9F-42C1-C4EB-5F47F22BD4A4}"/>
                      </a:ext>
                    </a:extLst>
                  </p:cNvPr>
                  <p:cNvSpPr/>
                  <p:nvPr/>
                </p:nvSpPr>
                <p:spPr>
                  <a:xfrm>
                    <a:off x="13494807" y="2755396"/>
                    <a:ext cx="59300" cy="79977"/>
                  </a:xfrm>
                  <a:custGeom>
                    <a:avLst/>
                    <a:gdLst>
                      <a:gd name="connsiteX0" fmla="*/ 54516 w 59300"/>
                      <a:gd name="connsiteY0" fmla="*/ 79978 h 79977"/>
                      <a:gd name="connsiteX1" fmla="*/ 50617 w 59300"/>
                      <a:gd name="connsiteY1" fmla="*/ 77979 h 79977"/>
                      <a:gd name="connsiteX2" fmla="*/ 886 w 59300"/>
                      <a:gd name="connsiteY2" fmla="*/ 7549 h 79977"/>
                      <a:gd name="connsiteX3" fmla="*/ 2027 w 59300"/>
                      <a:gd name="connsiteY3" fmla="*/ 887 h 79977"/>
                      <a:gd name="connsiteX4" fmla="*/ 8683 w 59300"/>
                      <a:gd name="connsiteY4" fmla="*/ 2029 h 79977"/>
                      <a:gd name="connsiteX5" fmla="*/ 58415 w 59300"/>
                      <a:gd name="connsiteY5" fmla="*/ 72459 h 79977"/>
                      <a:gd name="connsiteX6" fmla="*/ 57273 w 59300"/>
                      <a:gd name="connsiteY6" fmla="*/ 79121 h 79977"/>
                      <a:gd name="connsiteX7" fmla="*/ 54516 w 59300"/>
                      <a:gd name="connsiteY7" fmla="*/ 79978 h 7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0" h="79977">
                        <a:moveTo>
                          <a:pt x="54516" y="79978"/>
                        </a:moveTo>
                        <a:cubicBezTo>
                          <a:pt x="52995" y="79978"/>
                          <a:pt x="51568" y="79311"/>
                          <a:pt x="50617" y="77979"/>
                        </a:cubicBezTo>
                        <a:lnTo>
                          <a:pt x="886" y="7549"/>
                        </a:lnTo>
                        <a:cubicBezTo>
                          <a:pt x="-636" y="5360"/>
                          <a:pt x="-160" y="2409"/>
                          <a:pt x="2027" y="887"/>
                        </a:cubicBezTo>
                        <a:cubicBezTo>
                          <a:pt x="4119" y="-636"/>
                          <a:pt x="7162" y="-160"/>
                          <a:pt x="8683" y="2029"/>
                        </a:cubicBezTo>
                        <a:lnTo>
                          <a:pt x="58415" y="72459"/>
                        </a:lnTo>
                        <a:cubicBezTo>
                          <a:pt x="59936" y="74648"/>
                          <a:pt x="59461" y="77598"/>
                          <a:pt x="57273" y="79121"/>
                        </a:cubicBezTo>
                        <a:cubicBezTo>
                          <a:pt x="56418" y="79692"/>
                          <a:pt x="55467" y="79978"/>
                          <a:pt x="54516" y="79978"/>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160">
                    <a:extLst>
                      <a:ext uri="{FF2B5EF4-FFF2-40B4-BE49-F238E27FC236}">
                        <a16:creationId xmlns:a16="http://schemas.microsoft.com/office/drawing/2014/main" id="{8986F37D-8F76-F541-63D5-D0A27678ED2A}"/>
                      </a:ext>
                    </a:extLst>
                  </p:cNvPr>
                  <p:cNvSpPr/>
                  <p:nvPr/>
                </p:nvSpPr>
                <p:spPr>
                  <a:xfrm>
                    <a:off x="13321366" y="2773256"/>
                    <a:ext cx="219904" cy="168048"/>
                  </a:xfrm>
                  <a:custGeom>
                    <a:avLst/>
                    <a:gdLst>
                      <a:gd name="connsiteX0" fmla="*/ 4784 w 219904"/>
                      <a:gd name="connsiteY0" fmla="*/ 168048 h 168048"/>
                      <a:gd name="connsiteX1" fmla="*/ 790 w 219904"/>
                      <a:gd name="connsiteY1" fmla="*/ 165954 h 168048"/>
                      <a:gd name="connsiteX2" fmla="*/ 1075 w 219904"/>
                      <a:gd name="connsiteY2" fmla="*/ 160244 h 168048"/>
                      <a:gd name="connsiteX3" fmla="*/ 54420 w 219904"/>
                      <a:gd name="connsiteY3" fmla="*/ 96952 h 168048"/>
                      <a:gd name="connsiteX4" fmla="*/ 55276 w 219904"/>
                      <a:gd name="connsiteY4" fmla="*/ 96191 h 168048"/>
                      <a:gd name="connsiteX5" fmla="*/ 185357 w 219904"/>
                      <a:gd name="connsiteY5" fmla="*/ 920 h 168048"/>
                      <a:gd name="connsiteX6" fmla="*/ 192014 w 219904"/>
                      <a:gd name="connsiteY6" fmla="*/ 1967 h 168048"/>
                      <a:gd name="connsiteX7" fmla="*/ 190968 w 219904"/>
                      <a:gd name="connsiteY7" fmla="*/ 8629 h 168048"/>
                      <a:gd name="connsiteX8" fmla="*/ 61361 w 219904"/>
                      <a:gd name="connsiteY8" fmla="*/ 103614 h 168048"/>
                      <a:gd name="connsiteX9" fmla="*/ 19047 w 219904"/>
                      <a:gd name="connsiteY9" fmla="*/ 153772 h 168048"/>
                      <a:gd name="connsiteX10" fmla="*/ 82186 w 219904"/>
                      <a:gd name="connsiteY10" fmla="*/ 133499 h 168048"/>
                      <a:gd name="connsiteX11" fmla="*/ 212363 w 219904"/>
                      <a:gd name="connsiteY11" fmla="*/ 40037 h 168048"/>
                      <a:gd name="connsiteX12" fmla="*/ 219019 w 219904"/>
                      <a:gd name="connsiteY12" fmla="*/ 41084 h 168048"/>
                      <a:gd name="connsiteX13" fmla="*/ 217878 w 219904"/>
                      <a:gd name="connsiteY13" fmla="*/ 47746 h 168048"/>
                      <a:gd name="connsiteX14" fmla="*/ 87131 w 219904"/>
                      <a:gd name="connsiteY14" fmla="*/ 141589 h 168048"/>
                      <a:gd name="connsiteX15" fmla="*/ 85799 w 219904"/>
                      <a:gd name="connsiteY15" fmla="*/ 142256 h 168048"/>
                      <a:gd name="connsiteX16" fmla="*/ 6210 w 219904"/>
                      <a:gd name="connsiteY16" fmla="*/ 167858 h 168048"/>
                      <a:gd name="connsiteX17" fmla="*/ 4784 w 219904"/>
                      <a:gd name="connsiteY17" fmla="*/ 168048 h 16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904" h="168048">
                        <a:moveTo>
                          <a:pt x="4784" y="168048"/>
                        </a:moveTo>
                        <a:cubicBezTo>
                          <a:pt x="3262" y="168048"/>
                          <a:pt x="1741" y="167287"/>
                          <a:pt x="790" y="165954"/>
                        </a:cubicBezTo>
                        <a:cubicBezTo>
                          <a:pt x="-351" y="164146"/>
                          <a:pt x="-256" y="161862"/>
                          <a:pt x="1075" y="160244"/>
                        </a:cubicBezTo>
                        <a:lnTo>
                          <a:pt x="54420" y="96952"/>
                        </a:lnTo>
                        <a:cubicBezTo>
                          <a:pt x="54420" y="96952"/>
                          <a:pt x="54991" y="96381"/>
                          <a:pt x="55276" y="96191"/>
                        </a:cubicBezTo>
                        <a:lnTo>
                          <a:pt x="185357" y="920"/>
                        </a:lnTo>
                        <a:cubicBezTo>
                          <a:pt x="187449" y="-603"/>
                          <a:pt x="190492" y="-222"/>
                          <a:pt x="192014" y="1967"/>
                        </a:cubicBezTo>
                        <a:cubicBezTo>
                          <a:pt x="193535" y="4061"/>
                          <a:pt x="193155" y="7106"/>
                          <a:pt x="190968" y="8629"/>
                        </a:cubicBezTo>
                        <a:lnTo>
                          <a:pt x="61361" y="103614"/>
                        </a:lnTo>
                        <a:lnTo>
                          <a:pt x="19047" y="153772"/>
                        </a:lnTo>
                        <a:lnTo>
                          <a:pt x="82186" y="133499"/>
                        </a:lnTo>
                        <a:lnTo>
                          <a:pt x="212363" y="40037"/>
                        </a:lnTo>
                        <a:cubicBezTo>
                          <a:pt x="214455" y="38514"/>
                          <a:pt x="217497" y="38990"/>
                          <a:pt x="219019" y="41084"/>
                        </a:cubicBezTo>
                        <a:cubicBezTo>
                          <a:pt x="220540" y="43178"/>
                          <a:pt x="220065" y="46224"/>
                          <a:pt x="217878" y="47746"/>
                        </a:cubicBezTo>
                        <a:lnTo>
                          <a:pt x="87131" y="141589"/>
                        </a:lnTo>
                        <a:cubicBezTo>
                          <a:pt x="87131" y="141589"/>
                          <a:pt x="86275" y="142065"/>
                          <a:pt x="85799" y="142256"/>
                        </a:cubicBezTo>
                        <a:lnTo>
                          <a:pt x="6210" y="167858"/>
                        </a:lnTo>
                        <a:cubicBezTo>
                          <a:pt x="5735" y="168048"/>
                          <a:pt x="5259" y="168048"/>
                          <a:pt x="4784" y="168048"/>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Freeform 161">
                    <a:extLst>
                      <a:ext uri="{FF2B5EF4-FFF2-40B4-BE49-F238E27FC236}">
                        <a16:creationId xmlns:a16="http://schemas.microsoft.com/office/drawing/2014/main" id="{3F039326-913C-DD64-6F4A-22FC81BE8CF3}"/>
                      </a:ext>
                    </a:extLst>
                  </p:cNvPr>
                  <p:cNvSpPr/>
                  <p:nvPr/>
                </p:nvSpPr>
                <p:spPr>
                  <a:xfrm>
                    <a:off x="13501870" y="2717643"/>
                    <a:ext cx="117296" cy="106405"/>
                  </a:xfrm>
                  <a:custGeom>
                    <a:avLst/>
                    <a:gdLst>
                      <a:gd name="connsiteX0" fmla="*/ 40321 w 117296"/>
                      <a:gd name="connsiteY0" fmla="*/ 106310 h 106405"/>
                      <a:gd name="connsiteX1" fmla="*/ 36423 w 117296"/>
                      <a:gd name="connsiteY1" fmla="*/ 104311 h 106405"/>
                      <a:gd name="connsiteX2" fmla="*/ 37564 w 117296"/>
                      <a:gd name="connsiteY2" fmla="*/ 97649 h 106405"/>
                      <a:gd name="connsiteX3" fmla="*/ 103175 w 117296"/>
                      <a:gd name="connsiteY3" fmla="*/ 50823 h 106405"/>
                      <a:gd name="connsiteX4" fmla="*/ 103936 w 117296"/>
                      <a:gd name="connsiteY4" fmla="*/ 16940 h 106405"/>
                      <a:gd name="connsiteX5" fmla="*/ 73412 w 117296"/>
                      <a:gd name="connsiteY5" fmla="*/ 10087 h 106405"/>
                      <a:gd name="connsiteX6" fmla="*/ 7516 w 117296"/>
                      <a:gd name="connsiteY6" fmla="*/ 56438 h 106405"/>
                      <a:gd name="connsiteX7" fmla="*/ 860 w 117296"/>
                      <a:gd name="connsiteY7" fmla="*/ 55296 h 106405"/>
                      <a:gd name="connsiteX8" fmla="*/ 2001 w 117296"/>
                      <a:gd name="connsiteY8" fmla="*/ 48634 h 106405"/>
                      <a:gd name="connsiteX9" fmla="*/ 68753 w 117296"/>
                      <a:gd name="connsiteY9" fmla="*/ 1712 h 106405"/>
                      <a:gd name="connsiteX10" fmla="*/ 70560 w 117296"/>
                      <a:gd name="connsiteY10" fmla="*/ 951 h 106405"/>
                      <a:gd name="connsiteX11" fmla="*/ 111162 w 117296"/>
                      <a:gd name="connsiteY11" fmla="*/ 10944 h 106405"/>
                      <a:gd name="connsiteX12" fmla="*/ 111448 w 117296"/>
                      <a:gd name="connsiteY12" fmla="*/ 55772 h 106405"/>
                      <a:gd name="connsiteX13" fmla="*/ 109736 w 117296"/>
                      <a:gd name="connsiteY13" fmla="*/ 57866 h 106405"/>
                      <a:gd name="connsiteX14" fmla="*/ 42984 w 117296"/>
                      <a:gd name="connsiteY14" fmla="*/ 105549 h 106405"/>
                      <a:gd name="connsiteX15" fmla="*/ 40226 w 117296"/>
                      <a:gd name="connsiteY15" fmla="*/ 106405 h 10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296" h="106405">
                        <a:moveTo>
                          <a:pt x="40321" y="106310"/>
                        </a:moveTo>
                        <a:cubicBezTo>
                          <a:pt x="38800" y="106310"/>
                          <a:pt x="37374" y="105644"/>
                          <a:pt x="36423" y="104311"/>
                        </a:cubicBezTo>
                        <a:cubicBezTo>
                          <a:pt x="34901" y="102217"/>
                          <a:pt x="35377" y="99172"/>
                          <a:pt x="37564" y="97649"/>
                        </a:cubicBezTo>
                        <a:lnTo>
                          <a:pt x="103175" y="50823"/>
                        </a:lnTo>
                        <a:cubicBezTo>
                          <a:pt x="107454" y="39592"/>
                          <a:pt x="110687" y="25030"/>
                          <a:pt x="103936" y="16940"/>
                        </a:cubicBezTo>
                        <a:cubicBezTo>
                          <a:pt x="96804" y="8279"/>
                          <a:pt x="80354" y="8945"/>
                          <a:pt x="73412" y="10087"/>
                        </a:cubicBezTo>
                        <a:lnTo>
                          <a:pt x="7516" y="56438"/>
                        </a:lnTo>
                        <a:cubicBezTo>
                          <a:pt x="5424" y="57961"/>
                          <a:pt x="2381" y="57390"/>
                          <a:pt x="860" y="55296"/>
                        </a:cubicBezTo>
                        <a:cubicBezTo>
                          <a:pt x="-662" y="53107"/>
                          <a:pt x="-91" y="50156"/>
                          <a:pt x="2001" y="48634"/>
                        </a:cubicBezTo>
                        <a:lnTo>
                          <a:pt x="68753" y="1712"/>
                        </a:lnTo>
                        <a:cubicBezTo>
                          <a:pt x="69323" y="1331"/>
                          <a:pt x="69894" y="1046"/>
                          <a:pt x="70560" y="951"/>
                        </a:cubicBezTo>
                        <a:cubicBezTo>
                          <a:pt x="71701" y="760"/>
                          <a:pt x="98516" y="-4284"/>
                          <a:pt x="111162" y="10944"/>
                        </a:cubicBezTo>
                        <a:cubicBezTo>
                          <a:pt x="119245" y="20652"/>
                          <a:pt x="119340" y="35690"/>
                          <a:pt x="111448" y="55772"/>
                        </a:cubicBezTo>
                        <a:cubicBezTo>
                          <a:pt x="111068" y="56628"/>
                          <a:pt x="110497" y="57390"/>
                          <a:pt x="109736" y="57866"/>
                        </a:cubicBezTo>
                        <a:lnTo>
                          <a:pt x="42984" y="105549"/>
                        </a:lnTo>
                        <a:cubicBezTo>
                          <a:pt x="42128" y="106120"/>
                          <a:pt x="41177" y="106405"/>
                          <a:pt x="40226" y="10640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Freeform 162">
                    <a:extLst>
                      <a:ext uri="{FF2B5EF4-FFF2-40B4-BE49-F238E27FC236}">
                        <a16:creationId xmlns:a16="http://schemas.microsoft.com/office/drawing/2014/main" id="{5A3C17E3-DCA3-CDA0-A710-60AD0F252880}"/>
                      </a:ext>
                    </a:extLst>
                  </p:cNvPr>
                  <p:cNvSpPr/>
                  <p:nvPr/>
                </p:nvSpPr>
                <p:spPr>
                  <a:xfrm>
                    <a:off x="13232446" y="2950822"/>
                    <a:ext cx="197873" cy="111831"/>
                  </a:xfrm>
                  <a:custGeom>
                    <a:avLst/>
                    <a:gdLst>
                      <a:gd name="connsiteX0" fmla="*/ 178999 w 197873"/>
                      <a:gd name="connsiteY0" fmla="*/ 111831 h 111831"/>
                      <a:gd name="connsiteX1" fmla="*/ 16207 w 197873"/>
                      <a:gd name="connsiteY1" fmla="*/ 111831 h 111831"/>
                      <a:gd name="connsiteX2" fmla="*/ 11452 w 197873"/>
                      <a:gd name="connsiteY2" fmla="*/ 107644 h 111831"/>
                      <a:gd name="connsiteX3" fmla="*/ 42 w 197873"/>
                      <a:gd name="connsiteY3" fmla="*/ 5330 h 111831"/>
                      <a:gd name="connsiteX4" fmla="*/ 1183 w 197873"/>
                      <a:gd name="connsiteY4" fmla="*/ 1618 h 111831"/>
                      <a:gd name="connsiteX5" fmla="*/ 4701 w 197873"/>
                      <a:gd name="connsiteY5" fmla="*/ 0 h 111831"/>
                      <a:gd name="connsiteX6" fmla="*/ 193072 w 197873"/>
                      <a:gd name="connsiteY6" fmla="*/ 0 h 111831"/>
                      <a:gd name="connsiteX7" fmla="*/ 196685 w 197873"/>
                      <a:gd name="connsiteY7" fmla="*/ 1618 h 111831"/>
                      <a:gd name="connsiteX8" fmla="*/ 197826 w 197873"/>
                      <a:gd name="connsiteY8" fmla="*/ 5425 h 111831"/>
                      <a:gd name="connsiteX9" fmla="*/ 183658 w 197873"/>
                      <a:gd name="connsiteY9" fmla="*/ 107739 h 111831"/>
                      <a:gd name="connsiteX10" fmla="*/ 178904 w 197873"/>
                      <a:gd name="connsiteY10" fmla="*/ 111831 h 111831"/>
                      <a:gd name="connsiteX11" fmla="*/ 20486 w 197873"/>
                      <a:gd name="connsiteY11" fmla="*/ 102314 h 111831"/>
                      <a:gd name="connsiteX12" fmla="*/ 174910 w 197873"/>
                      <a:gd name="connsiteY12" fmla="*/ 102314 h 111831"/>
                      <a:gd name="connsiteX13" fmla="*/ 187747 w 197873"/>
                      <a:gd name="connsiteY13" fmla="*/ 9518 h 111831"/>
                      <a:gd name="connsiteX14" fmla="*/ 10121 w 197873"/>
                      <a:gd name="connsiteY14" fmla="*/ 9518 h 111831"/>
                      <a:gd name="connsiteX15" fmla="*/ 20486 w 197873"/>
                      <a:gd name="connsiteY15" fmla="*/ 102314 h 11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873" h="111831">
                        <a:moveTo>
                          <a:pt x="178999" y="111831"/>
                        </a:moveTo>
                        <a:lnTo>
                          <a:pt x="16207" y="111831"/>
                        </a:lnTo>
                        <a:cubicBezTo>
                          <a:pt x="13830" y="111831"/>
                          <a:pt x="11738" y="110023"/>
                          <a:pt x="11452" y="107644"/>
                        </a:cubicBezTo>
                        <a:lnTo>
                          <a:pt x="42" y="5330"/>
                        </a:lnTo>
                        <a:cubicBezTo>
                          <a:pt x="-148" y="3998"/>
                          <a:pt x="327" y="2665"/>
                          <a:pt x="1183" y="1618"/>
                        </a:cubicBezTo>
                        <a:cubicBezTo>
                          <a:pt x="2038" y="571"/>
                          <a:pt x="3370" y="0"/>
                          <a:pt x="4701" y="0"/>
                        </a:cubicBezTo>
                        <a:lnTo>
                          <a:pt x="193072" y="0"/>
                        </a:lnTo>
                        <a:cubicBezTo>
                          <a:pt x="194403" y="0"/>
                          <a:pt x="195734" y="571"/>
                          <a:pt x="196685" y="1618"/>
                        </a:cubicBezTo>
                        <a:cubicBezTo>
                          <a:pt x="197636" y="2665"/>
                          <a:pt x="198017" y="3998"/>
                          <a:pt x="197826" y="5425"/>
                        </a:cubicBezTo>
                        <a:lnTo>
                          <a:pt x="183658" y="107739"/>
                        </a:lnTo>
                        <a:cubicBezTo>
                          <a:pt x="183373" y="110118"/>
                          <a:pt x="181281" y="111831"/>
                          <a:pt x="178904" y="111831"/>
                        </a:cubicBezTo>
                        <a:close/>
                        <a:moveTo>
                          <a:pt x="20486" y="102314"/>
                        </a:moveTo>
                        <a:lnTo>
                          <a:pt x="174910" y="102314"/>
                        </a:lnTo>
                        <a:lnTo>
                          <a:pt x="187747" y="9518"/>
                        </a:lnTo>
                        <a:lnTo>
                          <a:pt x="10121" y="9518"/>
                        </a:lnTo>
                        <a:lnTo>
                          <a:pt x="20486" y="102314"/>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Freeform 163">
                    <a:extLst>
                      <a:ext uri="{FF2B5EF4-FFF2-40B4-BE49-F238E27FC236}">
                        <a16:creationId xmlns:a16="http://schemas.microsoft.com/office/drawing/2014/main" id="{D2D281DC-D631-1FC4-1B16-8A861EBDA1B8}"/>
                      </a:ext>
                    </a:extLst>
                  </p:cNvPr>
                  <p:cNvSpPr/>
                  <p:nvPr/>
                </p:nvSpPr>
                <p:spPr>
                  <a:xfrm>
                    <a:off x="13301712" y="2963575"/>
                    <a:ext cx="51157" cy="78900"/>
                  </a:xfrm>
                  <a:custGeom>
                    <a:avLst/>
                    <a:gdLst>
                      <a:gd name="connsiteX0" fmla="*/ 25579 w 51157"/>
                      <a:gd name="connsiteY0" fmla="*/ 78901 h 78900"/>
                      <a:gd name="connsiteX1" fmla="*/ 0 w 51157"/>
                      <a:gd name="connsiteY1" fmla="*/ 53298 h 78900"/>
                      <a:gd name="connsiteX2" fmla="*/ 1712 w 51157"/>
                      <a:gd name="connsiteY2" fmla="*/ 44162 h 78900"/>
                      <a:gd name="connsiteX3" fmla="*/ 2282 w 51157"/>
                      <a:gd name="connsiteY3" fmla="*/ 43020 h 78900"/>
                      <a:gd name="connsiteX4" fmla="*/ 21300 w 51157"/>
                      <a:gd name="connsiteY4" fmla="*/ 2760 h 78900"/>
                      <a:gd name="connsiteX5" fmla="*/ 25579 w 51157"/>
                      <a:gd name="connsiteY5" fmla="*/ 0 h 78900"/>
                      <a:gd name="connsiteX6" fmla="*/ 25579 w 51157"/>
                      <a:gd name="connsiteY6" fmla="*/ 0 h 78900"/>
                      <a:gd name="connsiteX7" fmla="*/ 29858 w 51157"/>
                      <a:gd name="connsiteY7" fmla="*/ 2760 h 78900"/>
                      <a:gd name="connsiteX8" fmla="*/ 49351 w 51157"/>
                      <a:gd name="connsiteY8" fmla="*/ 43876 h 78900"/>
                      <a:gd name="connsiteX9" fmla="*/ 49732 w 51157"/>
                      <a:gd name="connsiteY9" fmla="*/ 44828 h 78900"/>
                      <a:gd name="connsiteX10" fmla="*/ 51158 w 51157"/>
                      <a:gd name="connsiteY10" fmla="*/ 53298 h 78900"/>
                      <a:gd name="connsiteX11" fmla="*/ 25579 w 51157"/>
                      <a:gd name="connsiteY11" fmla="*/ 78901 h 78900"/>
                      <a:gd name="connsiteX12" fmla="*/ 10269 w 51157"/>
                      <a:gd name="connsiteY12" fmla="*/ 48254 h 78900"/>
                      <a:gd name="connsiteX13" fmla="*/ 9509 w 51157"/>
                      <a:gd name="connsiteY13" fmla="*/ 53203 h 78900"/>
                      <a:gd name="connsiteX14" fmla="*/ 25579 w 51157"/>
                      <a:gd name="connsiteY14" fmla="*/ 69288 h 78900"/>
                      <a:gd name="connsiteX15" fmla="*/ 41649 w 51157"/>
                      <a:gd name="connsiteY15" fmla="*/ 53203 h 78900"/>
                      <a:gd name="connsiteX16" fmla="*/ 40603 w 51157"/>
                      <a:gd name="connsiteY16" fmla="*/ 47493 h 78900"/>
                      <a:gd name="connsiteX17" fmla="*/ 40603 w 51157"/>
                      <a:gd name="connsiteY17" fmla="*/ 47302 h 78900"/>
                      <a:gd name="connsiteX18" fmla="*/ 25579 w 51157"/>
                      <a:gd name="connsiteY18" fmla="*/ 15799 h 78900"/>
                      <a:gd name="connsiteX19" fmla="*/ 10460 w 51157"/>
                      <a:gd name="connsiteY19" fmla="*/ 47778 h 78900"/>
                      <a:gd name="connsiteX20" fmla="*/ 10269 w 51157"/>
                      <a:gd name="connsiteY20" fmla="*/ 48159 h 7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157" h="78900">
                        <a:moveTo>
                          <a:pt x="25579" y="78901"/>
                        </a:moveTo>
                        <a:cubicBezTo>
                          <a:pt x="11506" y="78901"/>
                          <a:pt x="0" y="67385"/>
                          <a:pt x="0" y="53298"/>
                        </a:cubicBezTo>
                        <a:cubicBezTo>
                          <a:pt x="0" y="50253"/>
                          <a:pt x="571" y="47112"/>
                          <a:pt x="1712" y="44162"/>
                        </a:cubicBezTo>
                        <a:cubicBezTo>
                          <a:pt x="1902" y="43781"/>
                          <a:pt x="2092" y="43400"/>
                          <a:pt x="2282" y="43020"/>
                        </a:cubicBezTo>
                        <a:lnTo>
                          <a:pt x="21300" y="2760"/>
                        </a:lnTo>
                        <a:cubicBezTo>
                          <a:pt x="22061" y="1142"/>
                          <a:pt x="23772" y="0"/>
                          <a:pt x="25579" y="0"/>
                        </a:cubicBezTo>
                        <a:lnTo>
                          <a:pt x="25579" y="0"/>
                        </a:lnTo>
                        <a:cubicBezTo>
                          <a:pt x="27386" y="0"/>
                          <a:pt x="29097" y="1047"/>
                          <a:pt x="29858" y="2760"/>
                        </a:cubicBezTo>
                        <a:lnTo>
                          <a:pt x="49351" y="43876"/>
                        </a:lnTo>
                        <a:cubicBezTo>
                          <a:pt x="49351" y="43876"/>
                          <a:pt x="49636" y="44542"/>
                          <a:pt x="49732" y="44828"/>
                        </a:cubicBezTo>
                        <a:cubicBezTo>
                          <a:pt x="50682" y="47588"/>
                          <a:pt x="51158" y="50443"/>
                          <a:pt x="51158" y="53298"/>
                        </a:cubicBezTo>
                        <a:cubicBezTo>
                          <a:pt x="51158" y="67480"/>
                          <a:pt x="39652" y="78901"/>
                          <a:pt x="25579" y="78901"/>
                        </a:cubicBezTo>
                        <a:close/>
                        <a:moveTo>
                          <a:pt x="10269" y="48254"/>
                        </a:moveTo>
                        <a:cubicBezTo>
                          <a:pt x="9699" y="49872"/>
                          <a:pt x="9509" y="51585"/>
                          <a:pt x="9509" y="53203"/>
                        </a:cubicBezTo>
                        <a:cubicBezTo>
                          <a:pt x="9509" y="62055"/>
                          <a:pt x="16736" y="69288"/>
                          <a:pt x="25579" y="69288"/>
                        </a:cubicBezTo>
                        <a:cubicBezTo>
                          <a:pt x="34422" y="69288"/>
                          <a:pt x="41649" y="62055"/>
                          <a:pt x="41649" y="53203"/>
                        </a:cubicBezTo>
                        <a:cubicBezTo>
                          <a:pt x="41649" y="51300"/>
                          <a:pt x="41269" y="49396"/>
                          <a:pt x="40603" y="47493"/>
                        </a:cubicBezTo>
                        <a:lnTo>
                          <a:pt x="40603" y="47302"/>
                        </a:lnTo>
                        <a:cubicBezTo>
                          <a:pt x="40603" y="47302"/>
                          <a:pt x="25579" y="15799"/>
                          <a:pt x="25579" y="15799"/>
                        </a:cubicBezTo>
                        <a:lnTo>
                          <a:pt x="10460" y="47778"/>
                        </a:lnTo>
                        <a:cubicBezTo>
                          <a:pt x="10460" y="47778"/>
                          <a:pt x="10365" y="48064"/>
                          <a:pt x="10269" y="48159"/>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sp>
          <p:nvSpPr>
            <p:cNvPr id="166" name="Rectangle 165">
              <a:extLst>
                <a:ext uri="{FF2B5EF4-FFF2-40B4-BE49-F238E27FC236}">
                  <a16:creationId xmlns:a16="http://schemas.microsoft.com/office/drawing/2014/main" id="{B41ABB9F-68BF-F1E3-6220-02D08C2FF1D0}"/>
                </a:ext>
              </a:extLst>
            </p:cNvPr>
            <p:cNvSpPr/>
            <p:nvPr/>
          </p:nvSpPr>
          <p:spPr>
            <a:xfrm>
              <a:off x="6357164" y="3516094"/>
              <a:ext cx="2528384" cy="715600"/>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32246"/>
                  </a:solidFill>
                  <a:effectLst/>
                  <a:uLnTx/>
                  <a:uFillTx/>
                  <a:latin typeface="Arial" panose="020B0604020202020204"/>
                  <a:ea typeface="+mn-ea"/>
                  <a:cs typeface="+mn-cs"/>
                </a:rPr>
                <a:t>Application expertise</a:t>
              </a:r>
            </a:p>
          </p:txBody>
        </p:sp>
      </p:grpSp>
      <p:sp>
        <p:nvSpPr>
          <p:cNvPr id="6" name="TextBox 5">
            <a:extLst>
              <a:ext uri="{FF2B5EF4-FFF2-40B4-BE49-F238E27FC236}">
                <a16:creationId xmlns:a16="http://schemas.microsoft.com/office/drawing/2014/main" id="{7D408612-B680-5535-FD37-2B637F212F88}"/>
              </a:ext>
            </a:extLst>
          </p:cNvPr>
          <p:cNvSpPr txBox="1"/>
          <p:nvPr/>
        </p:nvSpPr>
        <p:spPr>
          <a:xfrm>
            <a:off x="4829641" y="2767444"/>
            <a:ext cx="124778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Financial </a:t>
            </a:r>
            <a:b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rPr>
              <a:t>strength</a:t>
            </a:r>
          </a:p>
        </p:txBody>
      </p:sp>
    </p:spTree>
    <p:extLst>
      <p:ext uri="{BB962C8B-B14F-4D97-AF65-F5344CB8AC3E}">
        <p14:creationId xmlns:p14="http://schemas.microsoft.com/office/powerpoint/2010/main" val="28565743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ED25F6-0AEC-2D91-1037-DE7DB9580647}"/>
              </a:ext>
            </a:extLst>
          </p:cNvPr>
          <p:cNvGraphicFramePr>
            <a:graphicFrameLocks noChangeAspect="1"/>
          </p:cNvGraphicFramePr>
          <p:nvPr>
            <p:custDataLst>
              <p:tags r:id="rId1"/>
            </p:custDataLst>
            <p:extLst>
              <p:ext uri="{D42A27DB-BD31-4B8C-83A1-F6EECF244321}">
                <p14:modId xmlns:p14="http://schemas.microsoft.com/office/powerpoint/2010/main" val="388034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DAED25F6-0AEC-2D91-1037-DE7DB95806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DBB45F4-EE73-5799-257E-18A84BED60CB}"/>
              </a:ext>
            </a:extLst>
          </p:cNvPr>
          <p:cNvSpPr>
            <a:spLocks noGrp="1"/>
          </p:cNvSpPr>
          <p:nvPr>
            <p:ph type="title"/>
          </p:nvPr>
        </p:nvSpPr>
        <p:spPr/>
        <p:txBody>
          <a:bodyPr vert="horz">
            <a:normAutofit/>
          </a:bodyPr>
          <a:lstStyle/>
          <a:p>
            <a:r>
              <a:rPr lang="en-US" sz="2800" dirty="0"/>
              <a:t>Investor Contact</a:t>
            </a:r>
          </a:p>
        </p:txBody>
      </p:sp>
      <p:sp>
        <p:nvSpPr>
          <p:cNvPr id="2" name="Slide Number Placeholder 1">
            <a:extLst>
              <a:ext uri="{FF2B5EF4-FFF2-40B4-BE49-F238E27FC236}">
                <a16:creationId xmlns:a16="http://schemas.microsoft.com/office/drawing/2014/main" id="{E4A7FC90-BEFD-32F4-C1D5-67D9BBFBA7D9}"/>
              </a:ext>
            </a:extLst>
          </p:cNvPr>
          <p:cNvSpPr>
            <a:spLocks noGrp="1"/>
          </p:cNvSpPr>
          <p:nvPr>
            <p:ph type="sldNum" sz="quarter" idx="4294967295"/>
          </p:nvPr>
        </p:nvSpPr>
        <p:spPr>
          <a:xfrm>
            <a:off x="9448800" y="6310313"/>
            <a:ext cx="2743200" cy="365125"/>
          </a:xfrm>
        </p:spPr>
        <p:txBody>
          <a:bodyPr/>
          <a:lstStyle/>
          <a:p>
            <a:fld id="{CEBB0AAF-A232-4489-A92A-C88683712EF9}" type="slidenum">
              <a:rPr lang="en-US" smtClean="0"/>
              <a:pPr/>
              <a:t>12</a:t>
            </a:fld>
            <a:endParaRPr lang="en-US"/>
          </a:p>
        </p:txBody>
      </p:sp>
      <p:sp>
        <p:nvSpPr>
          <p:cNvPr id="5" name="TextBox 4">
            <a:extLst>
              <a:ext uri="{FF2B5EF4-FFF2-40B4-BE49-F238E27FC236}">
                <a16:creationId xmlns:a16="http://schemas.microsoft.com/office/drawing/2014/main" id="{3408B340-0597-3D57-F7C3-A60D28D94DBE}"/>
              </a:ext>
            </a:extLst>
          </p:cNvPr>
          <p:cNvSpPr txBox="1"/>
          <p:nvPr/>
        </p:nvSpPr>
        <p:spPr>
          <a:xfrm>
            <a:off x="2114550" y="2413337"/>
            <a:ext cx="6094476" cy="2246769"/>
          </a:xfrm>
          <a:prstGeom prst="rect">
            <a:avLst/>
          </a:prstGeom>
          <a:noFill/>
        </p:spPr>
        <p:txBody>
          <a:bodyPr wrap="square">
            <a:spAutoFit/>
          </a:bodyPr>
          <a:lstStyle/>
          <a:p>
            <a:r>
              <a:rPr lang="en-US" sz="2000" b="1" dirty="0"/>
              <a:t>Investor Relations Contact</a:t>
            </a:r>
          </a:p>
          <a:p>
            <a:r>
              <a:rPr lang="en-US" sz="2000" dirty="0"/>
              <a:t>Lydia Kopylova</a:t>
            </a:r>
          </a:p>
          <a:p>
            <a:r>
              <a:rPr lang="en-US" sz="2000" dirty="0"/>
              <a:t>Phone: (212) 878-1831 </a:t>
            </a:r>
          </a:p>
          <a:p>
            <a:r>
              <a:rPr lang="en-US" sz="2000" dirty="0"/>
              <a:t>Email: lydia.kopylova@mineralstech.com </a:t>
            </a:r>
          </a:p>
          <a:p>
            <a:endParaRPr lang="en-US" sz="2000" dirty="0"/>
          </a:p>
          <a:p>
            <a:r>
              <a:rPr lang="en-US" sz="2000" b="1" dirty="0"/>
              <a:t>Website </a:t>
            </a:r>
          </a:p>
          <a:p>
            <a:r>
              <a:rPr lang="en-US" sz="2000" dirty="0"/>
              <a:t>www.mineralstech.com </a:t>
            </a:r>
          </a:p>
        </p:txBody>
      </p:sp>
    </p:spTree>
    <p:extLst>
      <p:ext uri="{BB962C8B-B14F-4D97-AF65-F5344CB8AC3E}">
        <p14:creationId xmlns:p14="http://schemas.microsoft.com/office/powerpoint/2010/main" val="1953482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6B4E5F5-78B8-B2E1-29AE-B45535295E4C}"/>
              </a:ext>
            </a:extLst>
          </p:cNvPr>
          <p:cNvGraphicFramePr>
            <a:graphicFrameLocks noChangeAspect="1"/>
          </p:cNvGraphicFramePr>
          <p:nvPr>
            <p:custDataLst>
              <p:tags r:id="rId1"/>
            </p:custDataLst>
            <p:extLst>
              <p:ext uri="{D42A27DB-BD31-4B8C-83A1-F6EECF244321}">
                <p14:modId xmlns:p14="http://schemas.microsoft.com/office/powerpoint/2010/main" val="379734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think-cell data - do not delete" hidden="1">
                        <a:extLst>
                          <a:ext uri="{FF2B5EF4-FFF2-40B4-BE49-F238E27FC236}">
                            <a16:creationId xmlns:a16="http://schemas.microsoft.com/office/drawing/2014/main" id="{C6B4E5F5-78B8-B2E1-29AE-B45535295E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77336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0E40EE-6276-150F-8E35-9BB8DCDEEE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5" name="Object 4" hidden="1">
                        <a:extLst>
                          <a:ext uri="{FF2B5EF4-FFF2-40B4-BE49-F238E27FC236}">
                            <a16:creationId xmlns:a16="http://schemas.microsoft.com/office/drawing/2014/main" id="{730E40EE-6276-150F-8E35-9BB8DCDEEE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10254F0-0D1E-066D-5708-FBFAD883F2E9}"/>
              </a:ext>
            </a:extLst>
          </p:cNvPr>
          <p:cNvSpPr>
            <a:spLocks noGrp="1"/>
          </p:cNvSpPr>
          <p:nvPr>
            <p:ph type="title"/>
          </p:nvPr>
        </p:nvSpPr>
        <p:spPr/>
        <p:txBody>
          <a:bodyPr vert="horz">
            <a:normAutofit fontScale="90000"/>
          </a:bodyPr>
          <a:lstStyle/>
          <a:p>
            <a:r>
              <a:rPr lang="en-US" sz="1600" dirty="0"/>
              <a:t>Reconciliation</a:t>
            </a:r>
            <a:br>
              <a:rPr lang="en-US" dirty="0"/>
            </a:br>
            <a:r>
              <a:rPr lang="en-US" sz="3100" dirty="0"/>
              <a:t>Net Income and Diluted EPS Excluding Special Items</a:t>
            </a:r>
            <a:endParaRPr lang="en-US" dirty="0"/>
          </a:p>
        </p:txBody>
      </p:sp>
      <p:graphicFrame>
        <p:nvGraphicFramePr>
          <p:cNvPr id="6" name="Table 5">
            <a:extLst>
              <a:ext uri="{FF2B5EF4-FFF2-40B4-BE49-F238E27FC236}">
                <a16:creationId xmlns:a16="http://schemas.microsoft.com/office/drawing/2014/main" id="{ED7E66B9-093B-A570-26B5-47D61D7DAF9E}"/>
              </a:ext>
            </a:extLst>
          </p:cNvPr>
          <p:cNvGraphicFramePr>
            <a:graphicFrameLocks noGrp="1"/>
          </p:cNvGraphicFramePr>
          <p:nvPr/>
        </p:nvGraphicFramePr>
        <p:xfrm>
          <a:off x="1027523" y="1137765"/>
          <a:ext cx="10039546" cy="5027309"/>
        </p:xfrm>
        <a:graphic>
          <a:graphicData uri="http://schemas.openxmlformats.org/drawingml/2006/table">
            <a:tbl>
              <a:tblPr>
                <a:tableStyleId>{5C22544A-7EE6-4342-B048-85BDC9FD1C3A}</a:tableStyleId>
              </a:tblPr>
              <a:tblGrid>
                <a:gridCol w="4917755">
                  <a:extLst>
                    <a:ext uri="{9D8B030D-6E8A-4147-A177-3AD203B41FA5}">
                      <a16:colId xmlns:a16="http://schemas.microsoft.com/office/drawing/2014/main" val="2188689624"/>
                    </a:ext>
                  </a:extLst>
                </a:gridCol>
                <a:gridCol w="231860">
                  <a:extLst>
                    <a:ext uri="{9D8B030D-6E8A-4147-A177-3AD203B41FA5}">
                      <a16:colId xmlns:a16="http://schemas.microsoft.com/office/drawing/2014/main" val="4108439957"/>
                    </a:ext>
                  </a:extLst>
                </a:gridCol>
                <a:gridCol w="602838">
                  <a:extLst>
                    <a:ext uri="{9D8B030D-6E8A-4147-A177-3AD203B41FA5}">
                      <a16:colId xmlns:a16="http://schemas.microsoft.com/office/drawing/2014/main" val="1686625306"/>
                    </a:ext>
                  </a:extLst>
                </a:gridCol>
                <a:gridCol w="231860">
                  <a:extLst>
                    <a:ext uri="{9D8B030D-6E8A-4147-A177-3AD203B41FA5}">
                      <a16:colId xmlns:a16="http://schemas.microsoft.com/office/drawing/2014/main" val="3877117688"/>
                    </a:ext>
                  </a:extLst>
                </a:gridCol>
                <a:gridCol w="621385">
                  <a:extLst>
                    <a:ext uri="{9D8B030D-6E8A-4147-A177-3AD203B41FA5}">
                      <a16:colId xmlns:a16="http://schemas.microsoft.com/office/drawing/2014/main" val="2129150783"/>
                    </a:ext>
                  </a:extLst>
                </a:gridCol>
                <a:gridCol w="245534">
                  <a:extLst>
                    <a:ext uri="{9D8B030D-6E8A-4147-A177-3AD203B41FA5}">
                      <a16:colId xmlns:a16="http://schemas.microsoft.com/office/drawing/2014/main" val="254549030"/>
                    </a:ext>
                  </a:extLst>
                </a:gridCol>
                <a:gridCol w="348027">
                  <a:extLst>
                    <a:ext uri="{9D8B030D-6E8A-4147-A177-3AD203B41FA5}">
                      <a16:colId xmlns:a16="http://schemas.microsoft.com/office/drawing/2014/main" val="2018463007"/>
                    </a:ext>
                  </a:extLst>
                </a:gridCol>
                <a:gridCol w="295649">
                  <a:extLst>
                    <a:ext uri="{9D8B030D-6E8A-4147-A177-3AD203B41FA5}">
                      <a16:colId xmlns:a16="http://schemas.microsoft.com/office/drawing/2014/main" val="3842148130"/>
                    </a:ext>
                  </a:extLst>
                </a:gridCol>
                <a:gridCol w="240611">
                  <a:extLst>
                    <a:ext uri="{9D8B030D-6E8A-4147-A177-3AD203B41FA5}">
                      <a16:colId xmlns:a16="http://schemas.microsoft.com/office/drawing/2014/main" val="2070742288"/>
                    </a:ext>
                  </a:extLst>
                </a:gridCol>
                <a:gridCol w="256325">
                  <a:extLst>
                    <a:ext uri="{9D8B030D-6E8A-4147-A177-3AD203B41FA5}">
                      <a16:colId xmlns:a16="http://schemas.microsoft.com/office/drawing/2014/main" val="3662403751"/>
                    </a:ext>
                  </a:extLst>
                </a:gridCol>
                <a:gridCol w="247170">
                  <a:extLst>
                    <a:ext uri="{9D8B030D-6E8A-4147-A177-3AD203B41FA5}">
                      <a16:colId xmlns:a16="http://schemas.microsoft.com/office/drawing/2014/main" val="1634232425"/>
                    </a:ext>
                  </a:extLst>
                </a:gridCol>
                <a:gridCol w="604134">
                  <a:extLst>
                    <a:ext uri="{9D8B030D-6E8A-4147-A177-3AD203B41FA5}">
                      <a16:colId xmlns:a16="http://schemas.microsoft.com/office/drawing/2014/main" val="3103359424"/>
                    </a:ext>
                  </a:extLst>
                </a:gridCol>
                <a:gridCol w="376265">
                  <a:extLst>
                    <a:ext uri="{9D8B030D-6E8A-4147-A177-3AD203B41FA5}">
                      <a16:colId xmlns:a16="http://schemas.microsoft.com/office/drawing/2014/main" val="2590990973"/>
                    </a:ext>
                  </a:extLst>
                </a:gridCol>
                <a:gridCol w="170926">
                  <a:extLst>
                    <a:ext uri="{9D8B030D-6E8A-4147-A177-3AD203B41FA5}">
                      <a16:colId xmlns:a16="http://schemas.microsoft.com/office/drawing/2014/main" val="2410395224"/>
                    </a:ext>
                  </a:extLst>
                </a:gridCol>
                <a:gridCol w="296781">
                  <a:extLst>
                    <a:ext uri="{9D8B030D-6E8A-4147-A177-3AD203B41FA5}">
                      <a16:colId xmlns:a16="http://schemas.microsoft.com/office/drawing/2014/main" val="4288767904"/>
                    </a:ext>
                  </a:extLst>
                </a:gridCol>
                <a:gridCol w="352426">
                  <a:extLst>
                    <a:ext uri="{9D8B030D-6E8A-4147-A177-3AD203B41FA5}">
                      <a16:colId xmlns:a16="http://schemas.microsoft.com/office/drawing/2014/main" val="2487470895"/>
                    </a:ext>
                  </a:extLst>
                </a:gridCol>
              </a:tblGrid>
              <a:tr h="1402202">
                <a:tc gridSpan="16">
                  <a:txBody>
                    <a:bodyPr/>
                    <a:lstStyle/>
                    <a:p>
                      <a:pPr algn="l" fontAlgn="t"/>
                      <a:r>
                        <a:rPr lang="en-US" sz="1200" u="none" strike="noStrike" dirty="0">
                          <a:effectLst/>
                        </a:rPr>
                        <a:t>The information set forth in the Analyst Presentation presents financial measures of the Company that exclude certain special items, and are therefore not in accordance with GAAP. The following is a presentation of the Company’s non-GAAP net income, operating income and EBITDA, excluding special items, and free cash flow for the quarterly and full year periods ended December 31, 2023 and December 31, 2022 and a reconciliation to GAAP net income, operating income and EBITDA, and cash flow from operations, respectively, for such periods. The Company’s management believes these non-GAAP measures provide meaningful supplemental information regarding its performance as inclusion of such special items are not indicative of the ongoing operating results and thereby affect the comparability of results between periods. The Company feels inclusion of these non-GAAP measures also provides consistency in its financial reporting and facilitates investors’ understanding of historic operating trends. </a:t>
                      </a:r>
                      <a:endParaRPr lang="en-US" sz="1200" b="0" i="0" u="none" strike="noStrike" dirty="0">
                        <a:solidFill>
                          <a:srgbClr val="000000"/>
                        </a:solidFill>
                        <a:effectLst/>
                        <a:latin typeface="Arial" panose="020B0604020202020204" pitchFamily="34" charset="0"/>
                      </a:endParaRPr>
                    </a:p>
                  </a:txBody>
                  <a:tcPr marL="7126" marR="7126" marT="7126" marB="0">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96767363"/>
                  </a:ext>
                </a:extLst>
              </a:tr>
              <a:tr h="181222">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gridSpan="2">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hMerge="1">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gridSpan="2">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hMerge="1">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noFill/>
                  </a:tcPr>
                </a:tc>
                <a:tc gridSpan="2">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hMerge="1">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tc>
                  <a:txBody>
                    <a:bodyPr/>
                    <a:lstStyle/>
                    <a:p>
                      <a:pPr algn="l" fontAlgn="t"/>
                      <a:endParaRPr lang="en-US" sz="1200" b="0" i="0" u="none" strike="noStrike">
                        <a:solidFill>
                          <a:srgbClr val="000000"/>
                        </a:solidFill>
                        <a:effectLst/>
                        <a:latin typeface="Arial" panose="020B0604020202020204" pitchFamily="34" charset="0"/>
                      </a:endParaRPr>
                    </a:p>
                  </a:txBody>
                  <a:tcPr marL="7126" marR="7126" marT="7126" marB="0">
                    <a:lnB w="12700" cmpd="sng">
                      <a:noFill/>
                    </a:lnB>
                    <a:noFill/>
                  </a:tcPr>
                </a:tc>
                <a:extLst>
                  <a:ext uri="{0D108BD9-81ED-4DB2-BD59-A6C34878D82A}">
                    <a16:rowId xmlns:a16="http://schemas.microsoft.com/office/drawing/2014/main" val="2313889135"/>
                  </a:ext>
                </a:extLst>
              </a:tr>
              <a:tr h="281912">
                <a:tc>
                  <a:txBody>
                    <a:bodyPr/>
                    <a:lstStyle/>
                    <a:p>
                      <a:pPr marL="0" algn="l" defTabSz="914400" rtl="0" eaLnBrk="1" fontAlgn="b" latinLnBrk="0" hangingPunct="1"/>
                      <a:r>
                        <a:rPr lang="en-US" sz="1200" b="1" u="none" strike="noStrike" kern="1200" dirty="0">
                          <a:solidFill>
                            <a:schemeClr val="bg1"/>
                          </a:solidFill>
                          <a:effectLst/>
                          <a:latin typeface="+mn-lt"/>
                          <a:ea typeface="+mn-ea"/>
                          <a:cs typeface="+mn-cs"/>
                        </a:rPr>
                        <a:t>millions of dollar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6">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Quarter Ended</a:t>
                      </a:r>
                    </a:p>
                  </a:txBody>
                  <a:tcPr marL="9525" marR="9525" marT="9525"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hMerge="1">
                  <a:txBody>
                    <a:bodyPr/>
                    <a:lstStyle/>
                    <a:p>
                      <a:endParaRPr lang="en-US"/>
                    </a:p>
                  </a:txBody>
                  <a:tcPr/>
                </a:tc>
                <a:tc hMerge="1">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6">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Twelve Months Ended</a:t>
                      </a:r>
                    </a:p>
                  </a:txBody>
                  <a:tcPr marL="9525" marR="9525" marT="9525"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noFill/>
                  </a:tcPr>
                </a:tc>
                <a:extLst>
                  <a:ext uri="{0D108BD9-81ED-4DB2-BD59-A6C34878D82A}">
                    <a16:rowId xmlns:a16="http://schemas.microsoft.com/office/drawing/2014/main" val="2397533037"/>
                  </a:ext>
                </a:extLst>
              </a:tr>
              <a:tr h="281912">
                <a:tc>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Dec. 31,</a:t>
                      </a: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Oct. 1,</a:t>
                      </a: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gridSpan="2">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Dec. 31,</a:t>
                      </a: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marL="0" algn="l" defTabSz="914400" rtl="0" eaLnBrk="1" fontAlgn="b" latinLnBrk="0" hangingPunct="1"/>
                      <a:r>
                        <a:rPr lang="en-US" sz="1200" b="1" u="none" strike="noStrike" kern="1200">
                          <a:solidFill>
                            <a:schemeClr val="bg1"/>
                          </a:solidFill>
                          <a:effectLst/>
                          <a:latin typeface="+mn-lt"/>
                          <a:ea typeface="+mn-ea"/>
                          <a:cs typeface="+mn-cs"/>
                        </a:rPr>
                        <a:t>Dec. 31,</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dirty="0">
                          <a:solidFill>
                            <a:schemeClr val="bg1"/>
                          </a:solidFill>
                          <a:effectLst/>
                          <a:latin typeface="+mn-lt"/>
                          <a:ea typeface="+mn-ea"/>
                          <a:cs typeface="+mn-cs"/>
                        </a:rPr>
                        <a:t>Dec. 31,</a:t>
                      </a: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gridSpan="3">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Dec. 31,</a:t>
                      </a:r>
                    </a:p>
                  </a:txBody>
                  <a:tcPr marL="9525" marR="9525" marT="9525"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hMerge="1">
                  <a:txBody>
                    <a:bodyPr/>
                    <a:lstStyle/>
                    <a:p>
                      <a:pPr marL="0" algn="l" defTabSz="914400" rtl="0" eaLnBrk="1" fontAlgn="b" latinLnBrk="0" hangingPunct="1"/>
                      <a:r>
                        <a:rPr lang="en-US" sz="1200" b="1" u="none" strike="noStrike" kern="1200">
                          <a:solidFill>
                            <a:schemeClr val="bg1"/>
                          </a:solidFill>
                          <a:effectLst/>
                          <a:latin typeface="+mn-lt"/>
                          <a:ea typeface="+mn-ea"/>
                          <a:cs typeface="+mn-cs"/>
                        </a:rPr>
                        <a:t>Dec. 31,</a:t>
                      </a:r>
                    </a:p>
                  </a:txBody>
                  <a:tcPr marL="9525" marR="9525" marT="9525" marB="0" anchor="b">
                    <a:lnL w="12700" cmpd="sng">
                      <a:noFill/>
                    </a:lnL>
                    <a:noFill/>
                  </a:tcPr>
                </a:tc>
                <a:extLst>
                  <a:ext uri="{0D108BD9-81ED-4DB2-BD59-A6C34878D82A}">
                    <a16:rowId xmlns:a16="http://schemas.microsoft.com/office/drawing/2014/main" val="2272365193"/>
                  </a:ext>
                </a:extLst>
              </a:tr>
              <a:tr h="183510">
                <a:tc>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202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202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2">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202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marL="0" algn="l" defTabSz="914400" rtl="0" eaLnBrk="1" fontAlgn="b" latinLnBrk="0" hangingPunct="1"/>
                      <a:r>
                        <a:rPr lang="en-US" sz="1200" b="1" u="none" strike="noStrike" kern="1200">
                          <a:solidFill>
                            <a:schemeClr val="bg1"/>
                          </a:solidFill>
                          <a:effectLst/>
                          <a:latin typeface="+mn-lt"/>
                          <a:ea typeface="+mn-ea"/>
                          <a:cs typeface="+mn-cs"/>
                        </a:rPr>
                        <a:t>202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2023</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3">
                  <a:txBody>
                    <a:bodyPr/>
                    <a:lstStyle/>
                    <a:p>
                      <a:pPr marL="0" algn="ctr" defTabSz="914400" rtl="0" eaLnBrk="1" fontAlgn="b" latinLnBrk="0" hangingPunct="1"/>
                      <a:r>
                        <a:rPr lang="en-US" sz="1200" b="1" u="none" strike="noStrike" kern="1200" dirty="0">
                          <a:solidFill>
                            <a:schemeClr val="bg1"/>
                          </a:solidFill>
                          <a:effectLst/>
                          <a:latin typeface="+mn-lt"/>
                          <a:ea typeface="+mn-ea"/>
                          <a:cs typeface="+mn-cs"/>
                        </a:rPr>
                        <a:t>202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marL="0" algn="l" defTabSz="914400" rtl="0" eaLnBrk="1" fontAlgn="b" latinLnBrk="0" hangingPunct="1"/>
                      <a:endParaRPr lang="en-US" sz="1200" b="1" u="none" strike="noStrike" kern="1200">
                        <a:solidFill>
                          <a:schemeClr val="bg1"/>
                        </a:solidFill>
                        <a:effectLst/>
                        <a:latin typeface="+mn-lt"/>
                        <a:ea typeface="+mn-ea"/>
                        <a:cs typeface="+mn-cs"/>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hMerge="1">
                  <a:txBody>
                    <a:bodyPr/>
                    <a:lstStyle/>
                    <a:p>
                      <a:pPr marL="0" algn="l" defTabSz="914400" rtl="0" eaLnBrk="1" fontAlgn="b" latinLnBrk="0" hangingPunct="1"/>
                      <a:r>
                        <a:rPr lang="en-US" sz="1200" b="1" u="none" strike="noStrike" kern="1200">
                          <a:solidFill>
                            <a:schemeClr val="bg1"/>
                          </a:solidFill>
                          <a:effectLst/>
                          <a:latin typeface="+mn-lt"/>
                          <a:ea typeface="+mn-ea"/>
                          <a:cs typeface="+mn-cs"/>
                        </a:rPr>
                        <a:t>2022</a:t>
                      </a:r>
                    </a:p>
                  </a:txBody>
                  <a:tcPr marL="9525" marR="9525" marT="9525" marB="0" anchor="b">
                    <a:lnL w="12700" cmpd="sng">
                      <a:noFill/>
                    </a:lnL>
                    <a:noFill/>
                  </a:tcPr>
                </a:tc>
                <a:extLst>
                  <a:ext uri="{0D108BD9-81ED-4DB2-BD59-A6C34878D82A}">
                    <a16:rowId xmlns:a16="http://schemas.microsoft.com/office/drawing/2014/main" val="2279938911"/>
                  </a:ext>
                </a:extLst>
              </a:tr>
              <a:tr h="259016">
                <a:tc>
                  <a:txBody>
                    <a:bodyPr/>
                    <a:lstStyle/>
                    <a:p>
                      <a:pPr algn="l" fontAlgn="b"/>
                      <a:r>
                        <a:rPr lang="en-US" sz="1200" b="0" i="0" u="none" strike="noStrike" dirty="0">
                          <a:solidFill>
                            <a:srgbClr val="000000"/>
                          </a:solidFill>
                          <a:effectLst/>
                          <a:latin typeface="+mn-lt"/>
                        </a:rPr>
                        <a:t>Net income (loss) attributable to MTI</a:t>
                      </a:r>
                    </a:p>
                  </a:txBody>
                  <a:tcPr marL="9525" marR="9525" marT="9525" marB="0" anchor="b">
                    <a:lnT w="12700" cmpd="sng">
                      <a:noFill/>
                    </a:lnT>
                    <a:noFill/>
                  </a:tcPr>
                </a:tc>
                <a:tc>
                  <a:txBody>
                    <a:bodyPr/>
                    <a:lstStyle/>
                    <a:p>
                      <a:pPr algn="r" fontAlgn="b"/>
                      <a:r>
                        <a:rPr lang="en-US" sz="1200" b="0" i="0" u="none" strike="noStrike">
                          <a:solidFill>
                            <a:srgbClr val="000000"/>
                          </a:solidFill>
                          <a:effectLst/>
                          <a:latin typeface="+mn-lt"/>
                        </a:rPr>
                        <a:t>$</a:t>
                      </a:r>
                    </a:p>
                  </a:txBody>
                  <a:tcPr marL="9525" marR="9525" marT="9525" marB="0" anchor="b">
                    <a:lnT w="12700" cmpd="sng">
                      <a:noFill/>
                    </a:lnT>
                    <a:noFill/>
                  </a:tcPr>
                </a:tc>
                <a:tc>
                  <a:txBody>
                    <a:bodyPr/>
                    <a:lstStyle/>
                    <a:p>
                      <a:pPr algn="r" fontAlgn="b"/>
                      <a:r>
                        <a:rPr lang="en-US" sz="1200" b="0" i="0" u="none" strike="noStrike">
                          <a:effectLst/>
                          <a:latin typeface="+mn-lt"/>
                        </a:rPr>
                        <a:t>39.8 </a:t>
                      </a:r>
                    </a:p>
                  </a:txBody>
                  <a:tcPr marL="9525" marR="9525" marT="9525" marB="0" anchor="b">
                    <a:lnT w="12700" cmpd="sng">
                      <a:noFill/>
                    </a:lnT>
                    <a:noFill/>
                  </a:tcPr>
                </a:tc>
                <a:tc>
                  <a:txBody>
                    <a:bodyPr/>
                    <a:lstStyle/>
                    <a:p>
                      <a:pPr algn="r" fontAlgn="b"/>
                      <a:r>
                        <a:rPr lang="en-US" sz="1200" b="0" i="0" u="none" strike="noStrike">
                          <a:solidFill>
                            <a:srgbClr val="000000"/>
                          </a:solidFill>
                          <a:effectLst/>
                          <a:latin typeface="+mn-lt"/>
                        </a:rPr>
                        <a:t>$</a:t>
                      </a:r>
                    </a:p>
                  </a:txBody>
                  <a:tcPr marL="9525" marR="9525" marT="9525" marB="0" anchor="b">
                    <a:lnT w="12700" cmpd="sng">
                      <a:noFill/>
                    </a:lnT>
                    <a:noFill/>
                  </a:tcPr>
                </a:tc>
                <a:tc>
                  <a:txBody>
                    <a:bodyPr/>
                    <a:lstStyle/>
                    <a:p>
                      <a:pPr algn="r" fontAlgn="b"/>
                      <a:r>
                        <a:rPr lang="en-US" sz="1200" b="0" i="0" u="none" strike="noStrike">
                          <a:effectLst/>
                          <a:latin typeface="+mn-lt"/>
                        </a:rPr>
                        <a:t>(19.2)</a:t>
                      </a:r>
                    </a:p>
                  </a:txBody>
                  <a:tcPr marL="9525" marR="9525" marT="9525" marB="0" anchor="b">
                    <a:lnT w="12700" cmpd="sng">
                      <a:noFill/>
                    </a:lnT>
                    <a:noFill/>
                  </a:tcPr>
                </a:tc>
                <a:tc>
                  <a:txBody>
                    <a:bodyPr/>
                    <a:lstStyle/>
                    <a:p>
                      <a:pPr algn="r" fontAlgn="b"/>
                      <a:r>
                        <a:rPr lang="en-US" sz="1200" b="0" i="0" u="none" strike="noStrike">
                          <a:solidFill>
                            <a:srgbClr val="000000"/>
                          </a:solidFill>
                          <a:effectLst/>
                          <a:latin typeface="+mn-lt"/>
                        </a:rPr>
                        <a:t>$</a:t>
                      </a:r>
                    </a:p>
                  </a:txBody>
                  <a:tcPr marL="9525" marR="9525" marT="9525" marB="0" anchor="b">
                    <a:lnT w="12700" cmpd="sng">
                      <a:noFill/>
                    </a:lnT>
                    <a:noFill/>
                  </a:tcPr>
                </a:tc>
                <a:tc gridSpan="2">
                  <a:txBody>
                    <a:bodyPr/>
                    <a:lstStyle/>
                    <a:p>
                      <a:pPr algn="r" fontAlgn="b"/>
                      <a:r>
                        <a:rPr lang="en-US" sz="1200" b="0" i="0" u="none" strike="noStrike">
                          <a:effectLst/>
                          <a:latin typeface="+mn-lt"/>
                        </a:rPr>
                        <a:t>20.0 </a:t>
                      </a:r>
                      <a:endParaRPr lang="en-US" sz="1200" b="0" i="0" u="none" strike="noStrike">
                        <a:solidFill>
                          <a:srgbClr val="000000"/>
                        </a:solidFill>
                        <a:effectLst/>
                        <a:latin typeface="+mn-lt"/>
                      </a:endParaRPr>
                    </a:p>
                  </a:txBody>
                  <a:tcPr marL="9525" marR="9525" marT="9525" marB="0" anchor="b">
                    <a:lnT w="12700" cmpd="sng">
                      <a:noFill/>
                    </a:lnT>
                    <a:noFill/>
                  </a:tcPr>
                </a:tc>
                <a:tc hMerge="1">
                  <a:txBody>
                    <a:bodyPr/>
                    <a:lstStyle/>
                    <a:p>
                      <a:pPr algn="r" fontAlgn="b"/>
                      <a:r>
                        <a:rPr lang="en-US" sz="1100" b="0" i="0" u="none" strike="noStrike">
                          <a:effectLst/>
                          <a:latin typeface="Arial" panose="020B0604020202020204" pitchFamily="34" charset="0"/>
                        </a:rPr>
                        <a:t>20.0 </a:t>
                      </a:r>
                    </a:p>
                  </a:txBody>
                  <a:tcPr marL="9525" marR="9525" marT="9525" marB="0" anchor="b">
                    <a:lnT w="12700" cmpd="sng">
                      <a:noFill/>
                    </a:lnT>
                    <a:noFill/>
                  </a:tcPr>
                </a:tc>
                <a:tc>
                  <a:txBody>
                    <a:bodyPr/>
                    <a:lstStyle/>
                    <a:p>
                      <a:pPr algn="l" fontAlgn="b"/>
                      <a:endParaRPr lang="en-US" sz="1200" b="0" i="0" u="none" strike="noStrike">
                        <a:effectLst/>
                        <a:latin typeface="+mn-lt"/>
                      </a:endParaRPr>
                    </a:p>
                  </a:txBody>
                  <a:tcPr marL="9525" marR="9525" marT="9525" marB="0" anchor="b">
                    <a:lnT w="12700" cmpd="sng">
                      <a:noFill/>
                    </a:lnT>
                    <a:noFill/>
                  </a:tcPr>
                </a:tc>
                <a:tc>
                  <a:txBody>
                    <a:bodyPr/>
                    <a:lstStyle/>
                    <a:p>
                      <a:pPr algn="l" fontAlgn="b"/>
                      <a:endParaRPr lang="en-US" sz="1200" b="0" i="0" u="none" strike="noStrike">
                        <a:solidFill>
                          <a:srgbClr val="000000"/>
                        </a:solidFill>
                        <a:effectLst/>
                        <a:latin typeface="+mn-lt"/>
                      </a:endParaRPr>
                    </a:p>
                  </a:txBody>
                  <a:tcPr marL="9525" marR="9525" marT="9525" marB="0" anchor="b">
                    <a:lnT w="12700" cmpd="sng">
                      <a:noFill/>
                    </a:lnT>
                    <a:noFill/>
                  </a:tcPr>
                </a:tc>
                <a:tc>
                  <a:txBody>
                    <a:bodyPr/>
                    <a:lstStyle/>
                    <a:p>
                      <a:pPr algn="r" fontAlgn="b"/>
                      <a:r>
                        <a:rPr lang="en-US" sz="1200" b="0" i="0" u="none" strike="noStrike">
                          <a:solidFill>
                            <a:srgbClr val="000000"/>
                          </a:solidFill>
                          <a:effectLst/>
                          <a:latin typeface="+mn-lt"/>
                        </a:rPr>
                        <a:t>$</a:t>
                      </a:r>
                    </a:p>
                  </a:txBody>
                  <a:tcPr marL="9525" marR="9525" marT="9525" marB="0" anchor="b">
                    <a:lnT w="12700" cmpd="sng">
                      <a:noFill/>
                    </a:lnT>
                    <a:noFill/>
                  </a:tcPr>
                </a:tc>
                <a:tc>
                  <a:txBody>
                    <a:bodyPr/>
                    <a:lstStyle/>
                    <a:p>
                      <a:pPr algn="r" fontAlgn="b"/>
                      <a:r>
                        <a:rPr lang="en-US" sz="1200" b="0" i="0" u="none" strike="noStrike">
                          <a:solidFill>
                            <a:srgbClr val="000000"/>
                          </a:solidFill>
                          <a:effectLst/>
                          <a:latin typeface="+mn-lt"/>
                        </a:rPr>
                        <a:t>84.1 </a:t>
                      </a:r>
                    </a:p>
                  </a:txBody>
                  <a:tcPr marL="9525" marR="9525" marT="9525" marB="0" anchor="b">
                    <a:lnT w="12700" cmpd="sng">
                      <a:noFill/>
                    </a:lnT>
                    <a:noFill/>
                  </a:tcPr>
                </a:tc>
                <a:tc>
                  <a:txBody>
                    <a:bodyPr/>
                    <a:lstStyle/>
                    <a:p>
                      <a:pPr algn="r" fontAlgn="b"/>
                      <a:r>
                        <a:rPr lang="en-US" sz="1200" b="0" i="0" u="none" strike="noStrike">
                          <a:solidFill>
                            <a:srgbClr val="000000"/>
                          </a:solidFill>
                          <a:effectLst/>
                          <a:latin typeface="+mn-lt"/>
                        </a:rPr>
                        <a:t>$</a:t>
                      </a:r>
                    </a:p>
                  </a:txBody>
                  <a:tcPr marL="9525" marR="9525" marT="9525" marB="0" anchor="b">
                    <a:lnT w="12700" cmpd="sng">
                      <a:noFill/>
                    </a:lnT>
                    <a:noFill/>
                  </a:tcPr>
                </a:tc>
                <a:tc gridSpan="3">
                  <a:txBody>
                    <a:bodyPr/>
                    <a:lstStyle/>
                    <a:p>
                      <a:pPr algn="r"/>
                      <a:r>
                        <a:rPr lang="en-US" sz="1200" b="0" i="0" u="none" strike="noStrike" dirty="0">
                          <a:effectLst/>
                          <a:latin typeface="+mn-lt"/>
                        </a:rPr>
                        <a:t>122.2 </a:t>
                      </a:r>
                      <a:endParaRPr lang="en-US" sz="1200" dirty="0">
                        <a:latin typeface="+mn-lt"/>
                      </a:endParaRPr>
                    </a:p>
                  </a:txBody>
                  <a:tcPr marL="9525" marR="9525" marT="9525" marB="0" anchor="b">
                    <a:lnT w="12700" cmpd="sng">
                      <a:noFill/>
                    </a:lnT>
                    <a:noFill/>
                  </a:tcPr>
                </a:tc>
                <a:tc hMerge="1">
                  <a:txBody>
                    <a:bodyPr/>
                    <a:lstStyle/>
                    <a:p>
                      <a:pPr algn="r" fontAlgn="b"/>
                      <a:r>
                        <a:rPr lang="en-US" sz="1100" b="0" i="0" u="none" strike="noStrike">
                          <a:solidFill>
                            <a:srgbClr val="000000"/>
                          </a:solidFill>
                          <a:effectLst/>
                          <a:latin typeface="Arial" panose="020B0604020202020204" pitchFamily="34" charset="0"/>
                        </a:rPr>
                        <a:t>$</a:t>
                      </a:r>
                    </a:p>
                  </a:txBody>
                  <a:tcPr marL="9525" marR="9525" marT="9525" marB="0" anchor="b">
                    <a:lnT w="12700" cmpd="sng">
                      <a:noFill/>
                    </a:lnT>
                    <a:noFill/>
                  </a:tcPr>
                </a:tc>
                <a:tc hMerge="1">
                  <a:txBody>
                    <a:bodyPr/>
                    <a:lstStyle/>
                    <a:p>
                      <a:pPr algn="r" fontAlgn="b"/>
                      <a:r>
                        <a:rPr lang="en-US" sz="1100" b="0" i="0" u="none" strike="noStrike">
                          <a:effectLst/>
                          <a:latin typeface="Arial" panose="020B0604020202020204" pitchFamily="34" charset="0"/>
                        </a:rPr>
                        <a:t>122.2 </a:t>
                      </a:r>
                    </a:p>
                  </a:txBody>
                  <a:tcPr marL="9525" marR="9525" marT="9525" marB="0" anchor="b">
                    <a:noFill/>
                  </a:tcPr>
                </a:tc>
                <a:extLst>
                  <a:ext uri="{0D108BD9-81ED-4DB2-BD59-A6C34878D82A}">
                    <a16:rowId xmlns:a16="http://schemas.microsoft.com/office/drawing/2014/main" val="848746739"/>
                  </a:ext>
                </a:extLst>
              </a:tr>
              <a:tr h="270723">
                <a:tc>
                  <a:txBody>
                    <a:bodyPr/>
                    <a:lstStyle/>
                    <a:p>
                      <a:pPr algn="l" fontAlgn="b"/>
                      <a:r>
                        <a:rPr lang="en-US" sz="1200" b="0" i="0" u="none" strike="noStrike" dirty="0">
                          <a:solidFill>
                            <a:srgbClr val="000000"/>
                          </a:solidFill>
                          <a:effectLst/>
                          <a:latin typeface="+mn-lt"/>
                        </a:rPr>
                        <a:t>Special items:</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endParaRPr lang="en-US" sz="1200" b="0" i="0" u="none" strike="noStrike">
                        <a:solidFill>
                          <a:srgbClr val="000000"/>
                        </a:solidFill>
                        <a:effectLst/>
                        <a:latin typeface="+mn-lt"/>
                      </a:endParaRPr>
                    </a:p>
                  </a:txBody>
                  <a:tcPr marL="9525" marR="9525" marT="9525" marB="0" anchor="b">
                    <a:noFill/>
                  </a:tcPr>
                </a:tc>
                <a:tc hMerge="1">
                  <a:txBody>
                    <a:bodyPr/>
                    <a:lstStyle/>
                    <a:p>
                      <a:pPr algn="l" fontAlgn="b"/>
                      <a:endParaRPr lang="en-US" sz="1100" b="0" i="0" u="none" strike="noStrike">
                        <a:effectLst/>
                        <a:latin typeface="Arial" panose="020B0604020202020204" pitchFamily="34" charset="0"/>
                      </a:endParaRP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3">
                  <a:txBody>
                    <a:bodyPr/>
                    <a:lstStyle/>
                    <a:p>
                      <a:pPr algn="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l" fontAlgn="b"/>
                      <a:endParaRPr lang="en-US" sz="1100" b="0" i="0" u="none" strike="noStrike">
                        <a:solidFill>
                          <a:srgbClr val="000000"/>
                        </a:solidFill>
                        <a:effectLst/>
                        <a:latin typeface="Arial" panose="020B0604020202020204" pitchFamily="34" charset="0"/>
                      </a:endParaRPr>
                    </a:p>
                  </a:txBody>
                  <a:tcPr marL="9525" marR="9525" marT="9525" marB="0" anchor="b">
                    <a:noFill/>
                  </a:tcPr>
                </a:tc>
                <a:extLst>
                  <a:ext uri="{0D108BD9-81ED-4DB2-BD59-A6C34878D82A}">
                    <a16:rowId xmlns:a16="http://schemas.microsoft.com/office/drawing/2014/main" val="463568047"/>
                  </a:ext>
                </a:extLst>
              </a:tr>
              <a:tr h="168975">
                <a:tc>
                  <a:txBody>
                    <a:bodyPr/>
                    <a:lstStyle/>
                    <a:p>
                      <a:pPr algn="l" fontAlgn="b"/>
                      <a:r>
                        <a:rPr lang="en-US" sz="1200" b="0" i="0" u="none" strike="noStrike">
                          <a:solidFill>
                            <a:srgbClr val="000000"/>
                          </a:solidFill>
                          <a:effectLst/>
                          <a:latin typeface="+mn-lt"/>
                        </a:rPr>
                        <a:t>Restructuring and other items, net</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3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r>
                        <a:rPr lang="en-US" sz="1200" b="0" i="0" u="none" strike="noStrike">
                          <a:solidFill>
                            <a:srgbClr val="000000"/>
                          </a:solidFill>
                          <a:effectLst/>
                          <a:latin typeface="+mn-lt"/>
                        </a:rPr>
                        <a:t>0.0 </a:t>
                      </a: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0.0 </a:t>
                      </a: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6.9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3">
                  <a:txBody>
                    <a:bodyPr/>
                    <a:lstStyle/>
                    <a:p>
                      <a:pPr algn="r"/>
                      <a:r>
                        <a:rPr lang="en-US" sz="1200" b="0" i="0" u="none" strike="noStrike">
                          <a:solidFill>
                            <a:srgbClr val="000000"/>
                          </a:solidFill>
                          <a:effectLst/>
                          <a:latin typeface="+mn-lt"/>
                        </a:rPr>
                        <a:t>0.0 </a:t>
                      </a: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0.0 </a:t>
                      </a:r>
                    </a:p>
                  </a:txBody>
                  <a:tcPr marL="9525" marR="9525" marT="9525" marB="0" anchor="b">
                    <a:noFill/>
                  </a:tcPr>
                </a:tc>
                <a:extLst>
                  <a:ext uri="{0D108BD9-81ED-4DB2-BD59-A6C34878D82A}">
                    <a16:rowId xmlns:a16="http://schemas.microsoft.com/office/drawing/2014/main" val="3549337787"/>
                  </a:ext>
                </a:extLst>
              </a:tr>
              <a:tr h="168975">
                <a:tc>
                  <a:txBody>
                    <a:bodyPr/>
                    <a:lstStyle/>
                    <a:p>
                      <a:pPr algn="l" fontAlgn="b"/>
                      <a:r>
                        <a:rPr lang="en-US" sz="1200" b="0" i="0" u="none" strike="noStrike" dirty="0">
                          <a:solidFill>
                            <a:srgbClr val="000000"/>
                          </a:solidFill>
                          <a:effectLst/>
                          <a:latin typeface="+mn-lt"/>
                        </a:rPr>
                        <a:t>Impairment of assets</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71.7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r>
                        <a:rPr lang="en-US" sz="1200" b="0" i="0" u="none" strike="noStrike" dirty="0">
                          <a:solidFill>
                            <a:srgbClr val="000000"/>
                          </a:solidFill>
                          <a:effectLst/>
                          <a:latin typeface="+mn-lt"/>
                        </a:rPr>
                        <a:t>0.0 </a:t>
                      </a: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0.0 </a:t>
                      </a: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71.7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3">
                  <a:txBody>
                    <a:bodyPr/>
                    <a:lstStyle/>
                    <a:p>
                      <a:pPr algn="r"/>
                      <a:r>
                        <a:rPr lang="en-US" sz="1200" b="0" i="0" u="none" strike="noStrike">
                          <a:solidFill>
                            <a:srgbClr val="000000"/>
                          </a:solidFill>
                          <a:effectLst/>
                          <a:latin typeface="+mn-lt"/>
                        </a:rPr>
                        <a:t>0.0 </a:t>
                      </a: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0.0 </a:t>
                      </a:r>
                    </a:p>
                  </a:txBody>
                  <a:tcPr marL="9525" marR="9525" marT="9525" marB="0" anchor="b">
                    <a:noFill/>
                  </a:tcPr>
                </a:tc>
                <a:extLst>
                  <a:ext uri="{0D108BD9-81ED-4DB2-BD59-A6C34878D82A}">
                    <a16:rowId xmlns:a16="http://schemas.microsoft.com/office/drawing/2014/main" val="2820585563"/>
                  </a:ext>
                </a:extLst>
              </a:tr>
              <a:tr h="168975">
                <a:tc>
                  <a:txBody>
                    <a:bodyPr/>
                    <a:lstStyle/>
                    <a:p>
                      <a:pPr algn="l" fontAlgn="b"/>
                      <a:r>
                        <a:rPr lang="en-US" sz="1200" b="0" i="0" u="none" strike="noStrike">
                          <a:solidFill>
                            <a:srgbClr val="000000"/>
                          </a:solidFill>
                          <a:effectLst/>
                          <a:latin typeface="+mn-lt"/>
                        </a:rPr>
                        <a:t>Acquisition-related expenses</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r>
                        <a:rPr lang="en-US" sz="1200" b="0" i="0" u="none" strike="noStrike">
                          <a:solidFill>
                            <a:srgbClr val="000000"/>
                          </a:solidFill>
                          <a:effectLst/>
                          <a:latin typeface="+mn-lt"/>
                        </a:rPr>
                        <a:t>0.4 </a:t>
                      </a: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0.4 </a:t>
                      </a: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3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3">
                  <a:txBody>
                    <a:bodyPr/>
                    <a:lstStyle/>
                    <a:p>
                      <a:pPr algn="r"/>
                      <a:r>
                        <a:rPr lang="en-US" sz="1200" b="0" i="0" u="none" strike="noStrike">
                          <a:solidFill>
                            <a:srgbClr val="000000"/>
                          </a:solidFill>
                          <a:effectLst/>
                          <a:latin typeface="+mn-lt"/>
                        </a:rPr>
                        <a:t>5.1 </a:t>
                      </a: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5.1 </a:t>
                      </a:r>
                    </a:p>
                  </a:txBody>
                  <a:tcPr marL="9525" marR="9525" marT="9525" marB="0" anchor="b">
                    <a:noFill/>
                  </a:tcPr>
                </a:tc>
                <a:extLst>
                  <a:ext uri="{0D108BD9-81ED-4DB2-BD59-A6C34878D82A}">
                    <a16:rowId xmlns:a16="http://schemas.microsoft.com/office/drawing/2014/main" val="4090479813"/>
                  </a:ext>
                </a:extLst>
              </a:tr>
              <a:tr h="168975">
                <a:tc>
                  <a:txBody>
                    <a:bodyPr/>
                    <a:lstStyle/>
                    <a:p>
                      <a:pPr algn="l" fontAlgn="b"/>
                      <a:r>
                        <a:rPr lang="en-US" sz="1200" b="0" i="0" u="none" strike="noStrike">
                          <a:solidFill>
                            <a:srgbClr val="000000"/>
                          </a:solidFill>
                          <a:effectLst/>
                          <a:latin typeface="+mn-lt"/>
                        </a:rPr>
                        <a:t>Litigation expenses</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2.4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12.9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r>
                        <a:rPr lang="en-US" sz="1200" b="0" i="0" u="none" strike="noStrike">
                          <a:solidFill>
                            <a:srgbClr val="000000"/>
                          </a:solidFill>
                          <a:effectLst/>
                          <a:latin typeface="+mn-lt"/>
                        </a:rPr>
                        <a:t>0.0 </a:t>
                      </a: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0.0 </a:t>
                      </a: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dirty="0">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29.2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3">
                  <a:txBody>
                    <a:bodyPr/>
                    <a:lstStyle/>
                    <a:p>
                      <a:pPr algn="r"/>
                      <a:r>
                        <a:rPr lang="en-US" sz="1200" b="0" i="0" u="none" strike="noStrike">
                          <a:solidFill>
                            <a:srgbClr val="000000"/>
                          </a:solidFill>
                          <a:effectLst/>
                          <a:latin typeface="+mn-lt"/>
                        </a:rPr>
                        <a:t>32.6 </a:t>
                      </a: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32.6 </a:t>
                      </a:r>
                    </a:p>
                  </a:txBody>
                  <a:tcPr marL="9525" marR="9525" marT="9525" marB="0" anchor="b">
                    <a:noFill/>
                  </a:tcPr>
                </a:tc>
                <a:extLst>
                  <a:ext uri="{0D108BD9-81ED-4DB2-BD59-A6C34878D82A}">
                    <a16:rowId xmlns:a16="http://schemas.microsoft.com/office/drawing/2014/main" val="1091216910"/>
                  </a:ext>
                </a:extLst>
              </a:tr>
              <a:tr h="168975">
                <a:tc>
                  <a:txBody>
                    <a:bodyPr/>
                    <a:lstStyle/>
                    <a:p>
                      <a:pPr algn="l" fontAlgn="b"/>
                      <a:r>
                        <a:rPr lang="en-US" sz="1200" b="0" i="0" u="none" strike="noStrike">
                          <a:solidFill>
                            <a:srgbClr val="000000"/>
                          </a:solidFill>
                          <a:effectLst/>
                          <a:latin typeface="+mn-lt"/>
                        </a:rPr>
                        <a:t>Debt extinguishment expenses</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r>
                        <a:rPr lang="en-US" sz="1200" b="0" i="0" u="none" strike="noStrike">
                          <a:solidFill>
                            <a:srgbClr val="000000"/>
                          </a:solidFill>
                          <a:effectLst/>
                          <a:latin typeface="+mn-lt"/>
                        </a:rPr>
                        <a:t>0.0 </a:t>
                      </a: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0.0 </a:t>
                      </a: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dirty="0">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3">
                  <a:txBody>
                    <a:bodyPr/>
                    <a:lstStyle/>
                    <a:p>
                      <a:pPr algn="r"/>
                      <a:r>
                        <a:rPr lang="en-US" sz="1200" b="0" i="0" u="none" strike="noStrike">
                          <a:solidFill>
                            <a:srgbClr val="000000"/>
                          </a:solidFill>
                          <a:effectLst/>
                          <a:latin typeface="+mn-lt"/>
                        </a:rPr>
                        <a:t>6.9 </a:t>
                      </a: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6.9 </a:t>
                      </a:r>
                    </a:p>
                  </a:txBody>
                  <a:tcPr marL="9525" marR="9525" marT="9525" marB="0" anchor="b">
                    <a:noFill/>
                  </a:tcPr>
                </a:tc>
                <a:extLst>
                  <a:ext uri="{0D108BD9-81ED-4DB2-BD59-A6C34878D82A}">
                    <a16:rowId xmlns:a16="http://schemas.microsoft.com/office/drawing/2014/main" val="112510217"/>
                  </a:ext>
                </a:extLst>
              </a:tr>
              <a:tr h="168975">
                <a:tc>
                  <a:txBody>
                    <a:bodyPr/>
                    <a:lstStyle/>
                    <a:p>
                      <a:pPr algn="l" fontAlgn="b"/>
                      <a:r>
                        <a:rPr lang="en-US" sz="1200" b="0" i="0" u="none" strike="noStrike">
                          <a:solidFill>
                            <a:srgbClr val="000000"/>
                          </a:solidFill>
                          <a:effectLst/>
                          <a:latin typeface="+mn-lt"/>
                        </a:rPr>
                        <a:t>Non-cash pension settlement charge</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r>
                        <a:rPr lang="en-US" sz="1200" b="0" i="0" u="none" strike="noStrike">
                          <a:solidFill>
                            <a:srgbClr val="000000"/>
                          </a:solidFill>
                          <a:effectLst/>
                          <a:latin typeface="+mn-lt"/>
                        </a:rPr>
                        <a:t>1.8 </a:t>
                      </a: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1.8 </a:t>
                      </a: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dirty="0">
                          <a:solidFill>
                            <a:srgbClr val="000000"/>
                          </a:solidFill>
                          <a:effectLst/>
                          <a:latin typeface="+mn-lt"/>
                        </a:rPr>
                        <a:t>0.0 </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3">
                  <a:txBody>
                    <a:bodyPr/>
                    <a:lstStyle/>
                    <a:p>
                      <a:pPr algn="r"/>
                      <a:r>
                        <a:rPr lang="en-US" sz="1200" b="0" i="0" u="none" strike="noStrike">
                          <a:solidFill>
                            <a:srgbClr val="000000"/>
                          </a:solidFill>
                          <a:effectLst/>
                          <a:latin typeface="+mn-lt"/>
                        </a:rPr>
                        <a:t>3.5 </a:t>
                      </a: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3.5 </a:t>
                      </a:r>
                    </a:p>
                  </a:txBody>
                  <a:tcPr marL="9525" marR="9525" marT="9525" marB="0" anchor="b">
                    <a:noFill/>
                  </a:tcPr>
                </a:tc>
                <a:extLst>
                  <a:ext uri="{0D108BD9-81ED-4DB2-BD59-A6C34878D82A}">
                    <a16:rowId xmlns:a16="http://schemas.microsoft.com/office/drawing/2014/main" val="952081312"/>
                  </a:ext>
                </a:extLst>
              </a:tr>
              <a:tr h="259016">
                <a:tc>
                  <a:txBody>
                    <a:bodyPr/>
                    <a:lstStyle/>
                    <a:p>
                      <a:pPr algn="l" fontAlgn="b"/>
                      <a:r>
                        <a:rPr lang="en-US" sz="1200" b="0" i="0" u="none" strike="noStrike">
                          <a:solidFill>
                            <a:srgbClr val="000000"/>
                          </a:solidFill>
                          <a:effectLst/>
                          <a:latin typeface="+mn-lt"/>
                        </a:rPr>
                        <a:t>Related tax effects on special items</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sng" strike="noStrike">
                          <a:solidFill>
                            <a:srgbClr val="000000"/>
                          </a:solidFill>
                          <a:effectLst/>
                          <a:latin typeface="+mn-lt"/>
                        </a:rPr>
                        <a:t>(0.5)</a:t>
                      </a:r>
                    </a:p>
                  </a:txBody>
                  <a:tcPr marL="9525" marR="9525" marT="9525" marB="0" anchor="b">
                    <a:noFill/>
                  </a:tcPr>
                </a:tc>
                <a:tc>
                  <a:txBody>
                    <a:bodyPr/>
                    <a:lstStyle/>
                    <a:p>
                      <a:pPr algn="r" fontAlgn="b"/>
                      <a:endParaRPr lang="en-US" sz="1200" b="0" i="0" u="sng" strike="noStrike">
                        <a:solidFill>
                          <a:srgbClr val="000000"/>
                        </a:solidFill>
                        <a:effectLst/>
                        <a:latin typeface="+mn-lt"/>
                      </a:endParaRPr>
                    </a:p>
                  </a:txBody>
                  <a:tcPr marL="9525" marR="9525" marT="9525" marB="0" anchor="b">
                    <a:noFill/>
                  </a:tcPr>
                </a:tc>
                <a:tc>
                  <a:txBody>
                    <a:bodyPr/>
                    <a:lstStyle/>
                    <a:p>
                      <a:pPr algn="r" fontAlgn="b"/>
                      <a:r>
                        <a:rPr lang="en-US" sz="1200" b="0" i="0" u="sng" strike="noStrike">
                          <a:solidFill>
                            <a:srgbClr val="000000"/>
                          </a:solidFill>
                          <a:effectLst/>
                          <a:latin typeface="+mn-lt"/>
                        </a:rPr>
                        <a:t>(17.2)</a:t>
                      </a: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gridSpan="2">
                  <a:txBody>
                    <a:bodyPr/>
                    <a:lstStyle/>
                    <a:p>
                      <a:pPr algn="r" fontAlgn="b"/>
                      <a:r>
                        <a:rPr lang="en-US" sz="1200" b="0" i="0" u="sng" strike="noStrike">
                          <a:solidFill>
                            <a:srgbClr val="000000"/>
                          </a:solidFill>
                          <a:effectLst/>
                          <a:latin typeface="+mn-lt"/>
                        </a:rPr>
                        <a:t>(0.5)</a:t>
                      </a:r>
                      <a:endParaRPr lang="en-US" sz="1200" b="0" i="0" u="none" strike="noStrike">
                        <a:solidFill>
                          <a:srgbClr val="000000"/>
                        </a:solidFill>
                        <a:effectLst/>
                        <a:latin typeface="+mn-lt"/>
                      </a:endParaRPr>
                    </a:p>
                  </a:txBody>
                  <a:tcPr marL="9525" marR="9525" marT="9525" marB="0" anchor="b">
                    <a:noFill/>
                  </a:tcPr>
                </a:tc>
                <a:tc hMerge="1">
                  <a:txBody>
                    <a:bodyPr/>
                    <a:lstStyle/>
                    <a:p>
                      <a:pPr algn="r" fontAlgn="b"/>
                      <a:r>
                        <a:rPr lang="en-US" sz="1100" b="0" i="0" u="sng" strike="noStrike">
                          <a:solidFill>
                            <a:srgbClr val="000000"/>
                          </a:solidFill>
                          <a:effectLst/>
                          <a:latin typeface="Arial" panose="020B0604020202020204" pitchFamily="34" charset="0"/>
                        </a:rPr>
                        <a:t>(0.5)</a:t>
                      </a:r>
                    </a:p>
                  </a:txBody>
                  <a:tcPr marL="9525" marR="9525" marT="9525" marB="0" anchor="b">
                    <a:noFill/>
                  </a:tcPr>
                </a:tc>
                <a:tc>
                  <a:txBody>
                    <a:bodyPr/>
                    <a:lstStyle/>
                    <a:p>
                      <a:pPr algn="l" fontAlgn="b"/>
                      <a:endParaRPr lang="en-US" sz="1200" b="0" i="0" u="sng" strike="noStrike">
                        <a:solidFill>
                          <a:srgbClr val="000000"/>
                        </a:solidFill>
                        <a:effectLst/>
                        <a:latin typeface="+mn-lt"/>
                      </a:endParaRPr>
                    </a:p>
                  </a:txBody>
                  <a:tcPr marL="9525" marR="9525" marT="9525" marB="0" anchor="b">
                    <a:noFill/>
                  </a:tcPr>
                </a:tc>
                <a:tc>
                  <a:txBody>
                    <a:bodyPr/>
                    <a:lstStyle/>
                    <a:p>
                      <a:pPr algn="l" fontAlgn="b"/>
                      <a:endParaRPr lang="en-US" sz="1200" b="0" i="0" u="sng" strike="noStrike">
                        <a:solidFill>
                          <a:srgbClr val="000000"/>
                        </a:solidFill>
                        <a:effectLst/>
                        <a:latin typeface="+mn-lt"/>
                      </a:endParaRPr>
                    </a:p>
                  </a:txBody>
                  <a:tcPr marL="9525" marR="9525" marT="9525" marB="0" anchor="b">
                    <a:noFill/>
                  </a:tcPr>
                </a:tc>
                <a:tc>
                  <a:txBody>
                    <a:bodyPr/>
                    <a:lstStyle/>
                    <a:p>
                      <a:pPr algn="r"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sng" strike="noStrike" dirty="0">
                          <a:solidFill>
                            <a:srgbClr val="000000"/>
                          </a:solidFill>
                          <a:effectLst/>
                          <a:latin typeface="+mn-lt"/>
                        </a:rPr>
                        <a:t>(22.3)</a:t>
                      </a:r>
                      <a:endParaRPr lang="en-US" sz="1200" b="0" i="0" u="none" strike="noStrike" dirty="0">
                        <a:solidFill>
                          <a:srgbClr val="000000"/>
                        </a:solidFill>
                        <a:effectLst/>
                        <a:latin typeface="+mn-lt"/>
                      </a:endParaRPr>
                    </a:p>
                  </a:txBody>
                  <a:tcPr marL="9525" marR="9525" marT="9525" marB="0" anchor="b">
                    <a:noFill/>
                  </a:tcPr>
                </a:tc>
                <a:tc>
                  <a:txBody>
                    <a:bodyPr/>
                    <a:lstStyle/>
                    <a:p>
                      <a:pPr algn="r" fontAlgn="b"/>
                      <a:endParaRPr lang="en-US" sz="1200" b="0" i="0" u="sng" strike="noStrike" dirty="0">
                        <a:solidFill>
                          <a:srgbClr val="000000"/>
                        </a:solidFill>
                        <a:effectLst/>
                        <a:latin typeface="+mn-lt"/>
                      </a:endParaRPr>
                    </a:p>
                  </a:txBody>
                  <a:tcPr marL="9525" marR="9525" marT="9525" marB="0" anchor="b">
                    <a:noFill/>
                  </a:tcPr>
                </a:tc>
                <a:tc gridSpan="3">
                  <a:txBody>
                    <a:bodyPr/>
                    <a:lstStyle/>
                    <a:p>
                      <a:pPr algn="r"/>
                      <a:r>
                        <a:rPr lang="en-US" sz="1200" b="0" i="0" u="sng" strike="noStrike">
                          <a:solidFill>
                            <a:srgbClr val="000000"/>
                          </a:solidFill>
                          <a:effectLst/>
                          <a:latin typeface="+mn-lt"/>
                        </a:rPr>
                        <a:t>(10.2)</a:t>
                      </a:r>
                      <a:endParaRPr lang="en-US" sz="1200">
                        <a:latin typeface="+mn-lt"/>
                      </a:endParaRPr>
                    </a:p>
                  </a:txBody>
                  <a:tcPr marL="9525" marR="9525" marT="9525" marB="0" anchor="b">
                    <a:noFill/>
                  </a:tcPr>
                </a:tc>
                <a:tc hMerge="1">
                  <a:txBody>
                    <a:bodyPr/>
                    <a:lstStyle/>
                    <a:p>
                      <a:pPr algn="r" fontAlgn="b"/>
                      <a:endParaRPr lang="en-US" sz="1100" b="0" i="0" u="none" strike="noStrike">
                        <a:solidFill>
                          <a:srgbClr val="000000"/>
                        </a:solidFill>
                        <a:effectLst/>
                        <a:latin typeface="Arial" panose="020B0604020202020204" pitchFamily="34" charset="0"/>
                      </a:endParaRPr>
                    </a:p>
                  </a:txBody>
                  <a:tcPr marL="9525" marR="9525" marT="9525" marB="0" anchor="b">
                    <a:noFill/>
                  </a:tcPr>
                </a:tc>
                <a:tc hMerge="1">
                  <a:txBody>
                    <a:bodyPr/>
                    <a:lstStyle/>
                    <a:p>
                      <a:pPr algn="r" fontAlgn="b"/>
                      <a:r>
                        <a:rPr lang="en-US" sz="1100" b="0" i="0" u="sng" strike="noStrike">
                          <a:solidFill>
                            <a:srgbClr val="000000"/>
                          </a:solidFill>
                          <a:effectLst/>
                          <a:latin typeface="Arial" panose="020B0604020202020204" pitchFamily="34" charset="0"/>
                        </a:rPr>
                        <a:t>(10.2)</a:t>
                      </a:r>
                    </a:p>
                  </a:txBody>
                  <a:tcPr marL="9525" marR="9525" marT="9525" marB="0" anchor="b">
                    <a:noFill/>
                  </a:tcPr>
                </a:tc>
                <a:extLst>
                  <a:ext uri="{0D108BD9-81ED-4DB2-BD59-A6C34878D82A}">
                    <a16:rowId xmlns:a16="http://schemas.microsoft.com/office/drawing/2014/main" val="47914858"/>
                  </a:ext>
                </a:extLst>
              </a:tr>
              <a:tr h="360402">
                <a:tc>
                  <a:txBody>
                    <a:bodyPr/>
                    <a:lstStyle/>
                    <a:p>
                      <a:pPr algn="l" fontAlgn="b"/>
                      <a:r>
                        <a:rPr lang="en-US" sz="1200" b="0" i="0" u="none" strike="noStrike">
                          <a:solidFill>
                            <a:srgbClr val="000000"/>
                          </a:solidFill>
                          <a:effectLst/>
                          <a:latin typeface="+mn-lt"/>
                        </a:rPr>
                        <a:t>Net income attributable to MTI, excluding special items</a:t>
                      </a:r>
                    </a:p>
                  </a:txBody>
                  <a:tcPr marL="9525" marR="9525" marT="9525" marB="0" anchor="b">
                    <a:noFill/>
                  </a:tcPr>
                </a:tc>
                <a:tc>
                  <a:txBody>
                    <a:bodyPr/>
                    <a:lstStyle/>
                    <a:p>
                      <a:pPr algn="r" fontAlgn="b"/>
                      <a:r>
                        <a:rPr lang="en-US" sz="1200" b="0" i="0" u="none" strike="noStrike">
                          <a:solidFill>
                            <a:srgbClr val="000000"/>
                          </a:solidFill>
                          <a:effectLst/>
                          <a:latin typeface="+mn-lt"/>
                        </a:rPr>
                        <a:t>$</a:t>
                      </a:r>
                    </a:p>
                  </a:txBody>
                  <a:tcPr marL="9525" marR="9525" marT="9525" marB="0" anchor="b">
                    <a:noFill/>
                  </a:tcPr>
                </a:tc>
                <a:tc>
                  <a:txBody>
                    <a:bodyPr/>
                    <a:lstStyle/>
                    <a:p>
                      <a:pPr algn="r" fontAlgn="b"/>
                      <a:r>
                        <a:rPr lang="en-US" sz="1200" b="0" i="0" u="none" strike="noStrike">
                          <a:solidFill>
                            <a:srgbClr val="000000"/>
                          </a:solidFill>
                          <a:effectLst/>
                          <a:latin typeface="+mn-lt"/>
                        </a:rPr>
                        <a:t>41.7</a:t>
                      </a:r>
                    </a:p>
                  </a:txBody>
                  <a:tcPr marL="9525" marR="9525" marT="9525" marB="0" anchor="b">
                    <a:noFill/>
                  </a:tcPr>
                </a:tc>
                <a:tc>
                  <a:txBody>
                    <a:bodyPr/>
                    <a:lstStyle/>
                    <a:p>
                      <a:pPr algn="r" fontAlgn="b"/>
                      <a:r>
                        <a:rPr lang="en-US" sz="1200" b="0" i="0" u="none" strike="noStrike">
                          <a:solidFill>
                            <a:srgbClr val="000000"/>
                          </a:solidFill>
                          <a:effectLst/>
                          <a:latin typeface="+mn-lt"/>
                        </a:rPr>
                        <a:t>$</a:t>
                      </a:r>
                    </a:p>
                  </a:txBody>
                  <a:tcPr marL="9525" marR="9525" marT="9525" marB="0" anchor="b">
                    <a:noFill/>
                  </a:tcPr>
                </a:tc>
                <a:tc>
                  <a:txBody>
                    <a:bodyPr/>
                    <a:lstStyle/>
                    <a:p>
                      <a:pPr algn="r" fontAlgn="b"/>
                      <a:r>
                        <a:rPr lang="en-US" sz="1200" b="0" i="0" u="none" strike="noStrike">
                          <a:solidFill>
                            <a:srgbClr val="000000"/>
                          </a:solidFill>
                          <a:effectLst/>
                          <a:latin typeface="+mn-lt"/>
                        </a:rPr>
                        <a:t>48.5</a:t>
                      </a:r>
                    </a:p>
                  </a:txBody>
                  <a:tcPr marL="9525" marR="9525" marT="9525" marB="0" anchor="b">
                    <a:noFill/>
                  </a:tcPr>
                </a:tc>
                <a:tc>
                  <a:txBody>
                    <a:bodyPr/>
                    <a:lstStyle/>
                    <a:p>
                      <a:pPr algn="r" fontAlgn="b"/>
                      <a:r>
                        <a:rPr lang="en-US" sz="1200" b="0" i="0" u="none" strike="noStrike">
                          <a:solidFill>
                            <a:srgbClr val="000000"/>
                          </a:solidFill>
                          <a:effectLst/>
                          <a:latin typeface="+mn-lt"/>
                        </a:rPr>
                        <a:t>$</a:t>
                      </a:r>
                    </a:p>
                  </a:txBody>
                  <a:tcPr marL="9525" marR="9525" marT="9525" marB="0" anchor="b">
                    <a:noFill/>
                  </a:tcPr>
                </a:tc>
                <a:tc gridSpan="2">
                  <a:txBody>
                    <a:bodyPr/>
                    <a:lstStyle/>
                    <a:p>
                      <a:pPr algn="r" fontAlgn="b"/>
                      <a:r>
                        <a:rPr lang="en-US" sz="1200" b="0" i="0" u="none" strike="noStrike">
                          <a:solidFill>
                            <a:srgbClr val="000000"/>
                          </a:solidFill>
                          <a:effectLst/>
                          <a:latin typeface="+mn-lt"/>
                        </a:rPr>
                        <a:t>21.7</a:t>
                      </a:r>
                    </a:p>
                  </a:txBody>
                  <a:tcPr marL="9525" marR="9525" marT="9525" marB="0" anchor="b">
                    <a:noFill/>
                  </a:tcPr>
                </a:tc>
                <a:tc hMerge="1">
                  <a:txBody>
                    <a:bodyPr/>
                    <a:lstStyle/>
                    <a:p>
                      <a:pPr algn="r" fontAlgn="b"/>
                      <a:r>
                        <a:rPr lang="en-US" sz="1100" b="0" i="0" u="dbl" strike="noStrike">
                          <a:solidFill>
                            <a:srgbClr val="000000"/>
                          </a:solidFill>
                          <a:effectLst/>
                          <a:latin typeface="Arial" panose="020B0604020202020204" pitchFamily="34" charset="0"/>
                        </a:rPr>
                        <a:t>21.7</a:t>
                      </a:r>
                    </a:p>
                  </a:txBody>
                  <a:tcPr marL="9525" marR="9525" marT="9525" marB="0" anchor="b">
                    <a:noFill/>
                  </a:tcPr>
                </a:tc>
                <a:tc>
                  <a:txBody>
                    <a:bodyPr/>
                    <a:lstStyle/>
                    <a:p>
                      <a:pPr algn="l" fontAlgn="b"/>
                      <a:endParaRPr lang="en-US" sz="1200" b="0" i="0" u="none" strike="noStrike">
                        <a:effectLst/>
                        <a:latin typeface="+mn-lt"/>
                      </a:endParaRPr>
                    </a:p>
                  </a:txBody>
                  <a:tcPr marL="9525" marR="9525" marT="9525" marB="0" anchor="b">
                    <a:noFill/>
                  </a:tcPr>
                </a:tc>
                <a:tc>
                  <a:txBody>
                    <a:bodyPr/>
                    <a:lstStyle/>
                    <a:p>
                      <a:pPr algn="l" fontAlgn="b"/>
                      <a:endParaRPr lang="en-US" sz="1200" b="0" i="0" u="none" strike="noStrike">
                        <a:solidFill>
                          <a:srgbClr val="000000"/>
                        </a:solidFill>
                        <a:effectLst/>
                        <a:latin typeface="+mn-lt"/>
                      </a:endParaRPr>
                    </a:p>
                  </a:txBody>
                  <a:tcPr marL="9525" marR="9525" marT="9525" marB="0" anchor="b">
                    <a:noFill/>
                  </a:tcPr>
                </a:tc>
                <a:tc>
                  <a:txBody>
                    <a:bodyPr/>
                    <a:lstStyle/>
                    <a:p>
                      <a:pPr algn="r" fontAlgn="b"/>
                      <a:r>
                        <a:rPr lang="en-US" sz="1200" b="0" i="0" u="none" strike="noStrike">
                          <a:solidFill>
                            <a:srgbClr val="000000"/>
                          </a:solidFill>
                          <a:effectLst/>
                          <a:latin typeface="+mn-lt"/>
                        </a:rPr>
                        <a:t>$</a:t>
                      </a:r>
                    </a:p>
                  </a:txBody>
                  <a:tcPr marL="9525" marR="9525" marT="9525" marB="0" anchor="b">
                    <a:noFill/>
                  </a:tcPr>
                </a:tc>
                <a:tc>
                  <a:txBody>
                    <a:bodyPr/>
                    <a:lstStyle/>
                    <a:p>
                      <a:pPr algn="r" fontAlgn="b"/>
                      <a:r>
                        <a:rPr lang="en-US" sz="1200" b="0" i="0" u="none" strike="noStrike" dirty="0">
                          <a:solidFill>
                            <a:srgbClr val="000000"/>
                          </a:solidFill>
                          <a:effectLst/>
                          <a:latin typeface="+mn-lt"/>
                        </a:rPr>
                        <a:t>169.9</a:t>
                      </a:r>
                    </a:p>
                  </a:txBody>
                  <a:tcPr marL="9525" marR="9525" marT="9525" marB="0" anchor="b">
                    <a:noFill/>
                  </a:tcPr>
                </a:tc>
                <a:tc>
                  <a:txBody>
                    <a:bodyPr/>
                    <a:lstStyle/>
                    <a:p>
                      <a:pPr algn="r" fontAlgn="b"/>
                      <a:r>
                        <a:rPr lang="en-US" sz="1200" b="0" i="0" u="none" strike="noStrike" dirty="0">
                          <a:solidFill>
                            <a:srgbClr val="000000"/>
                          </a:solidFill>
                          <a:effectLst/>
                          <a:latin typeface="+mn-lt"/>
                        </a:rPr>
                        <a:t>$</a:t>
                      </a:r>
                    </a:p>
                  </a:txBody>
                  <a:tcPr marL="9525" marR="9525" marT="9525" marB="0" anchor="b">
                    <a:noFill/>
                  </a:tcPr>
                </a:tc>
                <a:tc gridSpan="3">
                  <a:txBody>
                    <a:bodyPr/>
                    <a:lstStyle/>
                    <a:p>
                      <a:pPr algn="r"/>
                      <a:r>
                        <a:rPr lang="en-US" sz="1200" b="0" i="0" u="none" strike="noStrike">
                          <a:solidFill>
                            <a:srgbClr val="000000"/>
                          </a:solidFill>
                          <a:effectLst/>
                          <a:latin typeface="+mn-lt"/>
                        </a:rPr>
                        <a:t>160.1</a:t>
                      </a:r>
                      <a:endParaRPr lang="en-US" sz="1200" u="none">
                        <a:latin typeface="+mn-lt"/>
                      </a:endParaRPr>
                    </a:p>
                  </a:txBody>
                  <a:tcPr marL="9525" marR="9525" marT="9525" marB="0" anchor="b">
                    <a:noFill/>
                  </a:tcPr>
                </a:tc>
                <a:tc hMerge="1">
                  <a:txBody>
                    <a:bodyPr/>
                    <a:lstStyle/>
                    <a:p>
                      <a:pPr algn="r" fontAlgn="b"/>
                      <a:r>
                        <a:rPr lang="en-US" sz="1100" b="0" i="0" u="none" strike="noStrike">
                          <a:solidFill>
                            <a:srgbClr val="000000"/>
                          </a:solidFill>
                          <a:effectLst/>
                          <a:latin typeface="Arial" panose="020B0604020202020204" pitchFamily="34" charset="0"/>
                        </a:rPr>
                        <a:t>$</a:t>
                      </a:r>
                    </a:p>
                  </a:txBody>
                  <a:tcPr marL="9525" marR="9525" marT="9525" marB="0" anchor="b">
                    <a:noFill/>
                  </a:tcPr>
                </a:tc>
                <a:tc hMerge="1">
                  <a:txBody>
                    <a:bodyPr/>
                    <a:lstStyle/>
                    <a:p>
                      <a:pPr algn="r" fontAlgn="b"/>
                      <a:r>
                        <a:rPr lang="en-US" sz="1100" b="0" i="0" u="dbl" strike="noStrike">
                          <a:solidFill>
                            <a:srgbClr val="000000"/>
                          </a:solidFill>
                          <a:effectLst/>
                          <a:latin typeface="Arial" panose="020B0604020202020204" pitchFamily="34" charset="0"/>
                        </a:rPr>
                        <a:t>160.1</a:t>
                      </a:r>
                    </a:p>
                  </a:txBody>
                  <a:tcPr marL="9525" marR="9525" marT="9525" marB="0" anchor="b">
                    <a:noFill/>
                  </a:tcPr>
                </a:tc>
                <a:extLst>
                  <a:ext uri="{0D108BD9-81ED-4DB2-BD59-A6C34878D82A}">
                    <a16:rowId xmlns:a16="http://schemas.microsoft.com/office/drawing/2014/main" val="2550668058"/>
                  </a:ext>
                </a:extLst>
              </a:tr>
              <a:tr h="328865">
                <a:tc>
                  <a:txBody>
                    <a:bodyPr/>
                    <a:lstStyle/>
                    <a:p>
                      <a:pPr marL="0" algn="l" defTabSz="914400" rtl="0" eaLnBrk="1" fontAlgn="b" latinLnBrk="0" hangingPunct="1"/>
                      <a:r>
                        <a:rPr lang="en-US" sz="1200" b="0" i="0" u="none" strike="noStrike" kern="1200">
                          <a:solidFill>
                            <a:srgbClr val="000000"/>
                          </a:solidFill>
                          <a:effectLst/>
                          <a:latin typeface="+mn-lt"/>
                          <a:ea typeface="+mn-ea"/>
                          <a:cs typeface="+mn-cs"/>
                        </a:rPr>
                        <a:t>Diluted earnings per share, excluding special items</a:t>
                      </a:r>
                    </a:p>
                  </a:txBody>
                  <a:tcPr marL="9525" marR="9525" marT="9525" marB="0" anchor="b">
                    <a:noFill/>
                  </a:tcPr>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a:t>
                      </a:r>
                    </a:p>
                  </a:txBody>
                  <a:tcPr marL="9525" marR="9525" marT="9525" marB="0" anchor="b">
                    <a:noFill/>
                  </a:tcPr>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     1.28 </a:t>
                      </a:r>
                    </a:p>
                  </a:txBody>
                  <a:tcPr marL="9525" marR="9525" marT="9525" marB="0" anchor="b">
                    <a:noFill/>
                  </a:tcPr>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a:t>
                      </a:r>
                    </a:p>
                  </a:txBody>
                  <a:tcPr marL="9525" marR="9525" marT="9525" marB="0" anchor="b">
                    <a:noFill/>
                  </a:tcPr>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                1.49 </a:t>
                      </a:r>
                    </a:p>
                  </a:txBody>
                  <a:tcPr marL="9525" marR="9525" marT="9525" marB="0" anchor="b">
                    <a:noFill/>
                  </a:tcPr>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a:t>
                      </a:r>
                    </a:p>
                  </a:txBody>
                  <a:tcPr marL="9525" marR="9525" marT="9525" marB="0" anchor="b">
                    <a:noFill/>
                  </a:tcPr>
                </a:tc>
                <a:tc gridSpan="2">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     0.67</a:t>
                      </a:r>
                    </a:p>
                  </a:txBody>
                  <a:tcPr marL="9525" marR="9525" marT="9525" marB="0" anchor="b">
                    <a:noFill/>
                  </a:tcPr>
                </a:tc>
                <a:tc hMerge="1">
                  <a:txBody>
                    <a:bodyPr/>
                    <a:lstStyle/>
                    <a:p>
                      <a:pPr marL="0" algn="r" defTabSz="914400" rtl="0" eaLnBrk="1" fontAlgn="b" latinLnBrk="0" hangingPunct="1"/>
                      <a:r>
                        <a:rPr lang="en-US" sz="1100" b="0" i="0" u="none" strike="noStrike" kern="1200">
                          <a:solidFill>
                            <a:srgbClr val="000000"/>
                          </a:solidFill>
                          <a:effectLst/>
                          <a:latin typeface="Arial" panose="020B0604020202020204" pitchFamily="34" charset="0"/>
                          <a:ea typeface="+mn-ea"/>
                          <a:cs typeface="+mn-cs"/>
                        </a:rPr>
                        <a:t> </a:t>
                      </a:r>
                    </a:p>
                  </a:txBody>
                  <a:tcPr marL="9525" marR="9525" marT="9525" marB="0" anchor="b"/>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 </a:t>
                      </a:r>
                    </a:p>
                  </a:txBody>
                  <a:tcPr marL="9525" marR="9525" marT="9525" marB="0" anchor="b">
                    <a:noFill/>
                  </a:tcPr>
                </a:tc>
                <a:tc>
                  <a:txBody>
                    <a:bodyPr/>
                    <a:lstStyle/>
                    <a:p>
                      <a:pPr marL="0" algn="r" defTabSz="914400" rtl="0" eaLnBrk="1" fontAlgn="b" latinLnBrk="0" hangingPunct="1"/>
                      <a:endParaRPr lang="en-US" sz="1200" b="0" i="0" u="none" strike="noStrike" kern="1200">
                        <a:solidFill>
                          <a:srgbClr val="000000"/>
                        </a:solidFill>
                        <a:effectLst/>
                        <a:latin typeface="+mn-lt"/>
                        <a:ea typeface="+mn-ea"/>
                        <a:cs typeface="+mn-cs"/>
                      </a:endParaRPr>
                    </a:p>
                  </a:txBody>
                  <a:tcPr marL="9525" marR="9525" marT="9525" marB="0" anchor="b">
                    <a:noFill/>
                  </a:tcPr>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a:t>
                      </a:r>
                    </a:p>
                  </a:txBody>
                  <a:tcPr marL="9525" marR="9525" marT="9525" marB="0" anchor="b">
                    <a:noFill/>
                  </a:tcPr>
                </a:tc>
                <a:tc>
                  <a:txBody>
                    <a:bodyPr/>
                    <a:lstStyle/>
                    <a:p>
                      <a:pPr marL="0" algn="r" defTabSz="914400" rtl="0" eaLnBrk="1" fontAlgn="b" latinLnBrk="0" hangingPunct="1"/>
                      <a:r>
                        <a:rPr lang="en-US" sz="1200" b="0" i="0" u="none" strike="noStrike" kern="1200">
                          <a:solidFill>
                            <a:srgbClr val="000000"/>
                          </a:solidFill>
                          <a:effectLst/>
                          <a:latin typeface="+mn-lt"/>
                          <a:ea typeface="+mn-ea"/>
                          <a:cs typeface="+mn-cs"/>
                        </a:rPr>
                        <a:t>    5.21 </a:t>
                      </a:r>
                    </a:p>
                  </a:txBody>
                  <a:tcPr marL="9525" marR="9525" marT="9525" marB="0" anchor="b">
                    <a:noFill/>
                  </a:tcPr>
                </a:tc>
                <a:tc>
                  <a:txBody>
                    <a:bodyPr/>
                    <a:lstStyle/>
                    <a:p>
                      <a:pPr marL="0" algn="r" defTabSz="914400" rtl="0" eaLnBrk="1" fontAlgn="b" latinLnBrk="0" hangingPunct="1"/>
                      <a:endParaRPr lang="en-US" sz="1200" b="0" i="0" u="none" strike="noStrike" kern="1200" dirty="0">
                        <a:solidFill>
                          <a:srgbClr val="000000"/>
                        </a:solidFill>
                        <a:effectLst/>
                        <a:latin typeface="+mn-lt"/>
                        <a:ea typeface="+mn-ea"/>
                        <a:cs typeface="+mn-cs"/>
                      </a:endParaRPr>
                    </a:p>
                  </a:txBody>
                  <a:tcPr marL="9525" marR="9525" marT="9525" marB="0" anchor="b">
                    <a:noFill/>
                  </a:tcPr>
                </a:tc>
                <a:tc>
                  <a:txBody>
                    <a:bodyPr/>
                    <a:lstStyle/>
                    <a:p>
                      <a:pPr marL="0" algn="r" defTabSz="914400" rtl="0" eaLnBrk="1" fontAlgn="b" latinLnBrk="0" hangingPunct="1"/>
                      <a:r>
                        <a:rPr lang="en-US" sz="1200" b="0" i="0" u="none" strike="noStrike" kern="1200" dirty="0">
                          <a:solidFill>
                            <a:srgbClr val="000000"/>
                          </a:solidFill>
                          <a:effectLst/>
                          <a:latin typeface="+mn-lt"/>
                          <a:ea typeface="+mn-ea"/>
                          <a:cs typeface="+mn-cs"/>
                        </a:rPr>
                        <a:t>$</a:t>
                      </a:r>
                    </a:p>
                  </a:txBody>
                  <a:tcPr marL="9525" marR="9525" marT="9525" marB="0" anchor="b">
                    <a:noFill/>
                  </a:tcPr>
                </a:tc>
                <a:tc gridSpan="2">
                  <a:txBody>
                    <a:bodyPr/>
                    <a:lstStyle/>
                    <a:p>
                      <a:pPr marL="0" algn="r" defTabSz="914400" rtl="0" eaLnBrk="1" fontAlgn="b" latinLnBrk="0" hangingPunct="1"/>
                      <a:r>
                        <a:rPr lang="en-US" sz="1200" b="0" i="0" u="none" strike="noStrike" kern="1200" dirty="0">
                          <a:solidFill>
                            <a:srgbClr val="000000"/>
                          </a:solidFill>
                          <a:effectLst/>
                          <a:latin typeface="+mn-lt"/>
                          <a:ea typeface="+mn-ea"/>
                          <a:cs typeface="+mn-cs"/>
                        </a:rPr>
                        <a:t>        4.88 </a:t>
                      </a:r>
                    </a:p>
                  </a:txBody>
                  <a:tcPr marL="9525" marR="9525" marT="9525" marB="0" anchor="b">
                    <a:noFill/>
                  </a:tcPr>
                </a:tc>
                <a:tc hMerge="1">
                  <a:txBody>
                    <a:bodyPr/>
                    <a:lstStyle/>
                    <a:p>
                      <a:pPr marL="0" algn="l" defTabSz="914400" rtl="0" eaLnBrk="1" fontAlgn="b" latinLnBrk="0" hangingPunct="1"/>
                      <a:endParaRPr lang="en-US" sz="1100" b="0" i="0" u="none" strike="noStrike" kern="1200">
                        <a:solidFill>
                          <a:srgbClr val="000000"/>
                        </a:solidFill>
                        <a:effectLst/>
                        <a:latin typeface="Arial" panose="020B0604020202020204" pitchFamily="34" charset="0"/>
                        <a:ea typeface="+mn-ea"/>
                        <a:cs typeface="+mn-cs"/>
                      </a:endParaRPr>
                    </a:p>
                  </a:txBody>
                  <a:tcPr marL="9525" marR="9525" marT="9525" marB="0" anchor="b"/>
                </a:tc>
                <a:extLst>
                  <a:ext uri="{0D108BD9-81ED-4DB2-BD59-A6C34878D82A}">
                    <a16:rowId xmlns:a16="http://schemas.microsoft.com/office/drawing/2014/main" val="1180826390"/>
                  </a:ext>
                </a:extLst>
              </a:tr>
            </a:tbl>
          </a:graphicData>
        </a:graphic>
      </p:graphicFrame>
    </p:spTree>
    <p:extLst>
      <p:ext uri="{BB962C8B-B14F-4D97-AF65-F5344CB8AC3E}">
        <p14:creationId xmlns:p14="http://schemas.microsoft.com/office/powerpoint/2010/main" val="1225147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EDF7DE-0517-4521-BEE2-276EB5DB9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5" name="Object 4" hidden="1">
                        <a:extLst>
                          <a:ext uri="{FF2B5EF4-FFF2-40B4-BE49-F238E27FC236}">
                            <a16:creationId xmlns:a16="http://schemas.microsoft.com/office/drawing/2014/main" id="{A9EDF7DE-0517-4521-BEE2-276EB5DB9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26ABD10-110E-A452-9802-E1E8E6C519B5}"/>
              </a:ext>
            </a:extLst>
          </p:cNvPr>
          <p:cNvSpPr>
            <a:spLocks noGrp="1"/>
          </p:cNvSpPr>
          <p:nvPr>
            <p:ph type="title"/>
          </p:nvPr>
        </p:nvSpPr>
        <p:spPr/>
        <p:txBody>
          <a:bodyPr vert="horz">
            <a:normAutofit fontScale="90000"/>
          </a:bodyPr>
          <a:lstStyle/>
          <a:p>
            <a:r>
              <a:rPr lang="en-US" altLang="en-US" sz="1600" dirty="0"/>
              <a:t>Reconciliation</a:t>
            </a:r>
            <a:br>
              <a:rPr lang="en-US" altLang="en-US" sz="1600" dirty="0"/>
            </a:br>
            <a:r>
              <a:rPr lang="en-US" sz="3100" dirty="0"/>
              <a:t>Segment Operating Income Excluding Special Items</a:t>
            </a:r>
            <a:endParaRPr lang="en-US" sz="2100" dirty="0"/>
          </a:p>
        </p:txBody>
      </p:sp>
      <p:graphicFrame>
        <p:nvGraphicFramePr>
          <p:cNvPr id="11" name="Table 10">
            <a:extLst>
              <a:ext uri="{FF2B5EF4-FFF2-40B4-BE49-F238E27FC236}">
                <a16:creationId xmlns:a16="http://schemas.microsoft.com/office/drawing/2014/main" id="{3FBDCC28-DE51-6D6A-2C59-A42B02DE92AE}"/>
              </a:ext>
            </a:extLst>
          </p:cNvPr>
          <p:cNvGraphicFramePr>
            <a:graphicFrameLocks noGrp="1"/>
          </p:cNvGraphicFramePr>
          <p:nvPr/>
        </p:nvGraphicFramePr>
        <p:xfrm>
          <a:off x="695204" y="1268026"/>
          <a:ext cx="10512428" cy="4632415"/>
        </p:xfrm>
        <a:graphic>
          <a:graphicData uri="http://schemas.openxmlformats.org/drawingml/2006/table">
            <a:tbl>
              <a:tblPr>
                <a:tableStyleId>{5C22544A-7EE6-4342-B048-85BDC9FD1C3A}</a:tableStyleId>
              </a:tblPr>
              <a:tblGrid>
                <a:gridCol w="4451208">
                  <a:extLst>
                    <a:ext uri="{9D8B030D-6E8A-4147-A177-3AD203B41FA5}">
                      <a16:colId xmlns:a16="http://schemas.microsoft.com/office/drawing/2014/main" val="80444401"/>
                    </a:ext>
                  </a:extLst>
                </a:gridCol>
                <a:gridCol w="189413">
                  <a:extLst>
                    <a:ext uri="{9D8B030D-6E8A-4147-A177-3AD203B41FA5}">
                      <a16:colId xmlns:a16="http://schemas.microsoft.com/office/drawing/2014/main" val="4077615521"/>
                    </a:ext>
                  </a:extLst>
                </a:gridCol>
                <a:gridCol w="904974">
                  <a:extLst>
                    <a:ext uri="{9D8B030D-6E8A-4147-A177-3AD203B41FA5}">
                      <a16:colId xmlns:a16="http://schemas.microsoft.com/office/drawing/2014/main" val="1097709677"/>
                    </a:ext>
                  </a:extLst>
                </a:gridCol>
                <a:gridCol w="189413">
                  <a:extLst>
                    <a:ext uri="{9D8B030D-6E8A-4147-A177-3AD203B41FA5}">
                      <a16:colId xmlns:a16="http://schemas.microsoft.com/office/drawing/2014/main" val="76962694"/>
                    </a:ext>
                  </a:extLst>
                </a:gridCol>
                <a:gridCol w="904974">
                  <a:extLst>
                    <a:ext uri="{9D8B030D-6E8A-4147-A177-3AD203B41FA5}">
                      <a16:colId xmlns:a16="http://schemas.microsoft.com/office/drawing/2014/main" val="3240756900"/>
                    </a:ext>
                  </a:extLst>
                </a:gridCol>
                <a:gridCol w="189413">
                  <a:extLst>
                    <a:ext uri="{9D8B030D-6E8A-4147-A177-3AD203B41FA5}">
                      <a16:colId xmlns:a16="http://schemas.microsoft.com/office/drawing/2014/main" val="3133869873"/>
                    </a:ext>
                  </a:extLst>
                </a:gridCol>
                <a:gridCol w="904974">
                  <a:extLst>
                    <a:ext uri="{9D8B030D-6E8A-4147-A177-3AD203B41FA5}">
                      <a16:colId xmlns:a16="http://schemas.microsoft.com/office/drawing/2014/main" val="3819349321"/>
                    </a:ext>
                  </a:extLst>
                </a:gridCol>
                <a:gridCol w="189413">
                  <a:extLst>
                    <a:ext uri="{9D8B030D-6E8A-4147-A177-3AD203B41FA5}">
                      <a16:colId xmlns:a16="http://schemas.microsoft.com/office/drawing/2014/main" val="413907873"/>
                    </a:ext>
                  </a:extLst>
                </a:gridCol>
                <a:gridCol w="399872">
                  <a:extLst>
                    <a:ext uri="{9D8B030D-6E8A-4147-A177-3AD203B41FA5}">
                      <a16:colId xmlns:a16="http://schemas.microsoft.com/office/drawing/2014/main" val="805511511"/>
                    </a:ext>
                  </a:extLst>
                </a:gridCol>
                <a:gridCol w="189413">
                  <a:extLst>
                    <a:ext uri="{9D8B030D-6E8A-4147-A177-3AD203B41FA5}">
                      <a16:colId xmlns:a16="http://schemas.microsoft.com/office/drawing/2014/main" val="2194797780"/>
                    </a:ext>
                  </a:extLst>
                </a:gridCol>
                <a:gridCol w="904974">
                  <a:extLst>
                    <a:ext uri="{9D8B030D-6E8A-4147-A177-3AD203B41FA5}">
                      <a16:colId xmlns:a16="http://schemas.microsoft.com/office/drawing/2014/main" val="3386265492"/>
                    </a:ext>
                  </a:extLst>
                </a:gridCol>
                <a:gridCol w="189413">
                  <a:extLst>
                    <a:ext uri="{9D8B030D-6E8A-4147-A177-3AD203B41FA5}">
                      <a16:colId xmlns:a16="http://schemas.microsoft.com/office/drawing/2014/main" val="1510243999"/>
                    </a:ext>
                  </a:extLst>
                </a:gridCol>
                <a:gridCol w="904974">
                  <a:extLst>
                    <a:ext uri="{9D8B030D-6E8A-4147-A177-3AD203B41FA5}">
                      <a16:colId xmlns:a16="http://schemas.microsoft.com/office/drawing/2014/main" val="1714646776"/>
                    </a:ext>
                  </a:extLst>
                </a:gridCol>
              </a:tblGrid>
              <a:tr h="1894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1" u="none" strike="noStrike" kern="1200" dirty="0">
                          <a:solidFill>
                            <a:schemeClr val="bg1"/>
                          </a:solidFill>
                          <a:effectLst/>
                          <a:latin typeface="+mn-lt"/>
                          <a:ea typeface="+mn-ea"/>
                          <a:cs typeface="+mn-cs"/>
                        </a:rPr>
                        <a:t>millions of dollars</a:t>
                      </a: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5">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Quarter Ended</a:t>
                      </a:r>
                    </a:p>
                  </a:txBody>
                  <a:tcPr marL="7892" marR="7892" marT="7892"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3">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Twelve Months Ended</a:t>
                      </a:r>
                    </a:p>
                  </a:txBody>
                  <a:tcPr marL="7892" marR="7892" marT="7892"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21849931"/>
                  </a:ext>
                </a:extLst>
              </a:tr>
              <a:tr h="189413">
                <a:tc>
                  <a:txBody>
                    <a:bodyPr/>
                    <a:lstStyle/>
                    <a:p>
                      <a:pPr marL="0" algn="ctr" defTabSz="914400" rtl="0" eaLnBrk="1" fontAlgn="b" latinLnBrk="0" hangingPunct="1"/>
                      <a:endParaRPr lang="en-US" sz="1200" b="1" u="none" strike="noStrike" kern="1200" dirty="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Dec. 31,</a:t>
                      </a: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dirty="0">
                          <a:solidFill>
                            <a:schemeClr val="bg1"/>
                          </a:solidFill>
                          <a:effectLst/>
                          <a:latin typeface="+mn-lt"/>
                          <a:ea typeface="+mn-ea"/>
                          <a:cs typeface="+mn-cs"/>
                        </a:rPr>
                        <a:t>Oct. 1,</a:t>
                      </a: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Dec. 31,</a:t>
                      </a: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Dec. 31,</a:t>
                      </a: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Dec. 31,</a:t>
                      </a:r>
                    </a:p>
                  </a:txBody>
                  <a:tcPr marL="7892" marR="7892" marT="7892"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extLst>
                  <a:ext uri="{0D108BD9-81ED-4DB2-BD59-A6C34878D82A}">
                    <a16:rowId xmlns:a16="http://schemas.microsoft.com/office/drawing/2014/main" val="207390271"/>
                  </a:ext>
                </a:extLst>
              </a:tr>
              <a:tr h="189413">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2023</a:t>
                      </a: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2023</a:t>
                      </a: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a:solidFill>
                            <a:schemeClr val="bg1"/>
                          </a:solidFill>
                          <a:effectLst/>
                          <a:latin typeface="+mn-lt"/>
                          <a:ea typeface="+mn-ea"/>
                          <a:cs typeface="+mn-cs"/>
                        </a:rPr>
                        <a:t>2022</a:t>
                      </a: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dirty="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dirty="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dirty="0">
                          <a:solidFill>
                            <a:schemeClr val="bg1"/>
                          </a:solidFill>
                          <a:effectLst/>
                          <a:latin typeface="+mn-lt"/>
                          <a:ea typeface="+mn-ea"/>
                          <a:cs typeface="+mn-cs"/>
                        </a:rPr>
                        <a:t>2023</a:t>
                      </a: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endParaRPr lang="en-US" sz="1200" b="1" u="none" strike="noStrike" kern="1200">
                        <a:solidFill>
                          <a:schemeClr val="bg1"/>
                        </a:solidFill>
                        <a:effectLst/>
                        <a:latin typeface="+mn-lt"/>
                        <a:ea typeface="+mn-ea"/>
                        <a:cs typeface="+mn-cs"/>
                      </a:endParaRP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marL="0" algn="ctr" defTabSz="914400" rtl="0" eaLnBrk="1" fontAlgn="b" latinLnBrk="0" hangingPunct="1"/>
                      <a:r>
                        <a:rPr lang="en-US" sz="1200" b="1" u="none" strike="noStrike" kern="1200" dirty="0">
                          <a:solidFill>
                            <a:schemeClr val="bg1"/>
                          </a:solidFill>
                          <a:effectLst/>
                          <a:latin typeface="+mn-lt"/>
                          <a:ea typeface="+mn-ea"/>
                          <a:cs typeface="+mn-cs"/>
                        </a:rPr>
                        <a:t>2022</a:t>
                      </a:r>
                    </a:p>
                  </a:txBody>
                  <a:tcPr marL="7892" marR="7892" marT="7892"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extLst>
                  <a:ext uri="{0D108BD9-81ED-4DB2-BD59-A6C34878D82A}">
                    <a16:rowId xmlns:a16="http://schemas.microsoft.com/office/drawing/2014/main" val="4273534915"/>
                  </a:ext>
                </a:extLst>
              </a:tr>
              <a:tr h="18941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u="none" strike="noStrike">
                          <a:effectLst/>
                        </a:rPr>
                        <a:t>SEGMENT OPERATING INCOME(LOSS) DATA</a:t>
                      </a:r>
                      <a:endParaRPr lang="en-US" sz="1200" b="1"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dirty="0">
                        <a:solidFill>
                          <a:srgbClr val="000000"/>
                        </a:solidFill>
                        <a:effectLst/>
                        <a:latin typeface="Arial" panose="020B0604020202020204" pitchFamily="34" charset="0"/>
                      </a:endParaRPr>
                    </a:p>
                  </a:txBody>
                  <a:tcPr marL="7892" marR="7892" marT="7892" marB="0" anchor="b">
                    <a:lnT w="12700" cmpd="sng">
                      <a:noFill/>
                    </a:lnT>
                    <a:noFill/>
                  </a:tcPr>
                </a:tc>
                <a:tc>
                  <a:txBody>
                    <a:bodyPr/>
                    <a:lstStyle/>
                    <a:p>
                      <a:pPr algn="l" fontAlgn="b"/>
                      <a:endParaRPr lang="en-US" sz="1200" b="0" i="0" u="none" strike="noStrike" dirty="0">
                        <a:solidFill>
                          <a:srgbClr val="000000"/>
                        </a:solidFill>
                        <a:effectLst/>
                        <a:latin typeface="Arial" panose="020B0604020202020204" pitchFamily="34" charset="0"/>
                      </a:endParaRPr>
                    </a:p>
                  </a:txBody>
                  <a:tcPr marL="7892" marR="7892" marT="7892" marB="0" anchor="b">
                    <a:lnT w="12700" cmpd="sng">
                      <a:noFill/>
                    </a:lnT>
                    <a:noFill/>
                  </a:tcPr>
                </a:tc>
                <a:extLst>
                  <a:ext uri="{0D108BD9-81ED-4DB2-BD59-A6C34878D82A}">
                    <a16:rowId xmlns:a16="http://schemas.microsoft.com/office/drawing/2014/main" val="2309861988"/>
                  </a:ext>
                </a:extLst>
              </a:tr>
              <a:tr h="189413">
                <a:tc>
                  <a:txBody>
                    <a:bodyPr/>
                    <a:lstStyle/>
                    <a:p>
                      <a:pPr algn="l" fontAlgn="b"/>
                      <a:r>
                        <a:rPr lang="en-US" sz="1200" u="none" strike="noStrike">
                          <a:effectLst/>
                        </a:rPr>
                        <a:t>Consumer &amp; Specialties Segment</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6.6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46.6)</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6.4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41.6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79.0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2774502430"/>
                  </a:ext>
                </a:extLst>
              </a:tr>
              <a:tr h="189413">
                <a:tc>
                  <a:txBody>
                    <a:bodyPr/>
                    <a:lstStyle/>
                    <a:p>
                      <a:pPr algn="l" fontAlgn="b"/>
                      <a:r>
                        <a:rPr lang="en-US" sz="1200" u="none" strike="noStrike">
                          <a:effectLst/>
                        </a:rPr>
                        <a:t>Engineered Solutions Segment</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6.7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40.6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1.7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47.8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47.1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092220991"/>
                  </a:ext>
                </a:extLst>
              </a:tr>
              <a:tr h="189413">
                <a:tc>
                  <a:txBody>
                    <a:bodyPr/>
                    <a:lstStyle/>
                    <a:p>
                      <a:pPr algn="l" fontAlgn="b"/>
                      <a:r>
                        <a:rPr lang="en-US" sz="1200" u="none" strike="noStrike">
                          <a:effectLst/>
                        </a:rPr>
                        <a:t>Unallocated and Other Corporate Expenses</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6.5)</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1.9)</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4.5)</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17.6)</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11.3)</a:t>
                      </a:r>
                      <a:endParaRPr lang="en-US" sz="1200" b="0" i="0" u="sng"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814088067"/>
                  </a:ext>
                </a:extLst>
              </a:tr>
              <a:tr h="189413">
                <a:tc>
                  <a:txBody>
                    <a:bodyPr/>
                    <a:lstStyle/>
                    <a:p>
                      <a:pPr algn="l" fontAlgn="b"/>
                      <a:r>
                        <a:rPr lang="en-US" sz="1200" u="none" strike="noStrike">
                          <a:effectLst/>
                        </a:rPr>
                        <a:t>Consolidated</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66.8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7.9)</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43.6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71.8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214.8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2101136469"/>
                  </a:ext>
                </a:extLst>
              </a:tr>
              <a:tr h="189413">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590718996"/>
                  </a:ext>
                </a:extLst>
              </a:tr>
              <a:tr h="189413">
                <a:tc>
                  <a:txBody>
                    <a:bodyPr/>
                    <a:lstStyle/>
                    <a:p>
                      <a:pPr algn="l" fontAlgn="b"/>
                      <a:r>
                        <a:rPr lang="en-US" sz="1200" u="none" strike="noStrike">
                          <a:effectLst/>
                        </a:rPr>
                        <a:t> SPECIAL ITEMS</a:t>
                      </a:r>
                      <a:endParaRPr lang="en-US" sz="1200" b="1"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973183393"/>
                  </a:ext>
                </a:extLst>
              </a:tr>
              <a:tr h="189413">
                <a:tc>
                  <a:txBody>
                    <a:bodyPr/>
                    <a:lstStyle/>
                    <a:p>
                      <a:pPr algn="l" fontAlgn="b"/>
                      <a:r>
                        <a:rPr lang="en-US" sz="1200" u="none" strike="noStrike" dirty="0">
                          <a:effectLst/>
                        </a:rPr>
                        <a:t>Consumer &amp; Specialties Segment</a:t>
                      </a:r>
                      <a:endParaRPr lang="en-US" sz="1200" b="0" i="0" u="none" strike="noStrike" dirty="0">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0.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84.9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0.3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99.4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4.7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194349493"/>
                  </a:ext>
                </a:extLst>
              </a:tr>
              <a:tr h="189413">
                <a:tc>
                  <a:txBody>
                    <a:bodyPr/>
                    <a:lstStyle/>
                    <a:p>
                      <a:pPr algn="l" fontAlgn="b"/>
                      <a:r>
                        <a:rPr lang="en-US" sz="1200" u="none" strike="noStrike">
                          <a:effectLst/>
                        </a:rPr>
                        <a:t>Engineered Solutions Segment</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0.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0.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0.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2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0.0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188666017"/>
                  </a:ext>
                </a:extLst>
              </a:tr>
              <a:tr h="189413">
                <a:tc>
                  <a:txBody>
                    <a:bodyPr/>
                    <a:lstStyle/>
                    <a:p>
                      <a:pPr algn="l" fontAlgn="b"/>
                      <a:r>
                        <a:rPr lang="en-US" sz="1200" u="none" strike="noStrike">
                          <a:effectLst/>
                        </a:rPr>
                        <a:t>Unallocated and Other Corporate Expenses</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2.4 </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0.0 </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0.1 </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5.5 </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3.0 </a:t>
                      </a:r>
                      <a:endParaRPr lang="en-US" sz="1200" b="0" i="0" u="sng"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747390537"/>
                  </a:ext>
                </a:extLst>
              </a:tr>
              <a:tr h="189413">
                <a:tc>
                  <a:txBody>
                    <a:bodyPr/>
                    <a:lstStyle/>
                    <a:p>
                      <a:pPr algn="l" fontAlgn="b"/>
                      <a:r>
                        <a:rPr lang="en-US" sz="1200" u="none" strike="noStrike">
                          <a:effectLst/>
                        </a:rPr>
                        <a:t>Consolidated</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2.4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84.9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0.4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08.1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7.7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836523363"/>
                  </a:ext>
                </a:extLst>
              </a:tr>
              <a:tr h="189413">
                <a:tc>
                  <a:txBody>
                    <a:bodyPr/>
                    <a:lstStyle/>
                    <a:p>
                      <a:pPr algn="l" fontAlgn="b"/>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070298985"/>
                  </a:ext>
                </a:extLst>
              </a:tr>
              <a:tr h="244659">
                <a:tc>
                  <a:txBody>
                    <a:bodyPr/>
                    <a:lstStyle/>
                    <a:p>
                      <a:pPr algn="l" fontAlgn="b"/>
                      <a:r>
                        <a:rPr lang="en-US" sz="1200" u="none" strike="noStrike">
                          <a:effectLst/>
                        </a:rPr>
                        <a:t>SEGMENT OPERATING INCOME, EXCLUDING SPECIAL ITEMS</a:t>
                      </a:r>
                      <a:endParaRPr lang="en-US" sz="1200" b="1"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tc>
                  <a:txBody>
                    <a:bodyPr/>
                    <a:lstStyle/>
                    <a:p>
                      <a:pPr algn="l" fontAlgn="ctr"/>
                      <a:endParaRPr lang="en-US" sz="1200" b="0" i="0" u="none" strike="noStrike">
                        <a:solidFill>
                          <a:srgbClr val="000000"/>
                        </a:solidFill>
                        <a:effectLst/>
                        <a:latin typeface="Arial" panose="020B0604020202020204" pitchFamily="34" charset="0"/>
                      </a:endParaRPr>
                    </a:p>
                  </a:txBody>
                  <a:tcPr marL="7892" marR="7892" marT="7892" marB="0" anchor="ctr">
                    <a:noFill/>
                  </a:tcPr>
                </a:tc>
                <a:extLst>
                  <a:ext uri="{0D108BD9-81ED-4DB2-BD59-A6C34878D82A}">
                    <a16:rowId xmlns:a16="http://schemas.microsoft.com/office/drawing/2014/main" val="1214771472"/>
                  </a:ext>
                </a:extLst>
              </a:tr>
              <a:tr h="189413">
                <a:tc>
                  <a:txBody>
                    <a:bodyPr/>
                    <a:lstStyle/>
                    <a:p>
                      <a:pPr algn="l" fontAlgn="b"/>
                      <a:r>
                        <a:rPr lang="en-US" sz="1200" u="none" strike="noStrike">
                          <a:effectLst/>
                        </a:rPr>
                        <a:t>Consumer &amp; Specialties Segment</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6.6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8.3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6.7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41.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13.7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1364387097"/>
                  </a:ext>
                </a:extLst>
              </a:tr>
              <a:tr h="189413">
                <a:tc>
                  <a:txBody>
                    <a:bodyPr/>
                    <a:lstStyle/>
                    <a:p>
                      <a:pPr algn="r" fontAlgn="b"/>
                      <a:r>
                        <a:rPr lang="en-US" sz="1200" i="1" u="none" strike="noStrike">
                          <a:effectLst/>
                        </a:rPr>
                        <a:t>% of Sales</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3.0%</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3.2%</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6.1%</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2.2%</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0.1%</a:t>
                      </a:r>
                      <a:endParaRPr lang="en-US" sz="1200" b="0" i="1"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1415981751"/>
                  </a:ext>
                </a:extLst>
              </a:tr>
              <a:tr h="189413">
                <a:tc>
                  <a:txBody>
                    <a:bodyPr/>
                    <a:lstStyle/>
                    <a:p>
                      <a:pPr algn="l" fontAlgn="b"/>
                      <a:r>
                        <a:rPr lang="en-US" sz="1200" u="none" strike="noStrike">
                          <a:effectLst/>
                        </a:rPr>
                        <a:t>Engineered Solutions Segment</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6.7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40.6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31.7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51.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147.1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1079570041"/>
                  </a:ext>
                </a:extLst>
              </a:tr>
              <a:tr h="189413">
                <a:tc>
                  <a:txBody>
                    <a:bodyPr/>
                    <a:lstStyle/>
                    <a:p>
                      <a:pPr algn="r" fontAlgn="b"/>
                      <a:r>
                        <a:rPr lang="en-US" sz="1200" i="1" u="none" strike="noStrike">
                          <a:effectLst/>
                        </a:rPr>
                        <a:t>% of Sales</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5.1%</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5.8%</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3.5%</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5.0%</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4.7%</a:t>
                      </a:r>
                      <a:endParaRPr lang="en-US" sz="1200" b="0" i="1"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4150445679"/>
                  </a:ext>
                </a:extLst>
              </a:tr>
              <a:tr h="189413">
                <a:tc>
                  <a:txBody>
                    <a:bodyPr/>
                    <a:lstStyle/>
                    <a:p>
                      <a:pPr algn="l" fontAlgn="b"/>
                      <a:r>
                        <a:rPr lang="en-US" sz="1200" u="none" strike="noStrike">
                          <a:effectLst/>
                        </a:rPr>
                        <a:t>Unallocated Corporate Expenses</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4.1)</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1.9)</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4.4)</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12.1)</a:t>
                      </a:r>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sng" strike="noStrike">
                          <a:effectLst/>
                        </a:rPr>
                        <a:t>(8.3)</a:t>
                      </a:r>
                      <a:endParaRPr lang="en-US" sz="1200" b="0" i="0" u="sng"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913577944"/>
                  </a:ext>
                </a:extLst>
              </a:tr>
              <a:tr h="189413">
                <a:tc>
                  <a:txBody>
                    <a:bodyPr/>
                    <a:lstStyle/>
                    <a:p>
                      <a:pPr algn="l" fontAlgn="b"/>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3707662456"/>
                  </a:ext>
                </a:extLst>
              </a:tr>
              <a:tr h="189413">
                <a:tc>
                  <a:txBody>
                    <a:bodyPr/>
                    <a:lstStyle/>
                    <a:p>
                      <a:pPr algn="l" fontAlgn="b"/>
                      <a:r>
                        <a:rPr lang="en-US" sz="1200" u="none" strike="noStrike">
                          <a:effectLst/>
                        </a:rPr>
                        <a:t>Consolidated</a:t>
                      </a:r>
                      <a:endParaRPr lang="en-US" sz="1200" b="0" i="0" u="none" strike="noStrike">
                        <a:solidFill>
                          <a:srgbClr val="000000"/>
                        </a:solidFill>
                        <a:effectLst/>
                        <a:latin typeface="Arial" panose="020B0604020202020204" pitchFamily="34" charset="0"/>
                      </a:endParaRPr>
                    </a:p>
                  </a:txBody>
                  <a:tcPr marL="189413"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69.2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77.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44.0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0" u="none" strike="noStrike">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279.9 </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u="none" strike="noStrike">
                          <a:effectLst/>
                        </a:rPr>
                        <a:t>252.5 </a:t>
                      </a:r>
                      <a:endParaRPr lang="en-US" sz="1200" b="0" i="0" u="none" strike="noStrike">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82931859"/>
                  </a:ext>
                </a:extLst>
              </a:tr>
              <a:tr h="189413">
                <a:tc>
                  <a:txBody>
                    <a:bodyPr/>
                    <a:lstStyle/>
                    <a:p>
                      <a:pPr algn="r" fontAlgn="b"/>
                      <a:r>
                        <a:rPr lang="en-US" sz="1200" i="1" u="none" strike="noStrike">
                          <a:effectLst/>
                        </a:rPr>
                        <a:t>% of Sales</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3.2%</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4.1%</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8.7%</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a:effectLst/>
                        </a:rPr>
                        <a:t>12.9%</a:t>
                      </a:r>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l" fontAlgn="b"/>
                      <a:endParaRPr lang="en-US" sz="1200" b="0" i="1" u="none" strike="noStrike">
                        <a:solidFill>
                          <a:srgbClr val="000000"/>
                        </a:solidFill>
                        <a:effectLst/>
                        <a:latin typeface="Arial" panose="020B0604020202020204" pitchFamily="34" charset="0"/>
                      </a:endParaRPr>
                    </a:p>
                  </a:txBody>
                  <a:tcPr marL="7892" marR="7892" marT="7892" marB="0" anchor="b">
                    <a:noFill/>
                  </a:tcPr>
                </a:tc>
                <a:tc>
                  <a:txBody>
                    <a:bodyPr/>
                    <a:lstStyle/>
                    <a:p>
                      <a:pPr algn="r" fontAlgn="b"/>
                      <a:r>
                        <a:rPr lang="en-US" sz="1200" i="1" u="none" strike="noStrike" dirty="0">
                          <a:effectLst/>
                        </a:rPr>
                        <a:t>11.9%</a:t>
                      </a:r>
                      <a:endParaRPr lang="en-US" sz="1200" b="0" i="1" u="none" strike="noStrike" dirty="0">
                        <a:solidFill>
                          <a:srgbClr val="000000"/>
                        </a:solidFill>
                        <a:effectLst/>
                        <a:latin typeface="Arial" panose="020B0604020202020204" pitchFamily="34" charset="0"/>
                      </a:endParaRPr>
                    </a:p>
                  </a:txBody>
                  <a:tcPr marL="7892" marR="7892" marT="7892" marB="0" anchor="b">
                    <a:noFill/>
                  </a:tcPr>
                </a:tc>
                <a:extLst>
                  <a:ext uri="{0D108BD9-81ED-4DB2-BD59-A6C34878D82A}">
                    <a16:rowId xmlns:a16="http://schemas.microsoft.com/office/drawing/2014/main" val="1138219433"/>
                  </a:ext>
                </a:extLst>
              </a:tr>
            </a:tbl>
          </a:graphicData>
        </a:graphic>
      </p:graphicFrame>
    </p:spTree>
    <p:extLst>
      <p:ext uri="{BB962C8B-B14F-4D97-AF65-F5344CB8AC3E}">
        <p14:creationId xmlns:p14="http://schemas.microsoft.com/office/powerpoint/2010/main" val="33684636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26CFB-61D1-0795-97F8-60C9C41633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82626CFB-61D1-0795-97F8-60C9C41633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8B4FB7F-79F2-2CE8-0618-977ADEB23F22}"/>
              </a:ext>
            </a:extLst>
          </p:cNvPr>
          <p:cNvSpPr>
            <a:spLocks noGrp="1"/>
          </p:cNvSpPr>
          <p:nvPr>
            <p:ph type="title"/>
          </p:nvPr>
        </p:nvSpPr>
        <p:spPr/>
        <p:txBody>
          <a:bodyPr vert="horz">
            <a:normAutofit fontScale="90000"/>
          </a:bodyPr>
          <a:lstStyle/>
          <a:p>
            <a:r>
              <a:rPr lang="en-US" altLang="en-US" sz="1600" dirty="0"/>
              <a:t>Reconciliation</a:t>
            </a:r>
            <a:br>
              <a:rPr lang="en-US" altLang="en-US" sz="1600" dirty="0"/>
            </a:br>
            <a:r>
              <a:rPr lang="en-US" sz="3100" dirty="0"/>
              <a:t>EBITDA Excluding Special Items</a:t>
            </a:r>
            <a:endParaRPr lang="en-US" dirty="0"/>
          </a:p>
        </p:txBody>
      </p:sp>
      <p:graphicFrame>
        <p:nvGraphicFramePr>
          <p:cNvPr id="7" name="Table 6">
            <a:extLst>
              <a:ext uri="{FF2B5EF4-FFF2-40B4-BE49-F238E27FC236}">
                <a16:creationId xmlns:a16="http://schemas.microsoft.com/office/drawing/2014/main" id="{42B35AC3-5108-0791-5328-34F338608D10}"/>
              </a:ext>
            </a:extLst>
          </p:cNvPr>
          <p:cNvGraphicFramePr>
            <a:graphicFrameLocks noGrp="1"/>
          </p:cNvGraphicFramePr>
          <p:nvPr/>
        </p:nvGraphicFramePr>
        <p:xfrm>
          <a:off x="774652" y="1059953"/>
          <a:ext cx="10031893" cy="4167861"/>
        </p:xfrm>
        <a:graphic>
          <a:graphicData uri="http://schemas.openxmlformats.org/drawingml/2006/table">
            <a:tbl>
              <a:tblPr>
                <a:tableStyleId>{5C22544A-7EE6-4342-B048-85BDC9FD1C3A}</a:tableStyleId>
              </a:tblPr>
              <a:tblGrid>
                <a:gridCol w="4455119">
                  <a:extLst>
                    <a:ext uri="{9D8B030D-6E8A-4147-A177-3AD203B41FA5}">
                      <a16:colId xmlns:a16="http://schemas.microsoft.com/office/drawing/2014/main" val="3461531111"/>
                    </a:ext>
                  </a:extLst>
                </a:gridCol>
                <a:gridCol w="210048">
                  <a:extLst>
                    <a:ext uri="{9D8B030D-6E8A-4147-A177-3AD203B41FA5}">
                      <a16:colId xmlns:a16="http://schemas.microsoft.com/office/drawing/2014/main" val="514154543"/>
                    </a:ext>
                  </a:extLst>
                </a:gridCol>
                <a:gridCol w="698588">
                  <a:extLst>
                    <a:ext uri="{9D8B030D-6E8A-4147-A177-3AD203B41FA5}">
                      <a16:colId xmlns:a16="http://schemas.microsoft.com/office/drawing/2014/main" val="2651533660"/>
                    </a:ext>
                  </a:extLst>
                </a:gridCol>
                <a:gridCol w="246490">
                  <a:extLst>
                    <a:ext uri="{9D8B030D-6E8A-4147-A177-3AD203B41FA5}">
                      <a16:colId xmlns:a16="http://schemas.microsoft.com/office/drawing/2014/main" val="3305008790"/>
                    </a:ext>
                  </a:extLst>
                </a:gridCol>
                <a:gridCol w="775216">
                  <a:extLst>
                    <a:ext uri="{9D8B030D-6E8A-4147-A177-3AD203B41FA5}">
                      <a16:colId xmlns:a16="http://schemas.microsoft.com/office/drawing/2014/main" val="3333917571"/>
                    </a:ext>
                  </a:extLst>
                </a:gridCol>
                <a:gridCol w="207948">
                  <a:extLst>
                    <a:ext uri="{9D8B030D-6E8A-4147-A177-3AD203B41FA5}">
                      <a16:colId xmlns:a16="http://schemas.microsoft.com/office/drawing/2014/main" val="1906253402"/>
                    </a:ext>
                  </a:extLst>
                </a:gridCol>
                <a:gridCol w="742269">
                  <a:extLst>
                    <a:ext uri="{9D8B030D-6E8A-4147-A177-3AD203B41FA5}">
                      <a16:colId xmlns:a16="http://schemas.microsoft.com/office/drawing/2014/main" val="3786238568"/>
                    </a:ext>
                  </a:extLst>
                </a:gridCol>
                <a:gridCol w="356281">
                  <a:extLst>
                    <a:ext uri="{9D8B030D-6E8A-4147-A177-3AD203B41FA5}">
                      <a16:colId xmlns:a16="http://schemas.microsoft.com/office/drawing/2014/main" val="611117847"/>
                    </a:ext>
                  </a:extLst>
                </a:gridCol>
                <a:gridCol w="512517">
                  <a:extLst>
                    <a:ext uri="{9D8B030D-6E8A-4147-A177-3AD203B41FA5}">
                      <a16:colId xmlns:a16="http://schemas.microsoft.com/office/drawing/2014/main" val="2664058013"/>
                    </a:ext>
                  </a:extLst>
                </a:gridCol>
                <a:gridCol w="182742">
                  <a:extLst>
                    <a:ext uri="{9D8B030D-6E8A-4147-A177-3AD203B41FA5}">
                      <a16:colId xmlns:a16="http://schemas.microsoft.com/office/drawing/2014/main" val="3485298041"/>
                    </a:ext>
                  </a:extLst>
                </a:gridCol>
                <a:gridCol w="697747">
                  <a:extLst>
                    <a:ext uri="{9D8B030D-6E8A-4147-A177-3AD203B41FA5}">
                      <a16:colId xmlns:a16="http://schemas.microsoft.com/office/drawing/2014/main" val="3304258541"/>
                    </a:ext>
                  </a:extLst>
                </a:gridCol>
                <a:gridCol w="89932">
                  <a:extLst>
                    <a:ext uri="{9D8B030D-6E8A-4147-A177-3AD203B41FA5}">
                      <a16:colId xmlns:a16="http://schemas.microsoft.com/office/drawing/2014/main" val="2923537605"/>
                    </a:ext>
                  </a:extLst>
                </a:gridCol>
                <a:gridCol w="856996">
                  <a:extLst>
                    <a:ext uri="{9D8B030D-6E8A-4147-A177-3AD203B41FA5}">
                      <a16:colId xmlns:a16="http://schemas.microsoft.com/office/drawing/2014/main" val="1570997160"/>
                    </a:ext>
                  </a:extLst>
                </a:gridCol>
              </a:tblGrid>
              <a:tr h="185785">
                <a:tc>
                  <a:txBody>
                    <a:bodyPr/>
                    <a:lstStyle/>
                    <a:p>
                      <a:pPr algn="l" fontAlgn="t"/>
                      <a:endParaRPr lang="en-US" sz="1200" b="1" i="0" u="none" strike="noStrike" dirty="0">
                        <a:solidFill>
                          <a:schemeClr val="bg1"/>
                        </a:solidFill>
                        <a:effectLst/>
                        <a:latin typeface="Arial" panose="020B0604020202020204" pitchFamily="34" charset="0"/>
                      </a:endParaRPr>
                    </a:p>
                  </a:txBody>
                  <a:tcPr marL="6881" marR="6881" marT="6881"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5">
                  <a:txBody>
                    <a:bodyPr/>
                    <a:lstStyle/>
                    <a:p>
                      <a:pPr algn="ctr" fontAlgn="b"/>
                      <a:r>
                        <a:rPr lang="en-US" sz="1200" b="1" u="none" strike="noStrike" dirty="0">
                          <a:solidFill>
                            <a:schemeClr val="bg1"/>
                          </a:solidFill>
                          <a:effectLst/>
                        </a:rPr>
                        <a:t>Quarter Ended</a:t>
                      </a:r>
                      <a:endParaRPr lang="en-US" sz="1200" b="1" i="0" u="none" strike="noStrike" dirty="0">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4">
                  <a:txBody>
                    <a:bodyPr/>
                    <a:lstStyle/>
                    <a:p>
                      <a:pPr algn="ctr" fontAlgn="b"/>
                      <a:r>
                        <a:rPr lang="en-US" sz="1200" b="1" u="none" strike="noStrike" dirty="0">
                          <a:solidFill>
                            <a:schemeClr val="bg1"/>
                          </a:solidFill>
                          <a:effectLst/>
                        </a:rPr>
                        <a:t>Twelve Months Ended</a:t>
                      </a:r>
                      <a:endParaRPr lang="en-US" sz="1200" b="1" i="0" u="none" strike="noStrike" dirty="0">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88850793"/>
                  </a:ext>
                </a:extLst>
              </a:tr>
              <a:tr h="185785">
                <a:tc>
                  <a:txBody>
                    <a:bodyPr/>
                    <a:lstStyle/>
                    <a:p>
                      <a:pPr algn="l" fontAlgn="t"/>
                      <a:r>
                        <a:rPr lang="en-US" sz="1200" b="1" u="none" strike="noStrike">
                          <a:solidFill>
                            <a:schemeClr val="bg1"/>
                          </a:solidFill>
                          <a:effectLst/>
                        </a:rPr>
                        <a:t>millions of dollars</a:t>
                      </a:r>
                      <a:endParaRPr lang="en-US" sz="1200" b="1" i="0" u="none" strike="noStrike">
                        <a:solidFill>
                          <a:schemeClr val="bg1"/>
                        </a:solidFill>
                        <a:effectLst/>
                        <a:latin typeface="Arial" panose="020B0604020202020204" pitchFamily="34" charset="0"/>
                      </a:endParaRPr>
                    </a:p>
                  </a:txBody>
                  <a:tcPr marL="6881" marR="6881" marT="6881"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Dec. 31,</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Oct. 1,</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Dec. 31,</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dirty="0">
                          <a:solidFill>
                            <a:schemeClr val="bg1"/>
                          </a:solidFill>
                          <a:effectLst/>
                        </a:rPr>
                        <a:t> </a:t>
                      </a:r>
                      <a:endParaRPr lang="en-US" sz="1200" b="1" i="0" u="none" strike="noStrike" dirty="0">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Dec. 31,</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Dec. 31,</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extLst>
                  <a:ext uri="{0D108BD9-81ED-4DB2-BD59-A6C34878D82A}">
                    <a16:rowId xmlns:a16="http://schemas.microsoft.com/office/drawing/2014/main" val="537672027"/>
                  </a:ext>
                </a:extLst>
              </a:tr>
              <a:tr h="185785">
                <a:tc>
                  <a:txBody>
                    <a:bodyPr/>
                    <a:lstStyle/>
                    <a:p>
                      <a:pPr algn="l" fontAlgn="t"/>
                      <a:endParaRPr lang="en-US" sz="1200" b="1" i="0" u="none" strike="noStrike">
                        <a:solidFill>
                          <a:schemeClr val="bg1"/>
                        </a:solidFill>
                        <a:effectLst/>
                        <a:latin typeface="Arial" panose="020B0604020202020204" pitchFamily="34" charset="0"/>
                      </a:endParaRPr>
                    </a:p>
                  </a:txBody>
                  <a:tcPr marL="6881" marR="6881" marT="6881"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3</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3</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2</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dirty="0">
                          <a:solidFill>
                            <a:schemeClr val="bg1"/>
                          </a:solidFill>
                          <a:effectLst/>
                        </a:rPr>
                        <a:t>2023</a:t>
                      </a:r>
                      <a:endParaRPr lang="en-US" sz="1200" b="1" i="0" u="none" strike="noStrike" dirty="0">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dirty="0">
                          <a:solidFill>
                            <a:schemeClr val="bg1"/>
                          </a:solidFill>
                          <a:effectLst/>
                        </a:rPr>
                        <a:t>2022</a:t>
                      </a:r>
                      <a:endParaRPr lang="en-US" sz="1200" b="1" i="0" u="none" strike="noStrike" dirty="0">
                        <a:solidFill>
                          <a:schemeClr val="bg1"/>
                        </a:solidFill>
                        <a:effectLst/>
                        <a:latin typeface="Arial" panose="020B0604020202020204" pitchFamily="34" charset="0"/>
                      </a:endParaRPr>
                    </a:p>
                  </a:txBody>
                  <a:tcPr marL="6881" marR="6881" marT="6881"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extLst>
                  <a:ext uri="{0D108BD9-81ED-4DB2-BD59-A6C34878D82A}">
                    <a16:rowId xmlns:a16="http://schemas.microsoft.com/office/drawing/2014/main" val="2323782467"/>
                  </a:ext>
                </a:extLst>
              </a:tr>
              <a:tr h="185785">
                <a:tc>
                  <a:txBody>
                    <a:bodyPr/>
                    <a:lstStyle/>
                    <a:p>
                      <a:pPr algn="l" fontAlgn="t"/>
                      <a:endParaRPr lang="en-US" sz="1200" b="0" i="0" u="none" strike="noStrike">
                        <a:solidFill>
                          <a:srgbClr val="000000"/>
                        </a:solidFill>
                        <a:effectLst/>
                        <a:latin typeface="Arial" panose="020B0604020202020204" pitchFamily="34" charset="0"/>
                      </a:endParaRPr>
                    </a:p>
                  </a:txBody>
                  <a:tcPr marL="6881" marR="6881" marT="6881" marB="0">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6881" marR="6881" marT="6881" marB="0" anchor="b">
                    <a:lnT w="12700" cmpd="sng">
                      <a:noFill/>
                    </a:lnT>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6881" marR="6881" marT="6881" marB="0" anchor="b">
                    <a:lnT w="12700" cmpd="sng">
                      <a:noFill/>
                    </a:lnT>
                    <a:noFill/>
                  </a:tcPr>
                </a:tc>
                <a:extLst>
                  <a:ext uri="{0D108BD9-81ED-4DB2-BD59-A6C34878D82A}">
                    <a16:rowId xmlns:a16="http://schemas.microsoft.com/office/drawing/2014/main" val="2079523750"/>
                  </a:ext>
                </a:extLst>
              </a:tr>
              <a:tr h="185785">
                <a:tc>
                  <a:txBody>
                    <a:bodyPr/>
                    <a:lstStyle/>
                    <a:p>
                      <a:pPr algn="l" fontAlgn="b"/>
                      <a:r>
                        <a:rPr lang="en-US" sz="1200" u="none" strike="noStrike">
                          <a:effectLst/>
                        </a:rPr>
                        <a:t>Net income (loss)</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39.8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9.2)</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84.1</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22.2</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4101790223"/>
                  </a:ext>
                </a:extLst>
              </a:tr>
              <a:tr h="185785">
                <a:tc>
                  <a:txBody>
                    <a:bodyPr/>
                    <a:lstStyle/>
                    <a:p>
                      <a:pPr algn="l" fontAlgn="b"/>
                      <a:r>
                        <a:rPr lang="en-US" sz="1200" u="none" strike="noStrike">
                          <a:effectLst/>
                        </a:rPr>
                        <a:t>Add back:</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3513706068"/>
                  </a:ext>
                </a:extLst>
              </a:tr>
              <a:tr h="185785">
                <a:tc>
                  <a:txBody>
                    <a:bodyPr/>
                    <a:lstStyle/>
                    <a:p>
                      <a:pPr algn="l" fontAlgn="b"/>
                      <a:r>
                        <a:rPr lang="en-US" sz="1200" u="none" strike="noStrike">
                          <a:effectLst/>
                        </a:rPr>
                        <a:t>        Depreciation, depletion and amortization</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3.5</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4.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3.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95.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94.2</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2897380294"/>
                  </a:ext>
                </a:extLst>
              </a:tr>
              <a:tr h="185785">
                <a:tc>
                  <a:txBody>
                    <a:bodyPr/>
                    <a:lstStyle/>
                    <a:p>
                      <a:pPr algn="l" fontAlgn="b"/>
                      <a:r>
                        <a:rPr lang="en-US" sz="1200" u="none" strike="noStrike">
                          <a:effectLst/>
                        </a:rPr>
                        <a:t>        Interest expense, ne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5.2</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5.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2.7</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59.2</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43.9</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1928086212"/>
                  </a:ext>
                </a:extLst>
              </a:tr>
              <a:tr h="185785">
                <a:tc>
                  <a:txBody>
                    <a:bodyPr/>
                    <a:lstStyle/>
                    <a:p>
                      <a:pPr algn="l" fontAlgn="b"/>
                      <a:r>
                        <a:rPr lang="en-US" sz="1200" u="none" strike="noStrike" dirty="0">
                          <a:effectLst/>
                        </a:rPr>
                        <a:t>        Equity in earnings of affiliates, net of tax</a:t>
                      </a:r>
                      <a:endParaRPr lang="en-US" sz="1200" b="0" i="0" u="none" strike="noStrike" dirty="0">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1.4)</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1.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0.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4.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1.7)</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4127511119"/>
                  </a:ext>
                </a:extLst>
              </a:tr>
              <a:tr h="185785">
                <a:tc gridSpan="2">
                  <a:txBody>
                    <a:bodyPr/>
                    <a:lstStyle/>
                    <a:p>
                      <a:pPr algn="l" fontAlgn="b"/>
                      <a:r>
                        <a:rPr lang="en-US" sz="1200" u="none" strike="noStrike">
                          <a:effectLst/>
                        </a:rPr>
                        <a:t>        Net income attributable to non-controlling interests</a:t>
                      </a:r>
                      <a:endParaRPr lang="en-US" sz="1200" b="0" i="0" u="none" strike="noStrike">
                        <a:solidFill>
                          <a:srgbClr val="000000"/>
                        </a:solidFill>
                        <a:effectLst/>
                        <a:latin typeface="Arial" panose="020B0604020202020204" pitchFamily="34" charset="0"/>
                      </a:endParaRPr>
                    </a:p>
                  </a:txBody>
                  <a:tcPr marL="6881" marR="6881" marT="6881" marB="0" anchor="b">
                    <a:noFill/>
                  </a:tcPr>
                </a:tc>
                <a:tc hMerge="1">
                  <a:txBody>
                    <a:bodyPr/>
                    <a:lstStyle/>
                    <a:p>
                      <a:endParaRPr lang="en-US"/>
                    </a:p>
                  </a:txBody>
                  <a:tcPr/>
                </a:tc>
                <a:tc>
                  <a:txBody>
                    <a:bodyPr/>
                    <a:lstStyle/>
                    <a:p>
                      <a:pPr algn="r" fontAlgn="b"/>
                      <a:r>
                        <a:rPr lang="en-US" sz="1200" u="none" strike="noStrike">
                          <a:effectLst/>
                        </a:rPr>
                        <a:t>1.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1</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4</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4.2</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4.1</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1804631102"/>
                  </a:ext>
                </a:extLst>
              </a:tr>
              <a:tr h="185785">
                <a:tc>
                  <a:txBody>
                    <a:bodyPr/>
                    <a:lstStyle/>
                    <a:p>
                      <a:pPr algn="l" fontAlgn="b"/>
                      <a:r>
                        <a:rPr lang="en-US" sz="1200" u="none" strike="noStrike">
                          <a:effectLst/>
                        </a:rPr>
                        <a:t>        Provision (benefit) for taxes on income</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9.2 </a:t>
                      </a:r>
                      <a:endParaRPr lang="en-US" sz="1200" b="0" i="0" u="sng" strike="noStrike">
                        <a:effectLst/>
                        <a:latin typeface="Arial" panose="020B0604020202020204" pitchFamily="34" charset="0"/>
                      </a:endParaRPr>
                    </a:p>
                  </a:txBody>
                  <a:tcPr marL="6881" marR="6881" marT="6881" marB="0" anchor="b">
                    <a:noFill/>
                  </a:tcPr>
                </a:tc>
                <a:tc>
                  <a:txBody>
                    <a:bodyPr/>
                    <a:lstStyle/>
                    <a:p>
                      <a:pPr algn="l" fontAlgn="b"/>
                      <a:r>
                        <a:rPr lang="en-US" sz="1200" u="sng" strike="noStrike">
                          <a:effectLst/>
                        </a:rPr>
                        <a:t> </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3.5)</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sng" strike="noStrike">
                          <a:effectLst/>
                        </a:rPr>
                        <a:t> </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6.3</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23.7</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sng" strike="noStrike">
                          <a:effectLst/>
                        </a:rPr>
                        <a:t> </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32.1</a:t>
                      </a:r>
                      <a:endParaRPr lang="en-US" sz="1200" b="0" i="0" u="sng"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732373620"/>
                  </a:ext>
                </a:extLst>
              </a:tr>
              <a:tr h="185785">
                <a:tc>
                  <a:txBody>
                    <a:bodyPr/>
                    <a:lstStyle/>
                    <a:p>
                      <a:pPr algn="l" fontAlgn="b"/>
                      <a:r>
                        <a:rPr lang="en-US" sz="1200" u="none" strike="noStrike">
                          <a:effectLst/>
                        </a:rPr>
                        <a:t>                   EBITDA</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87.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7.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63.1</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61.9</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94.8</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2414348080"/>
                  </a:ext>
                </a:extLst>
              </a:tr>
              <a:tr h="185785">
                <a:tc>
                  <a:txBody>
                    <a:bodyPr/>
                    <a:lstStyle/>
                    <a:p>
                      <a:pPr algn="l" fontAlgn="b"/>
                      <a:r>
                        <a:rPr lang="en-US" sz="1200" u="none" strike="noStrike">
                          <a:effectLst/>
                        </a:rPr>
                        <a:t>Add special items:</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2938457500"/>
                  </a:ext>
                </a:extLst>
              </a:tr>
              <a:tr h="185785">
                <a:tc>
                  <a:txBody>
                    <a:bodyPr/>
                    <a:lstStyle/>
                    <a:p>
                      <a:pPr algn="l" fontAlgn="b"/>
                      <a:r>
                        <a:rPr lang="en-US" sz="1200" u="none" strike="noStrike">
                          <a:effectLst/>
                        </a:rPr>
                        <a:t>        Restructuring and other items, ne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6.9</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3959782599"/>
                  </a:ext>
                </a:extLst>
              </a:tr>
              <a:tr h="185785">
                <a:tc>
                  <a:txBody>
                    <a:bodyPr/>
                    <a:lstStyle/>
                    <a:p>
                      <a:pPr algn="l" fontAlgn="b"/>
                      <a:r>
                        <a:rPr lang="en-US" sz="1200" u="none" strike="noStrike">
                          <a:effectLst/>
                        </a:rPr>
                        <a:t>        Impairment of assets</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71.7</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71.7</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3554528194"/>
                  </a:ext>
                </a:extLst>
              </a:tr>
              <a:tr h="185785">
                <a:tc>
                  <a:txBody>
                    <a:bodyPr/>
                    <a:lstStyle/>
                    <a:p>
                      <a:pPr algn="l" fontAlgn="b"/>
                      <a:r>
                        <a:rPr lang="en-US" sz="1200" u="none" strike="noStrike">
                          <a:effectLst/>
                        </a:rPr>
                        <a:t>        Acquisition-related expenses</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4</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5.1</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916489180"/>
                  </a:ext>
                </a:extLst>
              </a:tr>
              <a:tr h="185785">
                <a:tc>
                  <a:txBody>
                    <a:bodyPr/>
                    <a:lstStyle/>
                    <a:p>
                      <a:pPr algn="l" fontAlgn="b"/>
                      <a:r>
                        <a:rPr lang="en-US" sz="1200" u="none" strike="noStrike">
                          <a:effectLst/>
                        </a:rPr>
                        <a:t>        Litigation expenses</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4</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2.9</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29.2</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32.6</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3576505459"/>
                  </a:ext>
                </a:extLst>
              </a:tr>
              <a:tr h="185785">
                <a:tc>
                  <a:txBody>
                    <a:bodyPr/>
                    <a:lstStyle/>
                    <a:p>
                      <a:pPr algn="l" fontAlgn="b"/>
                      <a:r>
                        <a:rPr lang="en-US" sz="1200" u="none" strike="noStrike">
                          <a:effectLst/>
                        </a:rPr>
                        <a:t>        Debt extinguishment expenses</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6.9</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2460496042"/>
                  </a:ext>
                </a:extLst>
              </a:tr>
              <a:tr h="185785">
                <a:tc>
                  <a:txBody>
                    <a:bodyPr/>
                    <a:lstStyle/>
                    <a:p>
                      <a:pPr algn="l" fontAlgn="b"/>
                      <a:r>
                        <a:rPr lang="en-US" sz="1200" u="none" strike="noStrike">
                          <a:effectLst/>
                        </a:rPr>
                        <a:t>        Non-cash pension settlement charge</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0.0</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sng" strike="noStrike">
                          <a:effectLst/>
                        </a:rPr>
                        <a:t> </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0.0 </a:t>
                      </a:r>
                      <a:endParaRPr lang="en-US" sz="1200" b="0" i="0" u="sng" strike="noStrike">
                        <a:effectLst/>
                        <a:latin typeface="Arial" panose="020B0604020202020204" pitchFamily="34" charset="0"/>
                      </a:endParaRPr>
                    </a:p>
                  </a:txBody>
                  <a:tcPr marL="6881" marR="6881" marT="6881" marB="0" anchor="b">
                    <a:noFill/>
                  </a:tcPr>
                </a:tc>
                <a:tc>
                  <a:txBody>
                    <a:bodyPr/>
                    <a:lstStyle/>
                    <a:p>
                      <a:pPr algn="l" fontAlgn="b"/>
                      <a:r>
                        <a:rPr lang="en-US" sz="1200" u="sng" strike="noStrike">
                          <a:effectLst/>
                        </a:rPr>
                        <a:t> </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1.8</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0.0</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sng" strike="noStrike">
                          <a:effectLst/>
                        </a:rPr>
                        <a:t> </a:t>
                      </a:r>
                      <a:endParaRPr lang="en-US" sz="1200" b="0" i="0" u="sng"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sng" strike="noStrike">
                          <a:effectLst/>
                        </a:rPr>
                        <a:t>3.5</a:t>
                      </a:r>
                      <a:endParaRPr lang="en-US" sz="1200" b="0" i="0" u="sng"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3604148866"/>
                  </a:ext>
                </a:extLst>
              </a:tr>
              <a:tr h="185785">
                <a:tc>
                  <a:txBody>
                    <a:bodyPr/>
                    <a:lstStyle/>
                    <a:p>
                      <a:pPr algn="l" fontAlgn="b"/>
                      <a:r>
                        <a:rPr lang="en-US" sz="1200" u="none" strike="noStrike">
                          <a:effectLst/>
                        </a:rPr>
                        <a:t>                   Adjusted EBITDA</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89.7</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01.9</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65.3</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370.0</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342.9</a:t>
                      </a:r>
                      <a:endParaRPr lang="en-US" sz="1200" b="0" i="0" u="none" strike="noStrike">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2556350532"/>
                  </a:ext>
                </a:extLst>
              </a:tr>
              <a:tr h="185785">
                <a:tc>
                  <a:txBody>
                    <a:bodyPr/>
                    <a:lstStyle/>
                    <a:p>
                      <a:pPr algn="l" fontAlgn="b"/>
                      <a:r>
                        <a:rPr lang="en-US" sz="1200" u="none" strike="noStrike">
                          <a:effectLst/>
                        </a:rPr>
                        <a:t>                   % of sales</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7.1%</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8.6%</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2.9%</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a:effectLst/>
                        </a:rPr>
                        <a:t>17.1%</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881" marR="6881" marT="6881" marB="0" anchor="b">
                    <a:noFill/>
                  </a:tcPr>
                </a:tc>
                <a:tc>
                  <a:txBody>
                    <a:bodyPr/>
                    <a:lstStyle/>
                    <a:p>
                      <a:pPr algn="r" fontAlgn="b"/>
                      <a:r>
                        <a:rPr lang="en-US" sz="1200" u="none" strike="noStrike" dirty="0">
                          <a:effectLst/>
                        </a:rPr>
                        <a:t>16.1%</a:t>
                      </a:r>
                      <a:endParaRPr lang="en-US" sz="1200" b="0" i="0" u="none" strike="noStrike" dirty="0">
                        <a:solidFill>
                          <a:srgbClr val="000000"/>
                        </a:solidFill>
                        <a:effectLst/>
                        <a:latin typeface="Arial" panose="020B0604020202020204" pitchFamily="34" charset="0"/>
                      </a:endParaRPr>
                    </a:p>
                  </a:txBody>
                  <a:tcPr marL="6881" marR="6881" marT="6881" marB="0" anchor="b">
                    <a:noFill/>
                  </a:tcPr>
                </a:tc>
                <a:extLst>
                  <a:ext uri="{0D108BD9-81ED-4DB2-BD59-A6C34878D82A}">
                    <a16:rowId xmlns:a16="http://schemas.microsoft.com/office/drawing/2014/main" val="3432412581"/>
                  </a:ext>
                </a:extLst>
              </a:tr>
            </a:tbl>
          </a:graphicData>
        </a:graphic>
      </p:graphicFrame>
    </p:spTree>
    <p:extLst>
      <p:ext uri="{BB962C8B-B14F-4D97-AF65-F5344CB8AC3E}">
        <p14:creationId xmlns:p14="http://schemas.microsoft.com/office/powerpoint/2010/main" val="21336220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18B9DFE-2547-5D1C-8D12-ECA64324EF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8" name="think-cell data - do not delete" hidden="1">
                        <a:extLst>
                          <a:ext uri="{FF2B5EF4-FFF2-40B4-BE49-F238E27FC236}">
                            <a16:creationId xmlns:a16="http://schemas.microsoft.com/office/drawing/2014/main" id="{818B9DFE-2547-5D1C-8D12-ECA64324EF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9B41EB6-864F-DD5E-33FA-6B46E9DDE3ED}"/>
              </a:ext>
            </a:extLst>
          </p:cNvPr>
          <p:cNvSpPr>
            <a:spLocks noGrp="1"/>
          </p:cNvSpPr>
          <p:nvPr>
            <p:ph type="title"/>
          </p:nvPr>
        </p:nvSpPr>
        <p:spPr/>
        <p:txBody>
          <a:bodyPr vert="horz">
            <a:normAutofit fontScale="90000"/>
          </a:bodyPr>
          <a:lstStyle/>
          <a:p>
            <a:r>
              <a:rPr lang="en-US" altLang="en-US" sz="1600" dirty="0"/>
              <a:t>Reconciliation </a:t>
            </a:r>
            <a:br>
              <a:rPr lang="en-US" altLang="en-US" sz="2800" dirty="0"/>
            </a:br>
            <a:r>
              <a:rPr lang="en-US" sz="3100" dirty="0"/>
              <a:t>The Company Sales Growth  Excluding BMI</a:t>
            </a:r>
            <a:endParaRPr lang="en-US" dirty="0"/>
          </a:p>
        </p:txBody>
      </p:sp>
      <p:graphicFrame>
        <p:nvGraphicFramePr>
          <p:cNvPr id="6" name="Table 5">
            <a:extLst>
              <a:ext uri="{FF2B5EF4-FFF2-40B4-BE49-F238E27FC236}">
                <a16:creationId xmlns:a16="http://schemas.microsoft.com/office/drawing/2014/main" id="{43B5EE4D-F938-748B-A184-B559DE98075F}"/>
              </a:ext>
            </a:extLst>
          </p:cNvPr>
          <p:cNvGraphicFramePr>
            <a:graphicFrameLocks noGrp="1"/>
          </p:cNvGraphicFramePr>
          <p:nvPr/>
        </p:nvGraphicFramePr>
        <p:xfrm>
          <a:off x="609600" y="1288265"/>
          <a:ext cx="11104522" cy="3040197"/>
        </p:xfrm>
        <a:graphic>
          <a:graphicData uri="http://schemas.openxmlformats.org/drawingml/2006/table">
            <a:tbl>
              <a:tblPr>
                <a:tableStyleId>{5C22544A-7EE6-4342-B048-85BDC9FD1C3A}</a:tableStyleId>
              </a:tblPr>
              <a:tblGrid>
                <a:gridCol w="2340602">
                  <a:extLst>
                    <a:ext uri="{9D8B030D-6E8A-4147-A177-3AD203B41FA5}">
                      <a16:colId xmlns:a16="http://schemas.microsoft.com/office/drawing/2014/main" val="2586553704"/>
                    </a:ext>
                  </a:extLst>
                </a:gridCol>
                <a:gridCol w="103099">
                  <a:extLst>
                    <a:ext uri="{9D8B030D-6E8A-4147-A177-3AD203B41FA5}">
                      <a16:colId xmlns:a16="http://schemas.microsoft.com/office/drawing/2014/main" val="3776376955"/>
                    </a:ext>
                  </a:extLst>
                </a:gridCol>
                <a:gridCol w="777086">
                  <a:extLst>
                    <a:ext uri="{9D8B030D-6E8A-4147-A177-3AD203B41FA5}">
                      <a16:colId xmlns:a16="http://schemas.microsoft.com/office/drawing/2014/main" val="1625090372"/>
                    </a:ext>
                  </a:extLst>
                </a:gridCol>
                <a:gridCol w="245862">
                  <a:extLst>
                    <a:ext uri="{9D8B030D-6E8A-4147-A177-3AD203B41FA5}">
                      <a16:colId xmlns:a16="http://schemas.microsoft.com/office/drawing/2014/main" val="1526150649"/>
                    </a:ext>
                  </a:extLst>
                </a:gridCol>
                <a:gridCol w="74332">
                  <a:extLst>
                    <a:ext uri="{9D8B030D-6E8A-4147-A177-3AD203B41FA5}">
                      <a16:colId xmlns:a16="http://schemas.microsoft.com/office/drawing/2014/main" val="165713472"/>
                    </a:ext>
                  </a:extLst>
                </a:gridCol>
                <a:gridCol w="1061548">
                  <a:extLst>
                    <a:ext uri="{9D8B030D-6E8A-4147-A177-3AD203B41FA5}">
                      <a16:colId xmlns:a16="http://schemas.microsoft.com/office/drawing/2014/main" val="2888244116"/>
                    </a:ext>
                  </a:extLst>
                </a:gridCol>
                <a:gridCol w="210661">
                  <a:extLst>
                    <a:ext uri="{9D8B030D-6E8A-4147-A177-3AD203B41FA5}">
                      <a16:colId xmlns:a16="http://schemas.microsoft.com/office/drawing/2014/main" val="2890049629"/>
                    </a:ext>
                  </a:extLst>
                </a:gridCol>
                <a:gridCol w="35201">
                  <a:extLst>
                    <a:ext uri="{9D8B030D-6E8A-4147-A177-3AD203B41FA5}">
                      <a16:colId xmlns:a16="http://schemas.microsoft.com/office/drawing/2014/main" val="2486043531"/>
                    </a:ext>
                  </a:extLst>
                </a:gridCol>
                <a:gridCol w="44312">
                  <a:extLst>
                    <a:ext uri="{9D8B030D-6E8A-4147-A177-3AD203B41FA5}">
                      <a16:colId xmlns:a16="http://schemas.microsoft.com/office/drawing/2014/main" val="1108126175"/>
                    </a:ext>
                  </a:extLst>
                </a:gridCol>
                <a:gridCol w="1176793">
                  <a:extLst>
                    <a:ext uri="{9D8B030D-6E8A-4147-A177-3AD203B41FA5}">
                      <a16:colId xmlns:a16="http://schemas.microsoft.com/office/drawing/2014/main" val="254197382"/>
                    </a:ext>
                  </a:extLst>
                </a:gridCol>
                <a:gridCol w="62292">
                  <a:extLst>
                    <a:ext uri="{9D8B030D-6E8A-4147-A177-3AD203B41FA5}">
                      <a16:colId xmlns:a16="http://schemas.microsoft.com/office/drawing/2014/main" val="3936453205"/>
                    </a:ext>
                  </a:extLst>
                </a:gridCol>
                <a:gridCol w="597443">
                  <a:extLst>
                    <a:ext uri="{9D8B030D-6E8A-4147-A177-3AD203B41FA5}">
                      <a16:colId xmlns:a16="http://schemas.microsoft.com/office/drawing/2014/main" val="540691926"/>
                    </a:ext>
                  </a:extLst>
                </a:gridCol>
                <a:gridCol w="40136">
                  <a:extLst>
                    <a:ext uri="{9D8B030D-6E8A-4147-A177-3AD203B41FA5}">
                      <a16:colId xmlns:a16="http://schemas.microsoft.com/office/drawing/2014/main" val="1411849467"/>
                    </a:ext>
                  </a:extLst>
                </a:gridCol>
                <a:gridCol w="173763">
                  <a:extLst>
                    <a:ext uri="{9D8B030D-6E8A-4147-A177-3AD203B41FA5}">
                      <a16:colId xmlns:a16="http://schemas.microsoft.com/office/drawing/2014/main" val="929039807"/>
                    </a:ext>
                  </a:extLst>
                </a:gridCol>
                <a:gridCol w="612195">
                  <a:extLst>
                    <a:ext uri="{9D8B030D-6E8A-4147-A177-3AD203B41FA5}">
                      <a16:colId xmlns:a16="http://schemas.microsoft.com/office/drawing/2014/main" val="623383350"/>
                    </a:ext>
                  </a:extLst>
                </a:gridCol>
                <a:gridCol w="136237">
                  <a:extLst>
                    <a:ext uri="{9D8B030D-6E8A-4147-A177-3AD203B41FA5}">
                      <a16:colId xmlns:a16="http://schemas.microsoft.com/office/drawing/2014/main" val="4271617067"/>
                    </a:ext>
                  </a:extLst>
                </a:gridCol>
                <a:gridCol w="178466">
                  <a:extLst>
                    <a:ext uri="{9D8B030D-6E8A-4147-A177-3AD203B41FA5}">
                      <a16:colId xmlns:a16="http://schemas.microsoft.com/office/drawing/2014/main" val="203494620"/>
                    </a:ext>
                  </a:extLst>
                </a:gridCol>
                <a:gridCol w="32768">
                  <a:extLst>
                    <a:ext uri="{9D8B030D-6E8A-4147-A177-3AD203B41FA5}">
                      <a16:colId xmlns:a16="http://schemas.microsoft.com/office/drawing/2014/main" val="3156191487"/>
                    </a:ext>
                  </a:extLst>
                </a:gridCol>
                <a:gridCol w="1102068">
                  <a:extLst>
                    <a:ext uri="{9D8B030D-6E8A-4147-A177-3AD203B41FA5}">
                      <a16:colId xmlns:a16="http://schemas.microsoft.com/office/drawing/2014/main" val="1841152284"/>
                    </a:ext>
                  </a:extLst>
                </a:gridCol>
                <a:gridCol w="186043">
                  <a:extLst>
                    <a:ext uri="{9D8B030D-6E8A-4147-A177-3AD203B41FA5}">
                      <a16:colId xmlns:a16="http://schemas.microsoft.com/office/drawing/2014/main" val="1929093032"/>
                    </a:ext>
                  </a:extLst>
                </a:gridCol>
                <a:gridCol w="187667">
                  <a:extLst>
                    <a:ext uri="{9D8B030D-6E8A-4147-A177-3AD203B41FA5}">
                      <a16:colId xmlns:a16="http://schemas.microsoft.com/office/drawing/2014/main" val="3457750901"/>
                    </a:ext>
                  </a:extLst>
                </a:gridCol>
                <a:gridCol w="1164055">
                  <a:extLst>
                    <a:ext uri="{9D8B030D-6E8A-4147-A177-3AD203B41FA5}">
                      <a16:colId xmlns:a16="http://schemas.microsoft.com/office/drawing/2014/main" val="3178574838"/>
                    </a:ext>
                  </a:extLst>
                </a:gridCol>
                <a:gridCol w="561893">
                  <a:extLst>
                    <a:ext uri="{9D8B030D-6E8A-4147-A177-3AD203B41FA5}">
                      <a16:colId xmlns:a16="http://schemas.microsoft.com/office/drawing/2014/main" val="1167958135"/>
                    </a:ext>
                  </a:extLst>
                </a:gridCol>
              </a:tblGrid>
              <a:tr h="1327640">
                <a:tc gridSpan="22">
                  <a:txBody>
                    <a:bodyPr/>
                    <a:lstStyle/>
                    <a:p>
                      <a:pPr algn="l" fontAlgn="t"/>
                      <a:r>
                        <a:rPr lang="en-US" sz="1200" u="none" strike="noStrike">
                          <a:effectLst/>
                        </a:rPr>
                        <a:t>To supplement the Company's consolidated financial statements presented in accordance with GAAP, the following is a presentation of the Company's year over year sales growth, excluding the sales of </a:t>
                      </a:r>
                      <a:r>
                        <a:rPr lang="en-US" sz="1200" u="none" strike="noStrike" err="1">
                          <a:effectLst/>
                        </a:rPr>
                        <a:t>Barretts</a:t>
                      </a:r>
                      <a:r>
                        <a:rPr lang="en-US" sz="1200" u="none" strike="noStrike">
                          <a:effectLst/>
                        </a:rPr>
                        <a:t> Minerals Inc. for the three months ended December 31, 2022, constituting a reconciliation to GAAP sales growth set forth below. On October 2, 2023, </a:t>
                      </a:r>
                      <a:r>
                        <a:rPr lang="en-US" sz="1200" u="none" strike="noStrike" err="1">
                          <a:effectLst/>
                        </a:rPr>
                        <a:t>Barretts</a:t>
                      </a:r>
                      <a:r>
                        <a:rPr lang="en-US" sz="1200" u="none" strike="noStrike">
                          <a:effectLst/>
                        </a:rPr>
                        <a:t> Minerals Inc. filed for relief under Chapter 11 of the U.S. Bankruptcy Code and as such the results of </a:t>
                      </a:r>
                      <a:r>
                        <a:rPr lang="en-US" sz="1200" u="none" strike="noStrike" err="1">
                          <a:effectLst/>
                        </a:rPr>
                        <a:t>Barretts</a:t>
                      </a:r>
                      <a:r>
                        <a:rPr lang="en-US" sz="1200" u="none" strike="noStrike">
                          <a:effectLst/>
                        </a:rPr>
                        <a:t> Minerals are not included the </a:t>
                      </a:r>
                      <a:r>
                        <a:rPr lang="en-US" sz="1200" u="none" strike="noStrike" err="1">
                          <a:effectLst/>
                        </a:rPr>
                        <a:t>the</a:t>
                      </a:r>
                      <a:r>
                        <a:rPr lang="en-US" sz="1200" u="none" strike="noStrike">
                          <a:effectLst/>
                        </a:rPr>
                        <a:t> Company's consolidated results for the fourth quarter of 2023.  </a:t>
                      </a:r>
                      <a:r>
                        <a:rPr lang="en-US" sz="1200" u="none" strike="noStrike" err="1">
                          <a:effectLst/>
                        </a:rPr>
                        <a:t>Barretts</a:t>
                      </a:r>
                      <a:r>
                        <a:rPr lang="en-US" sz="1200" u="none" strike="noStrike">
                          <a:effectLst/>
                        </a:rPr>
                        <a:t> Minerals sales for the fourth quarter of 2022 were $12.0 million. The Company's management feels this non-GAAP measure provides meaningful supplemental information regarding its performance and facilitates investors' understanding of sales trends for the fourth quarter of 2023.</a:t>
                      </a:r>
                      <a:endParaRPr lang="en-US" sz="1200" b="0" i="0" u="none" strike="noStrike">
                        <a:solidFill>
                          <a:srgbClr val="000000"/>
                        </a:solidFill>
                        <a:effectLst/>
                        <a:latin typeface="Arial" panose="020B0604020202020204" pitchFamily="34" charset="0"/>
                      </a:endParaRPr>
                    </a:p>
                  </a:txBody>
                  <a:tcPr marL="7368" marR="7368" marT="7368" marB="0">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noFill/>
                  </a:tcPr>
                </a:tc>
                <a:extLst>
                  <a:ext uri="{0D108BD9-81ED-4DB2-BD59-A6C34878D82A}">
                    <a16:rowId xmlns:a16="http://schemas.microsoft.com/office/drawing/2014/main" val="1946396767"/>
                  </a:ext>
                </a:extLst>
              </a:tr>
              <a:tr h="198925">
                <a:tc>
                  <a:txBody>
                    <a:bodyPr/>
                    <a:lstStyle/>
                    <a:p>
                      <a:pPr algn="l" fontAlgn="b"/>
                      <a:endParaRPr lang="en-US" sz="1200" b="0" i="0" u="none" strike="noStrike">
                        <a:solidFill>
                          <a:srgbClr val="000000"/>
                        </a:solidFill>
                        <a:effectLst/>
                        <a:latin typeface="Arial" panose="020B0604020202020204" pitchFamily="34" charset="0"/>
                      </a:endParaRPr>
                    </a:p>
                  </a:txBody>
                  <a:tcPr marL="7368" marR="7368" marT="7368" marB="0" anchor="b">
                    <a:lnB w="12700" cmpd="sng">
                      <a:noFill/>
                    </a:ln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B w="12700" cmpd="sng">
                      <a:noFill/>
                    </a:lnB>
                    <a:noFill/>
                  </a:tcPr>
                </a:tc>
                <a:tc>
                  <a:txBody>
                    <a:bodyPr/>
                    <a:lstStyle/>
                    <a:p>
                      <a:pPr algn="l" fontAlgn="b"/>
                      <a:endParaRPr lang="en-US" sz="1200" b="0" i="0" u="dbl" strike="noStrike" dirty="0">
                        <a:solidFill>
                          <a:srgbClr val="000000"/>
                        </a:solidFill>
                        <a:effectLst/>
                        <a:latin typeface="Arial" panose="020B0604020202020204" pitchFamily="34" charset="0"/>
                      </a:endParaRPr>
                    </a:p>
                  </a:txBody>
                  <a:tcPr marL="7368" marR="7368" marT="7368" marB="0" anchor="b">
                    <a:lnB w="12700" cmpd="sng">
                      <a:noFill/>
                    </a:ln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B w="12700" cmpd="sng">
                      <a:noFill/>
                    </a:lnB>
                    <a:noFill/>
                  </a:tcPr>
                </a:tc>
                <a:tc gridSpan="2">
                  <a:txBody>
                    <a:bodyPr/>
                    <a:lstStyle/>
                    <a:p>
                      <a:pPr algn="l" fontAlgn="b"/>
                      <a:endParaRPr lang="en-US" sz="1200" b="0" i="0" u="dbl" strike="noStrike" dirty="0">
                        <a:solidFill>
                          <a:srgbClr val="000000"/>
                        </a:solidFill>
                        <a:effectLst/>
                        <a:latin typeface="Arial" panose="020B0604020202020204" pitchFamily="34" charset="0"/>
                      </a:endParaRPr>
                    </a:p>
                  </a:txBody>
                  <a:tcPr marL="7368" marR="7368" marT="7368" marB="0" anchor="b">
                    <a:lnB w="12700" cmpd="sng">
                      <a:noFill/>
                    </a:lnB>
                    <a:noFill/>
                  </a:tcPr>
                </a:tc>
                <a:tc hMerge="1">
                  <a:txBody>
                    <a:bodyPr/>
                    <a:lstStyle/>
                    <a:p>
                      <a:pPr algn="l" fontAlgn="b"/>
                      <a:endParaRPr lang="en-US" sz="1200" b="0" i="0" u="dbl" strike="noStrike">
                        <a:solidFill>
                          <a:srgbClr val="000000"/>
                        </a:solidFill>
                        <a:effectLst/>
                        <a:latin typeface="Arial" panose="020B0604020202020204" pitchFamily="34" charset="0"/>
                      </a:endParaRPr>
                    </a:p>
                  </a:txBody>
                  <a:tcPr marL="7368" marR="7368" marT="7368" marB="0" anchor="b"/>
                </a:tc>
                <a:tc gridSpan="2">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B w="12700" cmpd="sng">
                      <a:noFill/>
                    </a:lnB>
                    <a:noFill/>
                  </a:tcPr>
                </a:tc>
                <a:tc hMerge="1">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tc>
                <a:tc gridSpan="2">
                  <a:txBody>
                    <a:bodyPr/>
                    <a:lstStyle/>
                    <a:p>
                      <a:pPr algn="l" fontAlgn="b"/>
                      <a:r>
                        <a:rPr lang="en-US" sz="1200" u="sng" strike="noStrike">
                          <a:effectLst/>
                        </a:rPr>
                        <a:t> </a:t>
                      </a:r>
                      <a:endParaRPr lang="en-US" sz="1200" b="0" i="0" u="dbl" strike="noStrike">
                        <a:solidFill>
                          <a:srgbClr val="000000"/>
                        </a:solidFill>
                        <a:effectLst/>
                        <a:latin typeface="Arial" panose="020B0604020202020204" pitchFamily="34" charset="0"/>
                      </a:endParaRPr>
                    </a:p>
                  </a:txBody>
                  <a:tcPr marL="7368" marR="7368" marT="7368" marB="0" anchor="b">
                    <a:lnB w="12700" cmpd="sng">
                      <a:noFill/>
                    </a:lnB>
                    <a:noFill/>
                  </a:tcPr>
                </a:tc>
                <a:tc hMerge="1">
                  <a:txBody>
                    <a:bodyPr/>
                    <a:lstStyle/>
                    <a:p>
                      <a:pPr algn="l" fontAlgn="b"/>
                      <a:endParaRPr lang="en-US" sz="1200" b="0" i="0" u="dbl" strike="noStrike">
                        <a:solidFill>
                          <a:srgbClr val="000000"/>
                        </a:solidFill>
                        <a:effectLst/>
                        <a:latin typeface="Arial" panose="020B0604020202020204" pitchFamily="34" charset="0"/>
                      </a:endParaRPr>
                    </a:p>
                  </a:txBody>
                  <a:tcPr marL="7368" marR="7368" marT="7368" marB="0" anchor="b">
                    <a:lnB w="12700" cmpd="sng">
                      <a:noFill/>
                    </a:lnB>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7368" marR="7368" marT="7368" marB="0" anchor="b">
                    <a:lnB w="12700" cmpd="sng">
                      <a:noFill/>
                    </a:ln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B w="12700" cmpd="sng">
                      <a:noFill/>
                    </a:lnB>
                    <a:noFill/>
                  </a:tcPr>
                </a:tc>
                <a:tc gridSpan="2">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B w="12700" cmpd="sng">
                      <a:noFill/>
                    </a:lnB>
                    <a:noFill/>
                  </a:tcPr>
                </a:tc>
                <a:tc hMerge="1">
                  <a:txBody>
                    <a:bodyPr/>
                    <a:lstStyle/>
                    <a:p>
                      <a:pPr algn="l" fontAlgn="b"/>
                      <a:endParaRPr lang="en-US" sz="1200" b="0" i="0" u="none" strike="noStrike">
                        <a:effectLst/>
                        <a:latin typeface="Arial" panose="020B0604020202020204" pitchFamily="34" charset="0"/>
                      </a:endParaRPr>
                    </a:p>
                  </a:txBody>
                  <a:tcPr marL="7368" marR="7368" marT="7368" marB="0" anchor="b"/>
                </a:tc>
                <a:tc>
                  <a:txBody>
                    <a:bodyPr/>
                    <a:lstStyle/>
                    <a:p>
                      <a:pPr algn="l" fontAlgn="b"/>
                      <a:endParaRPr lang="en-US" sz="1200" b="0" i="0" u="dbl" strike="noStrike" dirty="0">
                        <a:solidFill>
                          <a:srgbClr val="000000"/>
                        </a:solidFill>
                        <a:effectLst/>
                        <a:latin typeface="Arial" panose="020B0604020202020204" pitchFamily="34" charset="0"/>
                      </a:endParaRPr>
                    </a:p>
                  </a:txBody>
                  <a:tcPr marL="7368" marR="7368" marT="7368" marB="0" anchor="b">
                    <a:lnB w="12700" cmpd="sng">
                      <a:noFill/>
                    </a:lnB>
                    <a:noFill/>
                  </a:tcPr>
                </a:tc>
                <a:tc gridSpan="2">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B w="12700" cmpd="sng">
                      <a:noFill/>
                    </a:lnB>
                    <a:noFill/>
                  </a:tcPr>
                </a:tc>
                <a:tc hMerge="1">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tc>
                <a:tc gridSpan="2">
                  <a:txBody>
                    <a:bodyPr/>
                    <a:lstStyle/>
                    <a:p>
                      <a:pPr algn="l" fontAlgn="b"/>
                      <a:endParaRPr lang="en-US" sz="1200" b="0" i="0" u="dbl" strike="noStrike" dirty="0">
                        <a:solidFill>
                          <a:srgbClr val="000000"/>
                        </a:solidFill>
                        <a:effectLst/>
                        <a:latin typeface="Arial" panose="020B0604020202020204" pitchFamily="34" charset="0"/>
                      </a:endParaRPr>
                    </a:p>
                  </a:txBody>
                  <a:tcPr marL="7368" marR="7368" marT="7368" marB="0" anchor="b">
                    <a:lnB w="12700" cmpd="sng">
                      <a:noFill/>
                    </a:lnB>
                    <a:noFill/>
                  </a:tcPr>
                </a:tc>
                <a:tc hMerge="1">
                  <a:txBody>
                    <a:bodyPr/>
                    <a:lstStyle/>
                    <a:p>
                      <a:pPr algn="l" fontAlgn="b"/>
                      <a:endParaRPr lang="en-US" sz="1200" b="0" i="0" u="dbl" strike="noStrike">
                        <a:solidFill>
                          <a:srgbClr val="000000"/>
                        </a:solidFill>
                        <a:effectLst/>
                        <a:latin typeface="Arial" panose="020B0604020202020204" pitchFamily="34" charset="0"/>
                      </a:endParaRPr>
                    </a:p>
                  </a:txBody>
                  <a:tcPr marL="7368" marR="7368" marT="7368" marB="0" anchor="b">
                    <a:lnB w="12700" cmpd="sng">
                      <a:noFill/>
                    </a:lnB>
                    <a:noFill/>
                  </a:tcPr>
                </a:tc>
                <a:tc gridSpan="2">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B w="12700" cmpd="sng">
                      <a:noFill/>
                    </a:lnB>
                    <a:noFill/>
                  </a:tcPr>
                </a:tc>
                <a:tc hMerge="1">
                  <a:txBody>
                    <a:bodyPr/>
                    <a:lstStyle/>
                    <a:p>
                      <a:pPr algn="l" fontAlgn="b"/>
                      <a:endParaRPr lang="en-US" sz="1200" b="0" i="0" u="none" strike="noStrike">
                        <a:effectLst/>
                        <a:latin typeface="Arial" panose="020B0604020202020204" pitchFamily="34" charset="0"/>
                      </a:endParaRPr>
                    </a:p>
                  </a:txBody>
                  <a:tcPr marL="7368" marR="7368" marT="7368" marB="0" anchor="b"/>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B w="12700" cmpd="sng">
                      <a:noFill/>
                    </a:lnB>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noFill/>
                  </a:tcPr>
                </a:tc>
                <a:extLst>
                  <a:ext uri="{0D108BD9-81ED-4DB2-BD59-A6C34878D82A}">
                    <a16:rowId xmlns:a16="http://schemas.microsoft.com/office/drawing/2014/main" val="1999756700"/>
                  </a:ext>
                </a:extLst>
              </a:tr>
              <a:tr h="198925">
                <a:tc>
                  <a:txBody>
                    <a:bodyPr/>
                    <a:lstStyle/>
                    <a:p>
                      <a:pPr algn="l" fontAlgn="t"/>
                      <a:r>
                        <a:rPr lang="en-US" sz="1200" b="1" u="none" strike="noStrike" dirty="0">
                          <a:solidFill>
                            <a:schemeClr val="bg1"/>
                          </a:solidFill>
                          <a:effectLst/>
                        </a:rPr>
                        <a:t>Year over Year Sales Growth</a:t>
                      </a:r>
                      <a:endParaRPr lang="en-US" sz="1200" b="1" i="0" u="none" strike="noStrike" dirty="0">
                        <a:solidFill>
                          <a:schemeClr val="bg1"/>
                        </a:solidFill>
                        <a:effectLst/>
                        <a:latin typeface="Arial" panose="020B0604020202020204" pitchFamily="34" charset="0"/>
                      </a:endParaRPr>
                    </a:p>
                  </a:txBody>
                  <a:tcPr marL="7368" marR="7368" marT="7368"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7368" marR="7368" marT="7368"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8">
                  <a:txBody>
                    <a:bodyPr/>
                    <a:lstStyle/>
                    <a:p>
                      <a:pPr algn="ctr" fontAlgn="b"/>
                      <a:r>
                        <a:rPr lang="en-US" sz="1200" b="1" u="none" strike="noStrike">
                          <a:solidFill>
                            <a:schemeClr val="bg1"/>
                          </a:solidFill>
                          <a:effectLst/>
                        </a:rPr>
                        <a:t>Quarter Ended December 31, 2023</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200" b="1" i="0" u="sng"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10">
                  <a:txBody>
                    <a:bodyPr/>
                    <a:lstStyle/>
                    <a:p>
                      <a:pPr algn="ctr" fontAlgn="b"/>
                      <a:r>
                        <a:rPr lang="en-US" sz="1200" b="1" u="none" strike="noStrike">
                          <a:solidFill>
                            <a:schemeClr val="bg1"/>
                          </a:solidFill>
                          <a:effectLst/>
                        </a:rPr>
                        <a:t>Year Ended December 31, 2023</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L w="12700" cmpd="sng">
                      <a:noFill/>
                    </a:lnL>
                    <a:noFill/>
                  </a:tcPr>
                </a:tc>
                <a:extLst>
                  <a:ext uri="{0D108BD9-81ED-4DB2-BD59-A6C34878D82A}">
                    <a16:rowId xmlns:a16="http://schemas.microsoft.com/office/drawing/2014/main" val="1209896870"/>
                  </a:ext>
                </a:extLst>
              </a:tr>
              <a:tr h="337436">
                <a:tc>
                  <a:txBody>
                    <a:bodyPr/>
                    <a:lstStyle/>
                    <a:p>
                      <a:pPr algn="l" fontAlgn="t"/>
                      <a:endParaRPr lang="en-US" sz="1200" b="1" i="0" u="none" strike="noStrike">
                        <a:solidFill>
                          <a:schemeClr val="bg1"/>
                        </a:solidFill>
                        <a:effectLst/>
                        <a:latin typeface="Arial" panose="020B0604020202020204" pitchFamily="34" charset="0"/>
                      </a:endParaRPr>
                    </a:p>
                  </a:txBody>
                  <a:tcPr marL="7368" marR="7368" marT="7368"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7368" marR="7368" marT="7368"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2">
                  <a:txBody>
                    <a:bodyPr/>
                    <a:lstStyle/>
                    <a:p>
                      <a:pPr algn="ctr" fontAlgn="b"/>
                      <a:r>
                        <a:rPr lang="en-US" sz="1200" b="1" u="none" strike="noStrike">
                          <a:solidFill>
                            <a:schemeClr val="bg1"/>
                          </a:solidFill>
                          <a:effectLst/>
                        </a:rPr>
                        <a:t>Sales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algn="ctr" fontAlgn="b"/>
                      <a:endParaRPr lang="en-US" sz="1100" b="0" i="0" u="none" strike="noStrike">
                        <a:solidFill>
                          <a:srgbClr val="000000"/>
                        </a:solidFill>
                        <a:effectLst/>
                        <a:latin typeface="Arial" panose="020B0604020202020204" pitchFamily="34" charset="0"/>
                      </a:endParaRPr>
                    </a:p>
                  </a:txBody>
                  <a:tcPr marL="7368" marR="7368" marT="7368" marB="0" anchor="b"/>
                </a:tc>
                <a:tc>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gridSpan="2">
                  <a:txBody>
                    <a:bodyPr/>
                    <a:lstStyle/>
                    <a:p>
                      <a:pPr algn="ctr" fontAlgn="b"/>
                      <a:r>
                        <a:rPr lang="en-US" sz="1200" b="1" u="none" strike="noStrike">
                          <a:solidFill>
                            <a:schemeClr val="bg1"/>
                          </a:solidFill>
                          <a:effectLst/>
                        </a:rPr>
                        <a:t>Impact of</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algn="ctr" fontAlgn="b"/>
                      <a:endParaRPr lang="en-US" sz="1100" b="0" i="0" u="none" strike="noStrike">
                        <a:solidFill>
                          <a:srgbClr val="000000"/>
                        </a:solidFill>
                        <a:effectLst/>
                        <a:latin typeface="Arial" panose="020B0604020202020204" pitchFamily="34" charset="0"/>
                      </a:endParaRPr>
                    </a:p>
                  </a:txBody>
                  <a:tcPr marL="7368" marR="7368" marT="7368" marB="0" anchor="b"/>
                </a:tc>
                <a:tc gridSpan="2">
                  <a:txBody>
                    <a:bodyPr/>
                    <a:lstStyle/>
                    <a:p>
                      <a:pPr algn="ctr" fontAlgn="b"/>
                      <a:endParaRPr lang="en-US" sz="1200" b="1" i="0" u="none" strike="noStrike" dirty="0">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200" b="1" u="none" strike="noStrike">
                          <a:solidFill>
                            <a:schemeClr val="bg1"/>
                          </a:solidFill>
                          <a:effectLst/>
                        </a:rPr>
                        <a:t>Underlying</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a:txBody>
                    <a:bodyPr/>
                    <a:lstStyle/>
                    <a:p>
                      <a:pPr algn="ctr" fontAlgn="b"/>
                      <a:r>
                        <a:rPr lang="en-US" sz="1200" b="1" u="none" strike="noStrike">
                          <a:solidFill>
                            <a:schemeClr val="bg1"/>
                          </a:solidFill>
                          <a:effectLst/>
                        </a:rPr>
                        <a:t>Underlying</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endParaRPr lang="en-US" sz="1200" b="1" i="0" u="sng"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gridSpan="3">
                  <a:txBody>
                    <a:bodyPr/>
                    <a:lstStyle/>
                    <a:p>
                      <a:pPr algn="ctr" fontAlgn="b"/>
                      <a:r>
                        <a:rPr lang="en-US" sz="1200" b="1" u="none" strike="noStrike">
                          <a:solidFill>
                            <a:schemeClr val="bg1"/>
                          </a:solidFill>
                          <a:effectLst/>
                        </a:rPr>
                        <a:t>Sales </a:t>
                      </a:r>
                      <a:endParaRPr lang="en-US" sz="1200" b="1" i="0" u="sng"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100" u="none" strike="noStrike">
                          <a:effectLst/>
                        </a:rPr>
                        <a:t>Sales </a:t>
                      </a:r>
                      <a:endParaRPr lang="en-US" sz="1100" b="0" i="0" u="none" strike="noStrike">
                        <a:solidFill>
                          <a:srgbClr val="000000"/>
                        </a:solidFill>
                        <a:effectLst/>
                        <a:latin typeface="Arial" panose="020B0604020202020204" pitchFamily="34" charset="0"/>
                      </a:endParaRPr>
                    </a:p>
                  </a:txBody>
                  <a:tcPr marL="7368" marR="7368" marT="7368" marB="0" anchor="b"/>
                </a:tc>
                <a:tc hMerge="1">
                  <a:txBody>
                    <a:bodyPr/>
                    <a:lstStyle/>
                    <a:p>
                      <a:pPr algn="ctr" fontAlgn="b"/>
                      <a:endParaRPr lang="en-US" sz="1100" b="0" i="0" u="none" strike="noStrike">
                        <a:solidFill>
                          <a:srgbClr val="000000"/>
                        </a:solidFill>
                        <a:effectLst/>
                        <a:latin typeface="Arial" panose="020B0604020202020204" pitchFamily="34" charset="0"/>
                      </a:endParaRPr>
                    </a:p>
                  </a:txBody>
                  <a:tcPr marL="7368" marR="7368" marT="7368" marB="0" anchor="b"/>
                </a:tc>
                <a:tc gridSpan="2">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200" b="1" u="none" strike="noStrike">
                          <a:solidFill>
                            <a:schemeClr val="bg1"/>
                          </a:solidFill>
                          <a:effectLst/>
                        </a:rPr>
                        <a:t>Impact of</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gridSpan="2">
                  <a:txBody>
                    <a:bodyPr/>
                    <a:lstStyle/>
                    <a:p>
                      <a:pPr algn="ctr"/>
                      <a:r>
                        <a:rPr lang="en-US" sz="1200" b="1" u="none" strike="noStrike">
                          <a:solidFill>
                            <a:schemeClr val="bg1"/>
                          </a:solidFill>
                          <a:effectLst/>
                        </a:rPr>
                        <a:t>Impact of</a:t>
                      </a:r>
                      <a:endParaRPr lang="en-US"/>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hMerge="1">
                  <a:txBody>
                    <a:bodyPr/>
                    <a:lstStyle/>
                    <a:p>
                      <a:pPr algn="ctr" fontAlgn="b"/>
                      <a:endParaRPr lang="en-US" sz="1100" b="0" i="0" u="none" strike="noStrike">
                        <a:solidFill>
                          <a:srgbClr val="000000"/>
                        </a:solidFill>
                        <a:effectLst/>
                        <a:latin typeface="Arial" panose="020B0604020202020204" pitchFamily="34" charset="0"/>
                      </a:endParaRPr>
                    </a:p>
                  </a:txBody>
                  <a:tcPr marL="7368" marR="7368" marT="7368" marB="0" anchor="b"/>
                </a:tc>
                <a:tc>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Underlying</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L w="12700" cmpd="sng">
                      <a:noFill/>
                    </a:lnL>
                    <a:noFill/>
                  </a:tcPr>
                </a:tc>
                <a:extLst>
                  <a:ext uri="{0D108BD9-81ED-4DB2-BD59-A6C34878D82A}">
                    <a16:rowId xmlns:a16="http://schemas.microsoft.com/office/drawing/2014/main" val="2302557729"/>
                  </a:ext>
                </a:extLst>
              </a:tr>
              <a:tr h="118782">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7368" marR="7368" marT="7368"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2">
                  <a:txBody>
                    <a:bodyPr/>
                    <a:lstStyle/>
                    <a:p>
                      <a:pPr algn="ctr" fontAlgn="b"/>
                      <a:r>
                        <a:rPr lang="en-US" sz="1200" b="1" u="none" strike="noStrike">
                          <a:solidFill>
                            <a:schemeClr val="bg1"/>
                          </a:solidFill>
                          <a:effectLst/>
                        </a:rPr>
                        <a:t>Growth</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l" fontAlgn="b"/>
                      <a:endParaRPr lang="en-US" sz="1100" b="0" i="0" u="none" strike="noStrike">
                        <a:effectLst/>
                        <a:latin typeface="Arial" panose="020B0604020202020204" pitchFamily="34" charset="0"/>
                      </a:endParaRPr>
                    </a:p>
                  </a:txBody>
                  <a:tcPr marL="7368" marR="7368" marT="7368" marB="0" anchor="b"/>
                </a:tc>
                <a:tc>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2">
                  <a:txBody>
                    <a:bodyPr/>
                    <a:lstStyle/>
                    <a:p>
                      <a:pPr algn="ctr" fontAlgn="b"/>
                      <a:r>
                        <a:rPr lang="en-US" sz="1200" b="1" u="none" strike="noStrike">
                          <a:solidFill>
                            <a:schemeClr val="bg1"/>
                          </a:solidFill>
                          <a:effectLst/>
                        </a:rPr>
                        <a:t>BMI Q4</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l" fontAlgn="b"/>
                      <a:endParaRPr lang="en-US" sz="1100" b="0" i="0" u="none" strike="noStrike">
                        <a:solidFill>
                          <a:srgbClr val="000000"/>
                        </a:solidFill>
                        <a:effectLst/>
                        <a:latin typeface="Arial" panose="020B0604020202020204" pitchFamily="34" charset="0"/>
                      </a:endParaRPr>
                    </a:p>
                  </a:txBody>
                  <a:tcPr marL="7368" marR="7368" marT="7368" marB="0" anchor="b"/>
                </a:tc>
                <a:tc gridSpan="2">
                  <a:txBody>
                    <a:bodyPr/>
                    <a:lstStyle/>
                    <a:p>
                      <a:pPr algn="l"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200" b="1" u="none" strike="noStrike">
                          <a:solidFill>
                            <a:schemeClr val="bg1"/>
                          </a:solidFill>
                          <a:effectLst/>
                        </a:rPr>
                        <a:t>Sales Growth</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a:txBody>
                    <a:bodyPr/>
                    <a:lstStyle/>
                    <a:p>
                      <a:pPr algn="ctr" fontAlgn="b"/>
                      <a:r>
                        <a:rPr lang="en-US" sz="1200" b="1" u="none" strike="noStrike">
                          <a:solidFill>
                            <a:schemeClr val="bg1"/>
                          </a:solidFill>
                          <a:effectLst/>
                        </a:rPr>
                        <a:t>Sales Growth</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3">
                  <a:txBody>
                    <a:bodyPr/>
                    <a:lstStyle/>
                    <a:p>
                      <a:pPr algn="ctr" fontAlgn="b"/>
                      <a:r>
                        <a:rPr lang="en-US" sz="1200" b="1" u="none" strike="noStrike" dirty="0">
                          <a:solidFill>
                            <a:schemeClr val="bg1"/>
                          </a:solidFill>
                          <a:effectLst/>
                        </a:rPr>
                        <a:t>Growth</a:t>
                      </a:r>
                      <a:endParaRPr lang="en-US" sz="1200" b="1" i="0" u="none" strike="noStrike" dirty="0">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100" u="none" strike="noStrike">
                          <a:effectLst/>
                        </a:rPr>
                        <a:t>Growth</a:t>
                      </a:r>
                      <a:endParaRPr lang="en-US" sz="1100" b="0" i="0" u="none" strike="noStrike">
                        <a:solidFill>
                          <a:srgbClr val="000000"/>
                        </a:solidFill>
                        <a:effectLst/>
                        <a:latin typeface="Arial" panose="020B0604020202020204" pitchFamily="34" charset="0"/>
                      </a:endParaRPr>
                    </a:p>
                  </a:txBody>
                  <a:tcPr marL="7368" marR="7368" marT="7368" marB="0" anchor="b"/>
                </a:tc>
                <a:tc hMerge="1">
                  <a:txBody>
                    <a:bodyPr/>
                    <a:lstStyle/>
                    <a:p>
                      <a:pPr algn="l" fontAlgn="b"/>
                      <a:endParaRPr lang="en-US" sz="1100" b="0" i="0" u="none" strike="noStrike">
                        <a:effectLst/>
                        <a:latin typeface="Arial" panose="020B0604020202020204" pitchFamily="34" charset="0"/>
                      </a:endParaRPr>
                    </a:p>
                  </a:txBody>
                  <a:tcPr marL="7368" marR="7368" marT="7368" marB="0" anchor="b"/>
                </a:tc>
                <a:tc gridSpan="2">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200" b="1" u="none" strike="noStrike">
                          <a:solidFill>
                            <a:schemeClr val="bg1"/>
                          </a:solidFill>
                          <a:effectLst/>
                        </a:rPr>
                        <a:t>BMI</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gridSpan="2">
                  <a:txBody>
                    <a:bodyPr/>
                    <a:lstStyle/>
                    <a:p>
                      <a:pPr algn="ctr"/>
                      <a:r>
                        <a:rPr lang="en-US" sz="1200" b="1" u="none" strike="noStrike">
                          <a:solidFill>
                            <a:schemeClr val="bg1"/>
                          </a:solidFill>
                          <a:effectLst/>
                        </a:rPr>
                        <a:t>BMI Q4</a:t>
                      </a:r>
                      <a:endParaRPr lang="en-US"/>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l" fontAlgn="b"/>
                      <a:endParaRPr lang="en-US" sz="1100" b="0" i="0" u="none" strike="noStrike">
                        <a:solidFill>
                          <a:srgbClr val="000000"/>
                        </a:solidFill>
                        <a:effectLst/>
                        <a:latin typeface="Arial" panose="020B0604020202020204" pitchFamily="34" charset="0"/>
                      </a:endParaRPr>
                    </a:p>
                  </a:txBody>
                  <a:tcPr marL="7368" marR="7368" marT="7368" marB="0" anchor="b"/>
                </a:tc>
                <a:tc>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Sales Growth</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L w="12700" cmpd="sng">
                      <a:noFill/>
                    </a:lnL>
                    <a:noFill/>
                  </a:tcPr>
                </a:tc>
                <a:extLst>
                  <a:ext uri="{0D108BD9-81ED-4DB2-BD59-A6C34878D82A}">
                    <a16:rowId xmlns:a16="http://schemas.microsoft.com/office/drawing/2014/main" val="3823881152"/>
                  </a:ext>
                </a:extLst>
              </a:tr>
              <a:tr h="111414">
                <a:tc>
                  <a:txBody>
                    <a:bodyPr/>
                    <a:lstStyle/>
                    <a:p>
                      <a:pPr algn="l" fontAlgn="t"/>
                      <a:endParaRPr lang="en-US" sz="1200" b="1" i="0" u="sng" strike="noStrike">
                        <a:solidFill>
                          <a:schemeClr val="bg1"/>
                        </a:solidFill>
                        <a:effectLst/>
                        <a:latin typeface="Arial" panose="020B0604020202020204" pitchFamily="34" charset="0"/>
                      </a:endParaRPr>
                    </a:p>
                  </a:txBody>
                  <a:tcPr marL="7368" marR="7368" marT="7368"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7368" marR="7368" marT="7368"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2">
                  <a:txBody>
                    <a:bodyPr/>
                    <a:lstStyle/>
                    <a:p>
                      <a:pPr algn="ctr" fontAlgn="b"/>
                      <a:r>
                        <a:rPr lang="en-US" sz="1200" b="1" u="none" strike="noStrike">
                          <a:solidFill>
                            <a:schemeClr val="bg1"/>
                          </a:solidFill>
                          <a:effectLst/>
                        </a:rPr>
                        <a:t>As Reported</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l" fontAlgn="b"/>
                      <a:endParaRPr lang="en-US" sz="1100" b="0" i="0" u="none" strike="noStrike">
                        <a:effectLst/>
                        <a:latin typeface="Arial" panose="020B0604020202020204" pitchFamily="34" charset="0"/>
                      </a:endParaRPr>
                    </a:p>
                  </a:txBody>
                  <a:tcPr marL="7368" marR="7368" marT="7368" marB="0" anchor="b"/>
                </a:tc>
                <a:tc>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2">
                  <a:txBody>
                    <a:bodyPr/>
                    <a:lstStyle/>
                    <a:p>
                      <a:pPr algn="ctr" fontAlgn="b"/>
                      <a:r>
                        <a:rPr lang="en-US" sz="1200" b="1" u="none" strike="noStrike">
                          <a:solidFill>
                            <a:schemeClr val="bg1"/>
                          </a:solidFill>
                          <a:effectLst/>
                        </a:rPr>
                        <a:t>Deconsolidation</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l" fontAlgn="b"/>
                      <a:endParaRPr lang="en-US" sz="1100" b="0" i="0" u="none" strike="noStrike">
                        <a:solidFill>
                          <a:srgbClr val="000000"/>
                        </a:solidFill>
                        <a:effectLst/>
                        <a:latin typeface="Arial" panose="020B0604020202020204" pitchFamily="34" charset="0"/>
                      </a:endParaRPr>
                    </a:p>
                  </a:txBody>
                  <a:tcPr marL="7368" marR="7368" marT="7368" marB="0" anchor="b"/>
                </a:tc>
                <a:tc gridSpan="2">
                  <a:txBody>
                    <a:bodyPr/>
                    <a:lstStyle/>
                    <a:p>
                      <a:pPr algn="l"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200" b="1" u="none" strike="noStrike">
                          <a:solidFill>
                            <a:schemeClr val="bg1"/>
                          </a:solidFill>
                          <a:effectLst/>
                        </a:rPr>
                        <a:t>Excluding BMI</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b="1" u="none" strike="noStrike">
                          <a:solidFill>
                            <a:schemeClr val="bg1"/>
                          </a:solidFill>
                          <a:effectLst/>
                        </a:rPr>
                        <a:t> </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3">
                  <a:txBody>
                    <a:bodyPr/>
                    <a:lstStyle/>
                    <a:p>
                      <a:pPr algn="ctr" fontAlgn="b"/>
                      <a:r>
                        <a:rPr lang="en-US" sz="1200" b="1" u="none" strike="noStrike">
                          <a:solidFill>
                            <a:schemeClr val="bg1"/>
                          </a:solidFill>
                          <a:effectLst/>
                        </a:rPr>
                        <a:t>As Reported</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100" u="sng" strike="noStrike">
                          <a:effectLst/>
                        </a:rPr>
                        <a:t>As Reported</a:t>
                      </a:r>
                      <a:endParaRPr lang="en-US" sz="1100" b="0" i="0" u="sng" strike="noStrike">
                        <a:solidFill>
                          <a:srgbClr val="000000"/>
                        </a:solidFill>
                        <a:effectLst/>
                        <a:latin typeface="Arial" panose="020B0604020202020204" pitchFamily="34" charset="0"/>
                      </a:endParaRPr>
                    </a:p>
                  </a:txBody>
                  <a:tcPr marL="7368" marR="7368" marT="7368" marB="0" anchor="b"/>
                </a:tc>
                <a:tc hMerge="1">
                  <a:txBody>
                    <a:bodyPr/>
                    <a:lstStyle/>
                    <a:p>
                      <a:pPr algn="l" fontAlgn="b"/>
                      <a:endParaRPr lang="en-US" sz="1100" b="0" i="0" u="none" strike="noStrike">
                        <a:effectLst/>
                        <a:latin typeface="Arial" panose="020B0604020202020204" pitchFamily="34" charset="0"/>
                      </a:endParaRPr>
                    </a:p>
                  </a:txBody>
                  <a:tcPr marL="7368" marR="7368" marT="7368" marB="0" anchor="b"/>
                </a:tc>
                <a:tc gridSpan="2">
                  <a:txBody>
                    <a:bodyPr/>
                    <a:lstStyle/>
                    <a:p>
                      <a:pPr algn="ctr" fontAlgn="b"/>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ctr" fontAlgn="b"/>
                      <a:r>
                        <a:rPr lang="en-US" sz="1200" b="1" u="none" strike="noStrike">
                          <a:solidFill>
                            <a:schemeClr val="bg1"/>
                          </a:solidFill>
                          <a:effectLst/>
                        </a:rPr>
                        <a:t>Deconsolidation</a:t>
                      </a:r>
                      <a:endParaRPr lang="en-US" sz="1200" b="1" i="0" u="none" strike="noStrike">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9506F"/>
                    </a:solidFill>
                  </a:tcPr>
                </a:tc>
                <a:tc gridSpan="2">
                  <a:txBody>
                    <a:bodyPr/>
                    <a:lstStyle/>
                    <a:p>
                      <a:pPr algn="ctr"/>
                      <a:r>
                        <a:rPr lang="en-US" sz="1200" b="1" u="none" strike="noStrike" dirty="0">
                          <a:solidFill>
                            <a:schemeClr val="bg1"/>
                          </a:solidFill>
                          <a:effectLst/>
                        </a:rPr>
                        <a:t>Deconsolidation</a:t>
                      </a:r>
                      <a:endParaRPr lang="en-US" dirty="0"/>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hMerge="1">
                  <a:txBody>
                    <a:bodyPr/>
                    <a:lstStyle/>
                    <a:p>
                      <a:pPr algn="l" fontAlgn="b"/>
                      <a:endParaRPr lang="en-US" sz="1100" b="0" i="0" u="none" strike="noStrike">
                        <a:solidFill>
                          <a:srgbClr val="000000"/>
                        </a:solidFill>
                        <a:effectLst/>
                        <a:latin typeface="Arial" panose="020B0604020202020204" pitchFamily="34" charset="0"/>
                      </a:endParaRPr>
                    </a:p>
                  </a:txBody>
                  <a:tcPr marL="7368" marR="7368" marT="7368" marB="0" anchor="b"/>
                </a:tc>
                <a:tc>
                  <a:txBody>
                    <a:bodyPr/>
                    <a:lstStyle/>
                    <a:p>
                      <a:pPr algn="ctr" fontAlgn="b"/>
                      <a:endParaRPr lang="en-US" sz="1200" b="1" i="0" u="none" strike="noStrike" dirty="0">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endParaRPr lang="en-US" sz="1200" b="1" i="0" u="none" strike="noStrike" dirty="0">
                        <a:solidFill>
                          <a:schemeClr val="bg1"/>
                        </a:solidFill>
                        <a:effectLst/>
                        <a:latin typeface="Arial" panose="020B0604020202020204" pitchFamily="34" charset="0"/>
                      </a:endParaRPr>
                    </a:p>
                  </a:txBody>
                  <a:tcPr marL="7368" marR="7368" marT="7368"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L w="12700" cmpd="sng">
                      <a:noFill/>
                    </a:lnL>
                    <a:noFill/>
                  </a:tcPr>
                </a:tc>
                <a:extLst>
                  <a:ext uri="{0D108BD9-81ED-4DB2-BD59-A6C34878D82A}">
                    <a16:rowId xmlns:a16="http://schemas.microsoft.com/office/drawing/2014/main" val="2304460279"/>
                  </a:ext>
                </a:extLst>
              </a:tr>
              <a:tr h="198925">
                <a:tc>
                  <a:txBody>
                    <a:bodyPr/>
                    <a:lstStyle/>
                    <a:p>
                      <a:pPr algn="l" fontAlgn="t"/>
                      <a:r>
                        <a:rPr lang="en-US" sz="1200" u="none" strike="noStrike">
                          <a:effectLst/>
                        </a:rPr>
                        <a:t>Specialty Additives</a:t>
                      </a:r>
                      <a:endParaRPr lang="en-US" sz="1200" b="0" i="0" u="none" strike="noStrike">
                        <a:solidFill>
                          <a:srgbClr val="000000"/>
                        </a:solidFill>
                        <a:effectLst/>
                        <a:latin typeface="Arial" panose="020B0604020202020204" pitchFamily="34" charset="0"/>
                      </a:endParaRPr>
                    </a:p>
                  </a:txBody>
                  <a:tcPr marL="7368" marR="7368" marT="7368" marB="0">
                    <a:lnT w="12700" cmpd="sng">
                      <a:noFill/>
                    </a:lnT>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gridSpan="2">
                  <a:txBody>
                    <a:bodyPr/>
                    <a:lstStyle/>
                    <a:p>
                      <a:pPr algn="r" fontAlgn="b"/>
                      <a:r>
                        <a:rPr lang="en-US" sz="1200" u="none" strike="noStrike">
                          <a:effectLst/>
                        </a:rPr>
                        <a:t>(5)%</a:t>
                      </a:r>
                      <a:endParaRPr lang="en-US" sz="1200" b="0" i="0" u="none" strike="noStrike">
                        <a:effectLst/>
                        <a:latin typeface="Arial" panose="020B0604020202020204" pitchFamily="34" charset="0"/>
                      </a:endParaRPr>
                    </a:p>
                  </a:txBody>
                  <a:tcPr marL="7368" marR="7368" marT="7368" marB="0" anchor="b">
                    <a:lnT w="12700" cmpd="sng">
                      <a:noFill/>
                    </a:lnT>
                    <a:noFill/>
                  </a:tcPr>
                </a:tc>
                <a:tc hMerge="1">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gridSpan="2">
                  <a:txBody>
                    <a:bodyPr/>
                    <a:lstStyle/>
                    <a:p>
                      <a:pPr algn="r" fontAlgn="b"/>
                      <a:r>
                        <a:rPr lang="en-US" sz="1200" u="none" strike="noStrike">
                          <a:effectLst/>
                        </a:rPr>
                        <a:t>(8)%</a:t>
                      </a:r>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hMerge="1">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tc>
                <a:tc gridSpan="2">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hMerge="1">
                  <a:txBody>
                    <a:bodyPr/>
                    <a:lstStyle/>
                    <a:p>
                      <a:pPr algn="r" fontAlgn="b"/>
                      <a:r>
                        <a:rPr lang="en-US" sz="1200" u="none" strike="noStrike">
                          <a:effectLst/>
                        </a:rPr>
                        <a:t>3%</a:t>
                      </a:r>
                      <a:endParaRPr lang="en-US" sz="1200" b="0" i="0" u="none" strike="noStrike">
                        <a:effectLst/>
                        <a:latin typeface="Arial" panose="020B0604020202020204" pitchFamily="34" charset="0"/>
                      </a:endParaRPr>
                    </a:p>
                  </a:txBody>
                  <a:tcPr marL="7368" marR="7368" marT="7368" marB="0" anchor="b">
                    <a:lnT w="12700" cmpd="sng">
                      <a:noFill/>
                    </a:lnT>
                    <a:noFill/>
                  </a:tcPr>
                </a:tc>
                <a:tc>
                  <a:txBody>
                    <a:bodyPr/>
                    <a:lstStyle/>
                    <a:p>
                      <a:pPr algn="r" fontAlgn="b"/>
                      <a:r>
                        <a:rPr lang="en-US" sz="1200" u="none" strike="noStrike">
                          <a:effectLst/>
                        </a:rPr>
                        <a:t>3%</a:t>
                      </a:r>
                      <a:endParaRPr lang="en-US" sz="1200" b="0" i="0" u="none" strike="noStrike">
                        <a:effectLst/>
                        <a:latin typeface="Arial" panose="020B0604020202020204" pitchFamily="34" charset="0"/>
                      </a:endParaRPr>
                    </a:p>
                  </a:txBody>
                  <a:tcPr marL="7368" marR="7368" marT="7368" marB="0" anchor="b">
                    <a:lnT w="12700" cmpd="sng">
                      <a:noFill/>
                    </a:lnT>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a:txBody>
                    <a:bodyPr/>
                    <a:lstStyle/>
                    <a:p>
                      <a:pPr algn="r"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lnT w="12700" cmpd="sng">
                      <a:noFill/>
                    </a:lnT>
                    <a:noFill/>
                  </a:tcPr>
                </a:tc>
                <a:tc gridSpan="3">
                  <a:txBody>
                    <a:bodyPr/>
                    <a:lstStyle/>
                    <a:p>
                      <a:pPr algn="r" fontAlgn="b"/>
                      <a:r>
                        <a:rPr lang="en-US" sz="1200" u="none" strike="noStrike">
                          <a:effectLst/>
                        </a:rPr>
                        <a:t>(1)%</a:t>
                      </a:r>
                      <a:endParaRPr lang="en-US" sz="1200" b="0" i="0" u="none" strike="noStrike">
                        <a:effectLst/>
                        <a:latin typeface="Arial" panose="020B0604020202020204" pitchFamily="34" charset="0"/>
                      </a:endParaRPr>
                    </a:p>
                  </a:txBody>
                  <a:tcPr marL="7368" marR="7368" marT="7368" marB="0" anchor="b">
                    <a:lnT w="12700" cmpd="sng">
                      <a:noFill/>
                    </a:lnT>
                    <a:noFill/>
                  </a:tcPr>
                </a:tc>
                <a:tc hMerge="1">
                  <a:txBody>
                    <a:bodyPr/>
                    <a:lstStyle/>
                    <a:p>
                      <a:pPr algn="r" fontAlgn="b"/>
                      <a:r>
                        <a:rPr lang="en-US" sz="1200" u="none" strike="noStrike">
                          <a:effectLst/>
                        </a:rPr>
                        <a:t>(1)%</a:t>
                      </a:r>
                      <a:endParaRPr lang="en-US" sz="1200" b="0" i="0" u="none" strike="noStrike">
                        <a:effectLst/>
                        <a:latin typeface="Arial" panose="020B0604020202020204" pitchFamily="34" charset="0"/>
                      </a:endParaRPr>
                    </a:p>
                  </a:txBody>
                  <a:tcPr marL="7368" marR="7368" marT="7368" marB="0" anchor="b"/>
                </a:tc>
                <a:tc hMerge="1">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tc>
                <a:tc gridSpan="2">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hMerge="1">
                  <a:txBody>
                    <a:bodyPr/>
                    <a:lstStyle/>
                    <a:p>
                      <a:pPr algn="r" fontAlgn="b"/>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gridSpan="2">
                  <a:txBody>
                    <a:bodyPr/>
                    <a:lstStyle/>
                    <a:p>
                      <a:pPr algn="r"/>
                      <a:r>
                        <a:rPr lang="en-US" sz="1200" u="none" strike="noStrike">
                          <a:effectLst/>
                        </a:rPr>
                        <a:t>(2)%</a:t>
                      </a:r>
                      <a:endParaRPr lang="en-US"/>
                    </a:p>
                  </a:txBody>
                  <a:tcPr marL="7368" marR="7368" marT="7368" marB="0" anchor="b">
                    <a:lnT w="12700" cmpd="sng">
                      <a:noFill/>
                    </a:lnT>
                    <a:noFill/>
                  </a:tcPr>
                </a:tc>
                <a:tc hMerge="1">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lnT w="12700" cmpd="sng">
                      <a:noFill/>
                    </a:lnT>
                    <a:noFill/>
                  </a:tcPr>
                </a:tc>
                <a:tc>
                  <a:txBody>
                    <a:bodyPr/>
                    <a:lstStyle/>
                    <a:p>
                      <a:pPr algn="r" fontAlgn="b"/>
                      <a:r>
                        <a:rPr lang="en-US" sz="1200" u="none" strike="noStrike">
                          <a:effectLst/>
                        </a:rPr>
                        <a:t>1%</a:t>
                      </a:r>
                      <a:endParaRPr lang="en-US" sz="1200" b="0" i="0" u="none" strike="noStrike">
                        <a:effectLst/>
                        <a:latin typeface="Arial" panose="020B0604020202020204" pitchFamily="34" charset="0"/>
                      </a:endParaRPr>
                    </a:p>
                  </a:txBody>
                  <a:tcPr marL="7368" marR="7368" marT="7368" marB="0" anchor="b">
                    <a:lnT w="12700" cmpd="sng">
                      <a:noFill/>
                    </a:lnT>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noFill/>
                  </a:tcPr>
                </a:tc>
                <a:extLst>
                  <a:ext uri="{0D108BD9-81ED-4DB2-BD59-A6C34878D82A}">
                    <a16:rowId xmlns:a16="http://schemas.microsoft.com/office/drawing/2014/main" val="3697137245"/>
                  </a:ext>
                </a:extLst>
              </a:tr>
              <a:tr h="198925">
                <a:tc>
                  <a:txBody>
                    <a:bodyPr/>
                    <a:lstStyle/>
                    <a:p>
                      <a:pPr algn="l" fontAlgn="t"/>
                      <a:r>
                        <a:rPr lang="en-US" sz="1200" u="none" strike="noStrike" dirty="0">
                          <a:effectLst/>
                        </a:rPr>
                        <a:t>Consumer &amp; Specialties</a:t>
                      </a:r>
                      <a:endParaRPr lang="en-US" sz="1200" b="0" i="0" u="none" strike="noStrike" dirty="0">
                        <a:solidFill>
                          <a:srgbClr val="000000"/>
                        </a:solidFill>
                        <a:effectLst/>
                        <a:latin typeface="Arial" panose="020B0604020202020204" pitchFamily="34" charset="0"/>
                      </a:endParaRPr>
                    </a:p>
                  </a:txBody>
                  <a:tcPr marL="7368" marR="7368" marT="7368" marB="0">
                    <a:noFill/>
                  </a:tcPr>
                </a:tc>
                <a:tc>
                  <a:txBody>
                    <a:bodyPr/>
                    <a:lstStyle/>
                    <a:p>
                      <a:pPr algn="l" fontAlgn="t"/>
                      <a:endParaRPr lang="en-US" sz="1200" b="0" i="0" u="none" strike="noStrike">
                        <a:effectLst/>
                        <a:latin typeface="Arial" panose="020B0604020202020204" pitchFamily="34" charset="0"/>
                      </a:endParaRPr>
                    </a:p>
                  </a:txBody>
                  <a:tcPr marL="7368" marR="7368" marT="7368" marB="0">
                    <a:noFill/>
                  </a:tcPr>
                </a:tc>
                <a:tc gridSpan="2">
                  <a:txBody>
                    <a:bodyPr/>
                    <a:lstStyle/>
                    <a:p>
                      <a:pPr algn="r" fontAlgn="b"/>
                      <a:r>
                        <a:rPr lang="en-US" sz="1200" u="none" strike="noStrike">
                          <a:effectLst/>
                        </a:rPr>
                        <a:t>3%</a:t>
                      </a:r>
                      <a:endParaRPr lang="en-US" sz="1200" b="0" i="0" u="none" strike="noStrike">
                        <a:effectLst/>
                        <a:latin typeface="Arial" panose="020B0604020202020204" pitchFamily="34" charset="0"/>
                      </a:endParaRPr>
                    </a:p>
                  </a:txBody>
                  <a:tcPr marL="7368" marR="7368" marT="7368" marB="0" anchor="b">
                    <a:noFill/>
                  </a:tcPr>
                </a:tc>
                <a:tc hMerge="1">
                  <a:txBody>
                    <a:bodyPr/>
                    <a:lstStyle/>
                    <a:p>
                      <a:pPr algn="l" fontAlgn="t"/>
                      <a:endParaRPr lang="en-US" sz="1200" b="0" i="0" u="none" strike="noStrike">
                        <a:effectLst/>
                        <a:latin typeface="Arial" panose="020B0604020202020204" pitchFamily="34" charset="0"/>
                      </a:endParaRPr>
                    </a:p>
                  </a:txBody>
                  <a:tcPr marL="7368" marR="7368" marT="7368" marB="0"/>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oFill/>
                  </a:tcPr>
                </a:tc>
                <a:tc gridSpan="2">
                  <a:txBody>
                    <a:bodyPr/>
                    <a:lstStyle/>
                    <a:p>
                      <a:pPr algn="r" fontAlgn="b"/>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7368" marR="7368" marT="7368" marB="0" anchor="b">
                    <a:noFill/>
                  </a:tcPr>
                </a:tc>
                <a:tc hMerge="1">
                  <a:txBody>
                    <a:bodyPr/>
                    <a:lstStyle/>
                    <a:p>
                      <a:pPr algn="l" fontAlgn="t"/>
                      <a:endParaRPr lang="en-US" sz="1200" b="0" i="0" u="none" strike="noStrike">
                        <a:effectLst/>
                        <a:latin typeface="Arial" panose="020B0604020202020204" pitchFamily="34" charset="0"/>
                      </a:endParaRPr>
                    </a:p>
                  </a:txBody>
                  <a:tcPr marL="7368" marR="7368" marT="7368" marB="0"/>
                </a:tc>
                <a:tc gridSpan="2">
                  <a:txBody>
                    <a:bodyPr/>
                    <a:lstStyle/>
                    <a:p>
                      <a:pPr algn="r" fontAlgn="t"/>
                      <a:endParaRPr lang="en-US" sz="1200" b="0" i="0" u="none" strike="noStrike">
                        <a:effectLst/>
                        <a:latin typeface="Arial" panose="020B0604020202020204" pitchFamily="34" charset="0"/>
                      </a:endParaRPr>
                    </a:p>
                  </a:txBody>
                  <a:tcPr marL="7368" marR="7368" marT="7368" marB="0">
                    <a:noFill/>
                  </a:tcPr>
                </a:tc>
                <a:tc hMerge="1">
                  <a:txBody>
                    <a:bodyPr/>
                    <a:lstStyle/>
                    <a:p>
                      <a:pPr algn="r" fontAlgn="b"/>
                      <a:r>
                        <a:rPr lang="en-US" sz="1200" u="none" strike="noStrike">
                          <a:effectLst/>
                        </a:rPr>
                        <a:t>8%</a:t>
                      </a:r>
                      <a:endParaRPr lang="en-US" sz="1200" b="0" i="0" u="none" strike="noStrike">
                        <a:effectLst/>
                        <a:latin typeface="Arial" panose="020B0604020202020204" pitchFamily="34" charset="0"/>
                      </a:endParaRPr>
                    </a:p>
                  </a:txBody>
                  <a:tcPr marL="7368" marR="7368" marT="7368" marB="0" anchor="b">
                    <a:noFill/>
                  </a:tcPr>
                </a:tc>
                <a:tc>
                  <a:txBody>
                    <a:bodyPr/>
                    <a:lstStyle/>
                    <a:p>
                      <a:pPr algn="r" fontAlgn="b"/>
                      <a:r>
                        <a:rPr lang="en-US" sz="1200" u="none" strike="noStrike">
                          <a:effectLst/>
                        </a:rPr>
                        <a:t>8%</a:t>
                      </a:r>
                      <a:endParaRPr lang="en-US" sz="1200" b="0" i="0" u="none" strike="noStrike">
                        <a:effectLst/>
                        <a:latin typeface="Arial" panose="020B0604020202020204" pitchFamily="34" charset="0"/>
                      </a:endParaRPr>
                    </a:p>
                  </a:txBody>
                  <a:tcPr marL="7368" marR="7368" marT="7368"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7368" marR="7368" marT="7368"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noFill/>
                  </a:tcPr>
                </a:tc>
                <a:tc>
                  <a:txBody>
                    <a:bodyPr/>
                    <a:lstStyle/>
                    <a:p>
                      <a:pPr algn="r"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noFill/>
                  </a:tcPr>
                </a:tc>
                <a:tc gridSpan="3">
                  <a:txBody>
                    <a:bodyPr/>
                    <a:lstStyle/>
                    <a:p>
                      <a:pPr algn="r" fontAlgn="b"/>
                      <a:r>
                        <a:rPr lang="en-US" sz="1200" u="none" strike="noStrike">
                          <a:effectLst/>
                        </a:rPr>
                        <a:t>3%</a:t>
                      </a:r>
                      <a:endParaRPr lang="en-US" sz="1200" b="0" i="0" u="none" strike="noStrike">
                        <a:effectLst/>
                        <a:latin typeface="Arial" panose="020B0604020202020204" pitchFamily="34" charset="0"/>
                      </a:endParaRPr>
                    </a:p>
                  </a:txBody>
                  <a:tcPr marL="7368" marR="7368" marT="7368" marB="0" anchor="b">
                    <a:noFill/>
                  </a:tcPr>
                </a:tc>
                <a:tc hMerge="1">
                  <a:txBody>
                    <a:bodyPr/>
                    <a:lstStyle/>
                    <a:p>
                      <a:pPr algn="r" fontAlgn="b"/>
                      <a:r>
                        <a:rPr lang="en-US" sz="1200" u="none" strike="noStrike">
                          <a:effectLst/>
                        </a:rPr>
                        <a:t>3%</a:t>
                      </a:r>
                      <a:endParaRPr lang="en-US" sz="1200" b="0" i="0" u="none" strike="noStrike">
                        <a:effectLst/>
                        <a:latin typeface="Arial" panose="020B0604020202020204" pitchFamily="34" charset="0"/>
                      </a:endParaRPr>
                    </a:p>
                  </a:txBody>
                  <a:tcPr marL="7368" marR="7368" marT="7368" marB="0" anchor="b"/>
                </a:tc>
                <a:tc hMerge="1">
                  <a:txBody>
                    <a:bodyPr/>
                    <a:lstStyle/>
                    <a:p>
                      <a:pPr algn="l" fontAlgn="t"/>
                      <a:endParaRPr lang="en-US" sz="1200" b="0" i="0" u="none" strike="noStrike">
                        <a:effectLst/>
                        <a:latin typeface="Arial" panose="020B0604020202020204" pitchFamily="34" charset="0"/>
                      </a:endParaRPr>
                    </a:p>
                  </a:txBody>
                  <a:tcPr marL="7368" marR="7368" marT="7368" marB="0"/>
                </a:tc>
                <a:tc gridSpan="2">
                  <a:txBody>
                    <a:bodyPr/>
                    <a:lstStyle/>
                    <a:p>
                      <a:pPr algn="r" fontAlgn="t"/>
                      <a:endParaRPr lang="en-US" sz="1200" b="0" i="0" u="none" strike="noStrike">
                        <a:effectLst/>
                        <a:latin typeface="Arial" panose="020B0604020202020204" pitchFamily="34" charset="0"/>
                      </a:endParaRPr>
                    </a:p>
                  </a:txBody>
                  <a:tcPr marL="7368" marR="7368" marT="7368" marB="0">
                    <a:noFill/>
                  </a:tcPr>
                </a:tc>
                <a:tc hMerge="1">
                  <a:txBody>
                    <a:bodyPr/>
                    <a:lstStyle/>
                    <a:p>
                      <a:pPr algn="r" fontAlgn="b"/>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7368" marR="7368" marT="7368" marB="0" anchor="b">
                    <a:noFill/>
                  </a:tcPr>
                </a:tc>
                <a:tc gridSpan="2">
                  <a:txBody>
                    <a:bodyPr/>
                    <a:lstStyle/>
                    <a:p>
                      <a:pPr algn="r"/>
                      <a:r>
                        <a:rPr lang="en-US" sz="1200" u="none" strike="noStrike">
                          <a:effectLst/>
                        </a:rPr>
                        <a:t>(1)%</a:t>
                      </a:r>
                      <a:endParaRPr lang="en-US"/>
                    </a:p>
                  </a:txBody>
                  <a:tcPr marL="7368" marR="7368" marT="7368" marB="0" anchor="b">
                    <a:noFill/>
                  </a:tcPr>
                </a:tc>
                <a:tc hMerge="1">
                  <a:txBody>
                    <a:bodyPr/>
                    <a:lstStyle/>
                    <a:p>
                      <a:pPr algn="l" fontAlgn="t"/>
                      <a:endParaRPr lang="en-US" sz="1200" b="0" i="0" u="none" strike="noStrike">
                        <a:effectLst/>
                        <a:latin typeface="Arial" panose="020B0604020202020204" pitchFamily="34" charset="0"/>
                      </a:endParaRPr>
                    </a:p>
                  </a:txBody>
                  <a:tcPr marL="7368" marR="7368" marT="7368" marB="0"/>
                </a:tc>
                <a:tc>
                  <a:txBody>
                    <a:bodyPr/>
                    <a:lstStyle/>
                    <a:p>
                      <a:pPr algn="r" fontAlgn="t"/>
                      <a:endParaRPr lang="en-US" sz="1200" b="0" i="0" u="none" strike="noStrike">
                        <a:effectLst/>
                        <a:latin typeface="Arial" panose="020B0604020202020204" pitchFamily="34" charset="0"/>
                      </a:endParaRPr>
                    </a:p>
                  </a:txBody>
                  <a:tcPr marL="7368" marR="7368" marT="7368" marB="0">
                    <a:noFill/>
                  </a:tcPr>
                </a:tc>
                <a:tc>
                  <a:txBody>
                    <a:bodyPr/>
                    <a:lstStyle/>
                    <a:p>
                      <a:pPr algn="r" fontAlgn="b"/>
                      <a:r>
                        <a:rPr lang="en-US" sz="1200" u="none" strike="noStrike">
                          <a:effectLst/>
                        </a:rPr>
                        <a:t>4%</a:t>
                      </a:r>
                      <a:endParaRPr lang="en-US" sz="1200" b="0" i="0" u="none" strike="noStrike">
                        <a:effectLst/>
                        <a:latin typeface="Arial" panose="020B0604020202020204" pitchFamily="34" charset="0"/>
                      </a:endParaRPr>
                    </a:p>
                  </a:txBody>
                  <a:tcPr marL="7368" marR="7368" marT="7368" marB="0" anchor="b">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noFill/>
                  </a:tcPr>
                </a:tc>
                <a:extLst>
                  <a:ext uri="{0D108BD9-81ED-4DB2-BD59-A6C34878D82A}">
                    <a16:rowId xmlns:a16="http://schemas.microsoft.com/office/drawing/2014/main" val="3904373226"/>
                  </a:ext>
                </a:extLst>
              </a:tr>
              <a:tr h="198925">
                <a:tc>
                  <a:txBody>
                    <a:bodyPr/>
                    <a:lstStyle/>
                    <a:p>
                      <a:pPr algn="l" fontAlgn="t"/>
                      <a:r>
                        <a:rPr lang="en-US" sz="1200" u="none" strike="noStrike">
                          <a:effectLst/>
                        </a:rPr>
                        <a:t>MTI Consolidated</a:t>
                      </a:r>
                      <a:endParaRPr lang="en-US" sz="1200" b="0" i="0" u="none" strike="noStrike">
                        <a:solidFill>
                          <a:srgbClr val="000000"/>
                        </a:solidFill>
                        <a:effectLst/>
                        <a:latin typeface="Arial" panose="020B0604020202020204" pitchFamily="34" charset="0"/>
                      </a:endParaRPr>
                    </a:p>
                  </a:txBody>
                  <a:tcPr marL="7368" marR="7368" marT="7368" marB="0">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noFill/>
                  </a:tcPr>
                </a:tc>
                <a:tc gridSpan="2">
                  <a:txBody>
                    <a:bodyPr/>
                    <a:lstStyle/>
                    <a:p>
                      <a:pPr algn="r" fontAlgn="b"/>
                      <a:r>
                        <a:rPr lang="en-US" sz="1200" u="sng" strike="noStrike">
                          <a:effectLst/>
                        </a:rPr>
                        <a:t>3%</a:t>
                      </a:r>
                      <a:endParaRPr lang="en-US" sz="1200" b="0" i="0" u="sng" strike="noStrike">
                        <a:effectLst/>
                        <a:latin typeface="Arial" panose="020B0604020202020204" pitchFamily="34" charset="0"/>
                      </a:endParaRPr>
                    </a:p>
                  </a:txBody>
                  <a:tcPr marL="7368" marR="7368" marT="7368" marB="0" anchor="b">
                    <a:noFill/>
                  </a:tcPr>
                </a:tc>
                <a:tc hMerge="1">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tc>
                <a:tc>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noFill/>
                  </a:tcPr>
                </a:tc>
                <a:tc gridSpan="2">
                  <a:txBody>
                    <a:bodyPr/>
                    <a:lstStyle/>
                    <a:p>
                      <a:pPr algn="r" fontAlgn="b"/>
                      <a:r>
                        <a:rPr lang="en-US" sz="1200" u="sng" strike="noStrike">
                          <a:effectLst/>
                        </a:rPr>
                        <a:t>(3)%</a:t>
                      </a:r>
                      <a:endParaRPr lang="en-US" sz="1200" b="0" i="0" u="sng" strike="noStrike">
                        <a:solidFill>
                          <a:srgbClr val="000000"/>
                        </a:solidFill>
                        <a:effectLst/>
                        <a:latin typeface="Arial" panose="020B0604020202020204" pitchFamily="34" charset="0"/>
                      </a:endParaRPr>
                    </a:p>
                  </a:txBody>
                  <a:tcPr marL="7368" marR="7368" marT="7368" marB="0" anchor="b">
                    <a:noFill/>
                  </a:tcPr>
                </a:tc>
                <a:tc hMerge="1">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tc>
                <a:tc gridSpan="2">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noFill/>
                  </a:tcPr>
                </a:tc>
                <a:tc hMerge="1">
                  <a:txBody>
                    <a:bodyPr/>
                    <a:lstStyle/>
                    <a:p>
                      <a:pPr algn="r" fontAlgn="b"/>
                      <a:r>
                        <a:rPr lang="en-US" sz="1200" u="sng" strike="noStrike">
                          <a:effectLst/>
                        </a:rPr>
                        <a:t>6%</a:t>
                      </a:r>
                      <a:endParaRPr lang="en-US" sz="1200" b="0" i="0" u="sng" strike="noStrike">
                        <a:effectLst/>
                        <a:latin typeface="Arial" panose="020B0604020202020204" pitchFamily="34" charset="0"/>
                      </a:endParaRPr>
                    </a:p>
                  </a:txBody>
                  <a:tcPr marL="7368" marR="7368" marT="7368" marB="0" anchor="b">
                    <a:noFill/>
                  </a:tcPr>
                </a:tc>
                <a:tc>
                  <a:txBody>
                    <a:bodyPr/>
                    <a:lstStyle/>
                    <a:p>
                      <a:pPr algn="r" fontAlgn="b"/>
                      <a:r>
                        <a:rPr lang="en-US" sz="1200" u="sng" strike="noStrike">
                          <a:effectLst/>
                        </a:rPr>
                        <a:t>6%</a:t>
                      </a:r>
                      <a:endParaRPr lang="en-US" sz="1200" b="0" i="0" u="sng" strike="noStrike">
                        <a:effectLst/>
                        <a:latin typeface="Arial" panose="020B0604020202020204" pitchFamily="34" charset="0"/>
                      </a:endParaRPr>
                    </a:p>
                  </a:txBody>
                  <a:tcPr marL="7368" marR="7368" marT="7368" marB="0" anchor="b">
                    <a:noFill/>
                  </a:tcPr>
                </a:tc>
                <a:tc>
                  <a:txBody>
                    <a:bodyPr/>
                    <a:lstStyle/>
                    <a:p>
                      <a:pPr algn="r"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7368" marR="7368" marT="7368" marB="0" anchor="b">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7368" marR="7368" marT="7368" marB="0" anchor="b">
                    <a:noFill/>
                  </a:tcPr>
                </a:tc>
                <a:tc>
                  <a:txBody>
                    <a:bodyPr/>
                    <a:lstStyle/>
                    <a:p>
                      <a:pPr algn="r" fontAlgn="b"/>
                      <a:r>
                        <a:rPr lang="en-US" sz="1200" u="none" strike="noStrike">
                          <a:effectLst/>
                        </a:rPr>
                        <a:t> </a:t>
                      </a:r>
                      <a:endParaRPr lang="en-US" sz="1200" b="0" i="0" u="none" strike="noStrike">
                        <a:effectLst/>
                        <a:latin typeface="Arial" panose="020B0604020202020204" pitchFamily="34" charset="0"/>
                      </a:endParaRPr>
                    </a:p>
                  </a:txBody>
                  <a:tcPr marL="7368" marR="7368" marT="7368" marB="0" anchor="b">
                    <a:noFill/>
                  </a:tcPr>
                </a:tc>
                <a:tc gridSpan="3">
                  <a:txBody>
                    <a:bodyPr/>
                    <a:lstStyle/>
                    <a:p>
                      <a:pPr algn="r" fontAlgn="b"/>
                      <a:r>
                        <a:rPr lang="en-US" sz="1200" u="sng" strike="noStrike">
                          <a:effectLst/>
                        </a:rPr>
                        <a:t>2%</a:t>
                      </a:r>
                      <a:endParaRPr lang="en-US" sz="1200" b="0" i="0" u="none" strike="noStrike">
                        <a:effectLst/>
                        <a:latin typeface="Arial" panose="020B0604020202020204" pitchFamily="34" charset="0"/>
                      </a:endParaRPr>
                    </a:p>
                  </a:txBody>
                  <a:tcPr marL="7368" marR="7368" marT="7368" marB="0" anchor="b">
                    <a:noFill/>
                  </a:tcPr>
                </a:tc>
                <a:tc hMerge="1">
                  <a:txBody>
                    <a:bodyPr/>
                    <a:lstStyle/>
                    <a:p>
                      <a:pPr algn="r" fontAlgn="b"/>
                      <a:r>
                        <a:rPr lang="en-US" sz="1200" u="sng" strike="noStrike">
                          <a:effectLst/>
                        </a:rPr>
                        <a:t>2%</a:t>
                      </a:r>
                      <a:endParaRPr lang="en-US" sz="1200" b="0" i="0" u="sng" strike="noStrike">
                        <a:effectLst/>
                        <a:latin typeface="Arial" panose="020B0604020202020204" pitchFamily="34" charset="0"/>
                      </a:endParaRPr>
                    </a:p>
                  </a:txBody>
                  <a:tcPr marL="7368" marR="7368" marT="7368" marB="0" anchor="b"/>
                </a:tc>
                <a:tc hMerge="1">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tc>
                <a:tc gridSpan="2">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noFill/>
                  </a:tcPr>
                </a:tc>
                <a:tc hMerge="1">
                  <a:txBody>
                    <a:bodyPr/>
                    <a:lstStyle/>
                    <a:p>
                      <a:pPr algn="r" fontAlgn="b"/>
                      <a:r>
                        <a:rPr lang="en-US" sz="1200" u="sng" strike="noStrike">
                          <a:effectLst/>
                        </a:rPr>
                        <a:t>(1)%</a:t>
                      </a:r>
                      <a:endParaRPr lang="en-US" sz="1200" b="0" i="0" u="sng" strike="noStrike">
                        <a:solidFill>
                          <a:srgbClr val="000000"/>
                        </a:solidFill>
                        <a:effectLst/>
                        <a:latin typeface="Arial" panose="020B0604020202020204" pitchFamily="34" charset="0"/>
                      </a:endParaRPr>
                    </a:p>
                  </a:txBody>
                  <a:tcPr marL="7368" marR="7368" marT="7368" marB="0" anchor="b">
                    <a:noFill/>
                  </a:tcPr>
                </a:tc>
                <a:tc gridSpan="2">
                  <a:txBody>
                    <a:bodyPr/>
                    <a:lstStyle/>
                    <a:p>
                      <a:pPr algn="r"/>
                      <a:r>
                        <a:rPr lang="en-US" sz="1200" u="sng" strike="noStrike">
                          <a:effectLst/>
                        </a:rPr>
                        <a:t>(1)%</a:t>
                      </a:r>
                      <a:endParaRPr lang="en-US"/>
                    </a:p>
                  </a:txBody>
                  <a:tcPr marL="7368" marR="7368" marT="7368" marB="0" anchor="b">
                    <a:noFill/>
                  </a:tcPr>
                </a:tc>
                <a:tc hMerge="1">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tc>
                <a:tc>
                  <a:txBody>
                    <a:bodyPr/>
                    <a:lstStyle/>
                    <a:p>
                      <a:pPr algn="r" fontAlgn="b"/>
                      <a:endParaRPr lang="en-US" sz="1200" b="0" i="0" u="sng" strike="noStrike">
                        <a:solidFill>
                          <a:srgbClr val="000000"/>
                        </a:solidFill>
                        <a:effectLst/>
                        <a:latin typeface="Arial" panose="020B0604020202020204" pitchFamily="34" charset="0"/>
                      </a:endParaRPr>
                    </a:p>
                  </a:txBody>
                  <a:tcPr marL="7368" marR="7368" marT="7368" marB="0" anchor="b">
                    <a:noFill/>
                  </a:tcPr>
                </a:tc>
                <a:tc>
                  <a:txBody>
                    <a:bodyPr/>
                    <a:lstStyle/>
                    <a:p>
                      <a:pPr algn="r" fontAlgn="b"/>
                      <a:r>
                        <a:rPr lang="en-US" sz="1200" u="sng" strike="noStrike">
                          <a:effectLst/>
                        </a:rPr>
                        <a:t>3%</a:t>
                      </a:r>
                      <a:endParaRPr lang="en-US" sz="1200" b="0" i="0" u="sng" strike="noStrike">
                        <a:effectLst/>
                        <a:latin typeface="Arial" panose="020B0604020202020204" pitchFamily="34" charset="0"/>
                      </a:endParaRPr>
                    </a:p>
                  </a:txBody>
                  <a:tcPr marL="7368" marR="7368" marT="7368" marB="0" anchor="b">
                    <a:noFill/>
                  </a:tcPr>
                </a:tc>
                <a:tc>
                  <a:txBody>
                    <a:bodyPr/>
                    <a:lstStyle/>
                    <a:p>
                      <a:pPr algn="l" fontAlgn="b"/>
                      <a:r>
                        <a:rPr lang="en-US" sz="1200" u="none" strike="noStrike" dirty="0">
                          <a:effectLst/>
                        </a:rPr>
                        <a:t> </a:t>
                      </a:r>
                      <a:endParaRPr lang="en-US" sz="1200" b="0" i="0" u="none" strike="noStrike" dirty="0">
                        <a:effectLst/>
                        <a:latin typeface="Arial" panose="020B0604020202020204" pitchFamily="34" charset="0"/>
                      </a:endParaRPr>
                    </a:p>
                  </a:txBody>
                  <a:tcPr marL="7368" marR="7368" marT="7368" marB="0" anchor="b">
                    <a:noFill/>
                  </a:tcPr>
                </a:tc>
                <a:extLst>
                  <a:ext uri="{0D108BD9-81ED-4DB2-BD59-A6C34878D82A}">
                    <a16:rowId xmlns:a16="http://schemas.microsoft.com/office/drawing/2014/main" val="3223850494"/>
                  </a:ext>
                </a:extLst>
              </a:tr>
            </a:tbl>
          </a:graphicData>
        </a:graphic>
      </p:graphicFrame>
    </p:spTree>
    <p:extLst>
      <p:ext uri="{BB962C8B-B14F-4D97-AF65-F5344CB8AC3E}">
        <p14:creationId xmlns:p14="http://schemas.microsoft.com/office/powerpoint/2010/main" val="1932512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8ABE3E9-4CEA-959D-2B30-7F4FBA40C8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think-cell data - do not delete" hidden="1">
                        <a:extLst>
                          <a:ext uri="{FF2B5EF4-FFF2-40B4-BE49-F238E27FC236}">
                            <a16:creationId xmlns:a16="http://schemas.microsoft.com/office/drawing/2014/main" id="{C8ABE3E9-4CEA-959D-2B30-7F4FBA40C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A59A270F-A2C0-3350-9BD2-CF5CE48E6220}"/>
              </a:ext>
            </a:extLst>
          </p:cNvPr>
          <p:cNvSpPr>
            <a:spLocks noGrp="1"/>
          </p:cNvSpPr>
          <p:nvPr>
            <p:ph type="title"/>
          </p:nvPr>
        </p:nvSpPr>
        <p:spPr/>
        <p:txBody>
          <a:bodyPr vert="horz">
            <a:normAutofit fontScale="90000"/>
          </a:bodyPr>
          <a:lstStyle/>
          <a:p>
            <a:r>
              <a:rPr lang="en-US" altLang="en-US" sz="1600" dirty="0"/>
              <a:t>Reconciliation </a:t>
            </a:r>
            <a:br>
              <a:rPr lang="en-US" altLang="en-US" sz="2800" dirty="0"/>
            </a:br>
            <a:r>
              <a:rPr lang="en-US" sz="3100" dirty="0"/>
              <a:t>Free Cash Flow </a:t>
            </a:r>
            <a:endParaRPr lang="en-US" dirty="0"/>
          </a:p>
        </p:txBody>
      </p:sp>
      <p:graphicFrame>
        <p:nvGraphicFramePr>
          <p:cNvPr id="4" name="Table 3">
            <a:extLst>
              <a:ext uri="{FF2B5EF4-FFF2-40B4-BE49-F238E27FC236}">
                <a16:creationId xmlns:a16="http://schemas.microsoft.com/office/drawing/2014/main" id="{816C22CA-0DA9-9A57-B0F9-6C6AAADB3877}"/>
              </a:ext>
            </a:extLst>
          </p:cNvPr>
          <p:cNvGraphicFramePr>
            <a:graphicFrameLocks noGrp="1"/>
          </p:cNvGraphicFramePr>
          <p:nvPr/>
        </p:nvGraphicFramePr>
        <p:xfrm>
          <a:off x="609600" y="2163763"/>
          <a:ext cx="10972800" cy="2316867"/>
        </p:xfrm>
        <a:graphic>
          <a:graphicData uri="http://schemas.openxmlformats.org/drawingml/2006/table">
            <a:tbl>
              <a:tblPr>
                <a:tableStyleId>{5C22544A-7EE6-4342-B048-85BDC9FD1C3A}</a:tableStyleId>
              </a:tblPr>
              <a:tblGrid>
                <a:gridCol w="2775267">
                  <a:extLst>
                    <a:ext uri="{9D8B030D-6E8A-4147-A177-3AD203B41FA5}">
                      <a16:colId xmlns:a16="http://schemas.microsoft.com/office/drawing/2014/main" val="1105048968"/>
                    </a:ext>
                  </a:extLst>
                </a:gridCol>
                <a:gridCol w="291519">
                  <a:extLst>
                    <a:ext uri="{9D8B030D-6E8A-4147-A177-3AD203B41FA5}">
                      <a16:colId xmlns:a16="http://schemas.microsoft.com/office/drawing/2014/main" val="943267897"/>
                    </a:ext>
                  </a:extLst>
                </a:gridCol>
                <a:gridCol w="752121">
                  <a:extLst>
                    <a:ext uri="{9D8B030D-6E8A-4147-A177-3AD203B41FA5}">
                      <a16:colId xmlns:a16="http://schemas.microsoft.com/office/drawing/2014/main" val="3181627664"/>
                    </a:ext>
                  </a:extLst>
                </a:gridCol>
                <a:gridCol w="291519">
                  <a:extLst>
                    <a:ext uri="{9D8B030D-6E8A-4147-A177-3AD203B41FA5}">
                      <a16:colId xmlns:a16="http://schemas.microsoft.com/office/drawing/2014/main" val="4291062475"/>
                    </a:ext>
                  </a:extLst>
                </a:gridCol>
                <a:gridCol w="1346821">
                  <a:extLst>
                    <a:ext uri="{9D8B030D-6E8A-4147-A177-3AD203B41FA5}">
                      <a16:colId xmlns:a16="http://schemas.microsoft.com/office/drawing/2014/main" val="1049125074"/>
                    </a:ext>
                  </a:extLst>
                </a:gridCol>
                <a:gridCol w="291519">
                  <a:extLst>
                    <a:ext uri="{9D8B030D-6E8A-4147-A177-3AD203B41FA5}">
                      <a16:colId xmlns:a16="http://schemas.microsoft.com/office/drawing/2014/main" val="3564006996"/>
                    </a:ext>
                  </a:extLst>
                </a:gridCol>
                <a:gridCol w="778358">
                  <a:extLst>
                    <a:ext uri="{9D8B030D-6E8A-4147-A177-3AD203B41FA5}">
                      <a16:colId xmlns:a16="http://schemas.microsoft.com/office/drawing/2014/main" val="2740449263"/>
                    </a:ext>
                  </a:extLst>
                </a:gridCol>
                <a:gridCol w="746291">
                  <a:extLst>
                    <a:ext uri="{9D8B030D-6E8A-4147-A177-3AD203B41FA5}">
                      <a16:colId xmlns:a16="http://schemas.microsoft.com/office/drawing/2014/main" val="3409067794"/>
                    </a:ext>
                  </a:extLst>
                </a:gridCol>
                <a:gridCol w="711308">
                  <a:extLst>
                    <a:ext uri="{9D8B030D-6E8A-4147-A177-3AD203B41FA5}">
                      <a16:colId xmlns:a16="http://schemas.microsoft.com/office/drawing/2014/main" val="3036535106"/>
                    </a:ext>
                  </a:extLst>
                </a:gridCol>
                <a:gridCol w="256537">
                  <a:extLst>
                    <a:ext uri="{9D8B030D-6E8A-4147-A177-3AD203B41FA5}">
                      <a16:colId xmlns:a16="http://schemas.microsoft.com/office/drawing/2014/main" val="2270240886"/>
                    </a:ext>
                  </a:extLst>
                </a:gridCol>
                <a:gridCol w="725884">
                  <a:extLst>
                    <a:ext uri="{9D8B030D-6E8A-4147-A177-3AD203B41FA5}">
                      <a16:colId xmlns:a16="http://schemas.microsoft.com/office/drawing/2014/main" val="3827942204"/>
                    </a:ext>
                  </a:extLst>
                </a:gridCol>
                <a:gridCol w="373145">
                  <a:extLst>
                    <a:ext uri="{9D8B030D-6E8A-4147-A177-3AD203B41FA5}">
                      <a16:colId xmlns:a16="http://schemas.microsoft.com/office/drawing/2014/main" val="1557612372"/>
                    </a:ext>
                  </a:extLst>
                </a:gridCol>
                <a:gridCol w="1189401">
                  <a:extLst>
                    <a:ext uri="{9D8B030D-6E8A-4147-A177-3AD203B41FA5}">
                      <a16:colId xmlns:a16="http://schemas.microsoft.com/office/drawing/2014/main" val="1585125879"/>
                    </a:ext>
                  </a:extLst>
                </a:gridCol>
                <a:gridCol w="443110">
                  <a:extLst>
                    <a:ext uri="{9D8B030D-6E8A-4147-A177-3AD203B41FA5}">
                      <a16:colId xmlns:a16="http://schemas.microsoft.com/office/drawing/2014/main" val="4109469065"/>
                    </a:ext>
                  </a:extLst>
                </a:gridCol>
              </a:tblGrid>
              <a:tr h="262089">
                <a:tc>
                  <a:txBody>
                    <a:bodyPr/>
                    <a:lstStyle/>
                    <a:p>
                      <a:pPr algn="l" fontAlgn="t"/>
                      <a:endParaRPr lang="en-US" sz="1200" b="1" i="0" u="none" strike="noStrike" dirty="0">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5">
                  <a:txBody>
                    <a:bodyPr/>
                    <a:lstStyle/>
                    <a:p>
                      <a:pPr algn="ctr" fontAlgn="b"/>
                      <a:r>
                        <a:rPr lang="en-US" sz="1200" b="1" u="none" strike="noStrike" dirty="0">
                          <a:solidFill>
                            <a:schemeClr val="bg1"/>
                          </a:solidFill>
                          <a:effectLst/>
                        </a:rPr>
                        <a:t>Quarter Ended</a:t>
                      </a:r>
                      <a:endParaRPr lang="en-US" sz="1200" b="1" i="0" u="none" strike="noStrike" dirty="0">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gridSpan="5">
                  <a:txBody>
                    <a:bodyPr/>
                    <a:lstStyle/>
                    <a:p>
                      <a:pPr algn="ctr" fontAlgn="b"/>
                      <a:r>
                        <a:rPr lang="en-US" sz="1200" b="1" u="none" strike="noStrike" dirty="0">
                          <a:solidFill>
                            <a:schemeClr val="bg1"/>
                          </a:solidFill>
                          <a:effectLst/>
                        </a:rPr>
                        <a:t>Twelve Months Ended</a:t>
                      </a:r>
                      <a:endParaRPr lang="en-US" sz="1200" b="1" i="0" u="none" strike="noStrike" dirty="0">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055"/>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89194651"/>
                  </a:ext>
                </a:extLst>
              </a:tr>
              <a:tr h="262089">
                <a:tc>
                  <a:txBody>
                    <a:bodyPr/>
                    <a:lstStyle/>
                    <a:p>
                      <a:pPr algn="l" fontAlgn="t"/>
                      <a:r>
                        <a:rPr lang="en-US" sz="1200" b="1" u="none" strike="noStrike" dirty="0">
                          <a:solidFill>
                            <a:schemeClr val="bg1"/>
                          </a:solidFill>
                          <a:effectLst/>
                        </a:rPr>
                        <a:t>millions of dollars</a:t>
                      </a:r>
                      <a:endParaRPr lang="en-US" sz="1200" b="1" i="0" u="none" strike="noStrike" dirty="0">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Dec. 31,</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Oct. 1,</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Dec. 31,</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Dec. 31,</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dirty="0">
                          <a:solidFill>
                            <a:schemeClr val="bg1"/>
                          </a:solidFill>
                          <a:effectLst/>
                        </a:rPr>
                        <a:t>Dec. 31,</a:t>
                      </a:r>
                      <a:endParaRPr lang="en-US" sz="1200" b="1" i="0" u="none" strike="noStrike" dirty="0">
                        <a:solidFill>
                          <a:schemeClr val="bg1"/>
                        </a:solidFill>
                        <a:effectLst/>
                        <a:latin typeface="Arial" panose="020B0604020202020204" pitchFamily="34" charset="0"/>
                      </a:endParaRPr>
                    </a:p>
                  </a:txBody>
                  <a:tcPr marL="8736" marR="8736" marT="8736" marB="0" anchor="b">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3055"/>
                    </a:solidFill>
                  </a:tcPr>
                </a:tc>
                <a:extLst>
                  <a:ext uri="{0D108BD9-81ED-4DB2-BD59-A6C34878D82A}">
                    <a16:rowId xmlns:a16="http://schemas.microsoft.com/office/drawing/2014/main" val="4257974173"/>
                  </a:ext>
                </a:extLst>
              </a:tr>
              <a:tr h="262089">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3</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3</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2</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3</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b"/>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ctr" fontAlgn="b"/>
                      <a:r>
                        <a:rPr lang="en-US" sz="1200" b="1" u="none" strike="noStrike">
                          <a:solidFill>
                            <a:schemeClr val="bg1"/>
                          </a:solidFill>
                          <a:effectLst/>
                        </a:rPr>
                        <a:t>2022</a:t>
                      </a:r>
                      <a:endParaRPr lang="en-US" sz="1200" b="1" i="0" u="none" strike="noStrike">
                        <a:solidFill>
                          <a:schemeClr val="bg1"/>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tc>
                  <a:txBody>
                    <a:bodyPr/>
                    <a:lstStyle/>
                    <a:p>
                      <a:pPr algn="l" fontAlgn="t"/>
                      <a:endParaRPr lang="en-US" sz="1200" b="1" i="0" u="none" strike="noStrike" dirty="0">
                        <a:solidFill>
                          <a:schemeClr val="bg1"/>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3055"/>
                    </a:solidFill>
                  </a:tcPr>
                </a:tc>
                <a:extLst>
                  <a:ext uri="{0D108BD9-81ED-4DB2-BD59-A6C34878D82A}">
                    <a16:rowId xmlns:a16="http://schemas.microsoft.com/office/drawing/2014/main" val="2649269219"/>
                  </a:ext>
                </a:extLst>
              </a:tr>
              <a:tr h="262089">
                <a:tc>
                  <a:txBody>
                    <a:bodyPr/>
                    <a:lstStyle/>
                    <a:p>
                      <a:pPr algn="l" fontAlgn="t"/>
                      <a:r>
                        <a:rPr lang="en-US" sz="1200" u="none" strike="noStrike">
                          <a:effectLst/>
                        </a:rPr>
                        <a:t>Cash flow from operations</a:t>
                      </a:r>
                      <a:endParaRPr lang="en-US" sz="1200" b="0" i="0" u="none" strike="noStrike">
                        <a:solidFill>
                          <a:srgbClr val="000000"/>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95.3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59.1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42.3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none"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233.6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105.9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none"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50092660"/>
                  </a:ext>
                </a:extLst>
              </a:tr>
              <a:tr h="262089">
                <a:tc>
                  <a:txBody>
                    <a:bodyPr/>
                    <a:lstStyle/>
                    <a:p>
                      <a:pPr algn="l" fontAlgn="t"/>
                      <a:r>
                        <a:rPr lang="en-US" sz="1200" u="none" strike="noStrike" dirty="0">
                          <a:effectLst/>
                        </a:rPr>
                        <a:t>Capital expenditures</a:t>
                      </a:r>
                      <a:endParaRPr lang="en-US" sz="1200" b="0" i="0" u="none" strike="noStrike" dirty="0">
                        <a:solidFill>
                          <a:srgbClr val="000000"/>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none"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sng" strike="noStrike">
                          <a:effectLst/>
                        </a:rPr>
                        <a:t>22.5 </a:t>
                      </a:r>
                      <a:endParaRPr lang="en-US" sz="1200" b="0" i="0" u="sng"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sng"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sng" strike="noStrike">
                          <a:effectLst/>
                        </a:rPr>
                        <a:t>25.1 </a:t>
                      </a:r>
                      <a:endParaRPr lang="en-US" sz="1200" b="0" i="0" u="sng"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sng"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sng" strike="noStrike">
                          <a:effectLst/>
                        </a:rPr>
                        <a:t>22.9 </a:t>
                      </a:r>
                      <a:endParaRPr lang="en-US" sz="1200" b="0" i="0" u="sng"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none"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sng"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sng"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sng" strike="noStrike">
                          <a:effectLst/>
                        </a:rPr>
                        <a:t>93.5 </a:t>
                      </a:r>
                      <a:endParaRPr lang="en-US" sz="1200" b="0" i="0" u="sng"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sng"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sng" strike="noStrike">
                          <a:effectLst/>
                        </a:rPr>
                        <a:t>82.3 </a:t>
                      </a:r>
                      <a:endParaRPr lang="en-US" sz="1200" b="0" i="0" u="sng"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none"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8723292"/>
                  </a:ext>
                </a:extLst>
              </a:tr>
              <a:tr h="314507">
                <a:tc>
                  <a:txBody>
                    <a:bodyPr/>
                    <a:lstStyle/>
                    <a:p>
                      <a:pPr algn="l" fontAlgn="t"/>
                      <a:r>
                        <a:rPr lang="en-US" sz="1200" u="none" strike="noStrike">
                          <a:effectLst/>
                        </a:rPr>
                        <a:t>Free cash flow   </a:t>
                      </a:r>
                      <a:endParaRPr lang="en-US" sz="1200" b="0" i="0" u="none" strike="noStrike">
                        <a:solidFill>
                          <a:srgbClr val="000000"/>
                        </a:solidFill>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72.8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34.0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19.4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none"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140.1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23.6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t"/>
                      <a:endParaRPr lang="en-US" sz="1200" b="0" i="0" u="none" strike="noStrike">
                        <a:effectLst/>
                        <a:latin typeface="Arial" panose="020B0604020202020204" pitchFamily="34" charset="0"/>
                      </a:endParaRPr>
                    </a:p>
                  </a:txBody>
                  <a:tcPr marL="8736" marR="8736" marT="8736"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8625924"/>
                  </a:ext>
                </a:extLst>
              </a:tr>
              <a:tr h="235880">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8597885"/>
                  </a:ext>
                </a:extLst>
              </a:tr>
              <a:tr h="456035">
                <a:tc>
                  <a:txBody>
                    <a:bodyPr/>
                    <a:lstStyle/>
                    <a:p>
                      <a:pPr algn="l" fontAlgn="b"/>
                      <a:r>
                        <a:rPr lang="en-US" sz="1200" u="none" strike="noStrike">
                          <a:effectLst/>
                        </a:rPr>
                        <a:t>Depreciation, depletion and amortization expense</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23.5</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24.3</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23.0</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a:effectLst/>
                        </a:rPr>
                        <a:t> </a:t>
                      </a:r>
                      <a:endParaRPr lang="en-US" sz="1200" b="0" i="0" u="none" strike="noStrike">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95.0</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fontAlgn="b"/>
                      <a:r>
                        <a:rPr lang="en-US" sz="1200" u="none" strike="noStrike">
                          <a:effectLst/>
                        </a:rPr>
                        <a:t>94.2</a:t>
                      </a:r>
                      <a:endParaRPr lang="en-US" sz="1200" b="0" i="0" u="none" strike="noStrike">
                        <a:solidFill>
                          <a:srgbClr val="000000"/>
                        </a:solidFill>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200" u="none" strike="noStrike" dirty="0">
                          <a:effectLst/>
                        </a:rPr>
                        <a:t> </a:t>
                      </a:r>
                      <a:endParaRPr lang="en-US" sz="1200" b="0" i="0" u="none" strike="noStrike" dirty="0">
                        <a:effectLst/>
                        <a:latin typeface="Arial" panose="020B0604020202020204" pitchFamily="34" charset="0"/>
                      </a:endParaRPr>
                    </a:p>
                  </a:txBody>
                  <a:tcPr marL="8736" marR="8736" marT="8736"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9166125"/>
                  </a:ext>
                </a:extLst>
              </a:tr>
            </a:tbl>
          </a:graphicData>
        </a:graphic>
      </p:graphicFrame>
    </p:spTree>
    <p:extLst>
      <p:ext uri="{BB962C8B-B14F-4D97-AF65-F5344CB8AC3E}">
        <p14:creationId xmlns:p14="http://schemas.microsoft.com/office/powerpoint/2010/main" val="12556284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3465A2-8771-A604-0B54-B4AFE12EE1D7}"/>
              </a:ext>
            </a:extLst>
          </p:cNvPr>
          <p:cNvGraphicFramePr>
            <a:graphicFrameLocks noChangeAspect="1"/>
          </p:cNvGraphicFramePr>
          <p:nvPr>
            <p:custDataLst>
              <p:tags r:id="rId1"/>
            </p:custDataLst>
            <p:extLst>
              <p:ext uri="{D42A27DB-BD31-4B8C-83A1-F6EECF244321}">
                <p14:modId xmlns:p14="http://schemas.microsoft.com/office/powerpoint/2010/main" val="3643817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103465A2-8771-A604-0B54-B4AFE12E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59ED466A-98C8-FEFB-3D01-4A8A036193FD}"/>
              </a:ext>
            </a:extLst>
          </p:cNvPr>
          <p:cNvSpPr>
            <a:spLocks noGrp="1"/>
          </p:cNvSpPr>
          <p:nvPr>
            <p:ph type="title"/>
          </p:nvPr>
        </p:nvSpPr>
        <p:spPr/>
        <p:txBody>
          <a:bodyPr vert="horz">
            <a:noAutofit/>
          </a:bodyPr>
          <a:lstStyle/>
          <a:p>
            <a:r>
              <a:rPr lang="en-US" b="0"/>
              <a:t>Forward Looking Statements and Non-GAAP Measures</a:t>
            </a:r>
          </a:p>
        </p:txBody>
      </p:sp>
      <p:sp>
        <p:nvSpPr>
          <p:cNvPr id="4" name="TextBox 3">
            <a:extLst>
              <a:ext uri="{FF2B5EF4-FFF2-40B4-BE49-F238E27FC236}">
                <a16:creationId xmlns:a16="http://schemas.microsoft.com/office/drawing/2014/main" id="{AE570D3C-DEB1-0BA2-6E6E-CE5C7BB07886}"/>
              </a:ext>
            </a:extLst>
          </p:cNvPr>
          <p:cNvSpPr txBox="1">
            <a:spLocks noChangeArrowheads="1"/>
          </p:cNvSpPr>
          <p:nvPr/>
        </p:nvSpPr>
        <p:spPr bwMode="auto">
          <a:xfrm>
            <a:off x="342900" y="1534857"/>
            <a:ext cx="11412325" cy="3788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oAutofit/>
          </a:bodyPr>
          <a:lstStyle>
            <a:lvl1pPr defTabSz="820738" eaLnBrk="0" hangingPunct="0">
              <a:defRPr sz="1600">
                <a:solidFill>
                  <a:schemeClr val="tx1"/>
                </a:solidFill>
                <a:latin typeface="Arial" charset="0"/>
                <a:ea typeface="MS PGothic" charset="0"/>
                <a:cs typeface="MS PGothic" charset="0"/>
              </a:defRPr>
            </a:lvl1pPr>
            <a:lvl2pPr marL="742950" indent="-285750" defTabSz="820738" eaLnBrk="0" hangingPunct="0">
              <a:defRPr sz="1600">
                <a:solidFill>
                  <a:schemeClr val="tx1"/>
                </a:solidFill>
                <a:latin typeface="Arial" charset="0"/>
                <a:ea typeface="MS PGothic" charset="0"/>
                <a:cs typeface="MS PGothic" charset="0"/>
              </a:defRPr>
            </a:lvl2pPr>
            <a:lvl3pPr marL="1143000" indent="-228600" defTabSz="820738" eaLnBrk="0" hangingPunct="0">
              <a:defRPr sz="1600">
                <a:solidFill>
                  <a:schemeClr val="tx1"/>
                </a:solidFill>
                <a:latin typeface="Arial" charset="0"/>
                <a:ea typeface="MS PGothic" charset="0"/>
                <a:cs typeface="MS PGothic" charset="0"/>
              </a:defRPr>
            </a:lvl3pPr>
            <a:lvl4pPr marL="1600200" indent="-228600" defTabSz="820738" eaLnBrk="0" hangingPunct="0">
              <a:defRPr sz="1600">
                <a:solidFill>
                  <a:schemeClr val="tx1"/>
                </a:solidFill>
                <a:latin typeface="Arial" charset="0"/>
                <a:ea typeface="MS PGothic" charset="0"/>
                <a:cs typeface="MS PGothic" charset="0"/>
              </a:defRPr>
            </a:lvl4pPr>
            <a:lvl5pPr marL="2057400" indent="-228600" defTabSz="820738" eaLnBrk="0" hangingPunct="0">
              <a:defRPr sz="1600">
                <a:solidFill>
                  <a:schemeClr val="tx1"/>
                </a:solidFill>
                <a:latin typeface="Arial" charset="0"/>
                <a:ea typeface="MS PGothic" charset="0"/>
                <a:cs typeface="MS PGothic" charset="0"/>
              </a:defRPr>
            </a:lvl5pPr>
            <a:lvl6pPr marL="2514600" indent="-228600" defTabSz="820738" eaLnBrk="0" fontAlgn="base" hangingPunct="0">
              <a:spcBef>
                <a:spcPct val="0"/>
              </a:spcBef>
              <a:spcAft>
                <a:spcPct val="0"/>
              </a:spcAft>
              <a:defRPr sz="1600">
                <a:solidFill>
                  <a:schemeClr val="tx1"/>
                </a:solidFill>
                <a:latin typeface="Arial" charset="0"/>
                <a:ea typeface="MS PGothic" charset="0"/>
                <a:cs typeface="MS PGothic" charset="0"/>
              </a:defRPr>
            </a:lvl6pPr>
            <a:lvl7pPr marL="2971800" indent="-228600" defTabSz="820738" eaLnBrk="0" fontAlgn="base" hangingPunct="0">
              <a:spcBef>
                <a:spcPct val="0"/>
              </a:spcBef>
              <a:spcAft>
                <a:spcPct val="0"/>
              </a:spcAft>
              <a:defRPr sz="1600">
                <a:solidFill>
                  <a:schemeClr val="tx1"/>
                </a:solidFill>
                <a:latin typeface="Arial" charset="0"/>
                <a:ea typeface="MS PGothic" charset="0"/>
                <a:cs typeface="MS PGothic" charset="0"/>
              </a:defRPr>
            </a:lvl7pPr>
            <a:lvl8pPr marL="3429000" indent="-228600" defTabSz="820738" eaLnBrk="0" fontAlgn="base" hangingPunct="0">
              <a:spcBef>
                <a:spcPct val="0"/>
              </a:spcBef>
              <a:spcAft>
                <a:spcPct val="0"/>
              </a:spcAft>
              <a:defRPr sz="1600">
                <a:solidFill>
                  <a:schemeClr val="tx1"/>
                </a:solidFill>
                <a:latin typeface="Arial" charset="0"/>
                <a:ea typeface="MS PGothic" charset="0"/>
                <a:cs typeface="MS PGothic" charset="0"/>
              </a:defRPr>
            </a:lvl8pPr>
            <a:lvl9pPr marL="3886200" indent="-228600" defTabSz="820738" eaLnBrk="0" fontAlgn="base" hangingPunct="0">
              <a:spcBef>
                <a:spcPct val="0"/>
              </a:spcBef>
              <a:spcAft>
                <a:spcPct val="0"/>
              </a:spcAft>
              <a:defRPr sz="1600">
                <a:solidFill>
                  <a:schemeClr val="tx1"/>
                </a:solidFill>
                <a:latin typeface="Arial" charset="0"/>
                <a:ea typeface="MS PGothic" charset="0"/>
                <a:cs typeface="MS PGothic" charset="0"/>
              </a:defRPr>
            </a:lvl9pPr>
          </a:lstStyle>
          <a:p>
            <a:pPr marR="0" algn="just" eaLnBrk="1" fontAlgn="base" hangingPunct="1">
              <a:lnSpc>
                <a:spcPct val="120000"/>
              </a:lnSpc>
              <a:spcBef>
                <a:spcPct val="20000"/>
              </a:spcBef>
              <a:spcAft>
                <a:spcPct val="0"/>
              </a:spcAft>
              <a:buClr>
                <a:srgbClr val="000000"/>
              </a:buClr>
              <a:defRPr/>
            </a:pPr>
            <a:r>
              <a:rPr lang="en-US" sz="900">
                <a:latin typeface="Arial"/>
              </a:rPr>
              <a:t>This presentation may contain "forward‐looking statements" within the meaning of the Private Securities Litigation Reform Act of 1995. Forward-looking statements provide current expectations and forecasts of future events such as new products, revenues and financial performance, and are not limited to describing historical or current facts. They can be identified by the use of words such as “believes,” “expects,” “plans,” “intends,” “anticipates,” and other words and phrases of similar meaning. Forward-looking statements are necessarily based on assumptions, estimates and limited information available at the time they are made. A broad variety of risks and uncertainties, both known and unknown, as well as the inaccuracy of assumptions and estimates, can affect the realization of the expectations or forecasts in these statements. Actual future results may vary materially. Significant factors that could affect the expectations and forecasts include worldwide general economic, business, and industry conditions; the cyclicality of our customers’ businesses and their changing regional demands; our ability to compete in very competitive industries; consolidation in customer industries, principally paper, foundry and steel; our ability to renew or extend long term sales contracts for our satellite operations; our ability to generate cash to service our debt; our ability to comply with the covenants in the agreements governing our debt; our ability to effectively achieve and implement our growth initiatives or consummate the transactions described in the statements; our ability to successfully develop new products; our ability to defend our intellectual property; the increased risks of doing business abroad; the availability of raw materials and access to ore reserves at our mining operations, or increases in costs of raw materials, energy, or shipping; compliance with or changes to regulation in the areas of environmental, health and safety, and tax; risks and uncertainties related to the voluntary petitions for relief under Chapter 11 of the U.S. Bankruptcy Code filed by our subsidiaries </a:t>
            </a:r>
            <a:r>
              <a:rPr lang="en-US" sz="900" err="1">
                <a:latin typeface="Arial"/>
              </a:rPr>
              <a:t>Barretts</a:t>
            </a:r>
            <a:r>
              <a:rPr lang="en-US" sz="900">
                <a:latin typeface="Arial"/>
              </a:rPr>
              <a:t> Minerals Inc. and </a:t>
            </a:r>
            <a:r>
              <a:rPr lang="en-US" sz="900" err="1">
                <a:latin typeface="Arial"/>
              </a:rPr>
              <a:t>Barretts</a:t>
            </a:r>
            <a:r>
              <a:rPr lang="en-US" sz="900">
                <a:latin typeface="Arial"/>
              </a:rPr>
              <a:t> Ventures Texas LLC; claims for legal, environmental and tax matters or product stewardship issues; operating risks and capacity limitations affecting our production facilities; seasonality of some of our businesses; cybersecurity and other threats relating to our information technology systems; and other risk factors and cautionary statements in our 2023 Annual Report on Form 10‐K, Quarterly Reports on Form 10-Q, Current Reports on Form 8-K and other reports filed with the Securities and Exchange Commission. The Company undertakes no obligation to publicly update any forward‐looking statement, whether as a result of new information, future events, or otherwise.</a:t>
            </a:r>
          </a:p>
          <a:p>
            <a:pPr algn="just" eaLnBrk="1" fontAlgn="base" hangingPunct="1">
              <a:lnSpc>
                <a:spcPct val="120000"/>
              </a:lnSpc>
              <a:spcBef>
                <a:spcPct val="20000"/>
              </a:spcBef>
              <a:spcAft>
                <a:spcPct val="0"/>
              </a:spcAft>
              <a:buClr>
                <a:srgbClr val="000000"/>
              </a:buClr>
              <a:defRPr/>
            </a:pPr>
            <a:endParaRPr lang="en-US" sz="900">
              <a:solidFill>
                <a:prstClr val="black"/>
              </a:solidFill>
              <a:latin typeface="Arial"/>
              <a:ea typeface="Source Sans Pro" panose="020B0503030403020204" pitchFamily="34" charset="0"/>
              <a:cs typeface="Source Sans Pro"/>
            </a:endParaRPr>
          </a:p>
          <a:p>
            <a:pPr algn="just" eaLnBrk="1" fontAlgn="base" hangingPunct="1">
              <a:lnSpc>
                <a:spcPct val="120000"/>
              </a:lnSpc>
              <a:spcBef>
                <a:spcPct val="20000"/>
              </a:spcBef>
              <a:spcAft>
                <a:spcPct val="0"/>
              </a:spcAft>
              <a:buClr>
                <a:srgbClr val="000000"/>
              </a:buClr>
              <a:defRPr/>
            </a:pPr>
            <a:r>
              <a:rPr lang="en-US" sz="900">
                <a:latin typeface="Arial"/>
                <a:ea typeface="Source Sans Pro"/>
                <a:cs typeface="Source Sans Pro"/>
              </a:rPr>
              <a:t>Also, this presentation will include certain financial measures that were not prepared in accordance with generally accepted accounting principles. In particular operating income, operating margin, adjusted EBITDA, adjusted EBITDA margin, and EPS referenced in this presentation exclude special items, such as acquisition-related costs, restructuring, gains/(losses) on asset sales, litigation and impairment costs, and other significant non-recurring or unusual items and related tax effects for all periods presented. The company also provides figures for free cash flow, underlying sales and sales growth excluding sales from </a:t>
            </a:r>
            <a:r>
              <a:rPr lang="en-US" sz="900" err="1">
                <a:latin typeface="Arial"/>
                <a:ea typeface="Source Sans Pro"/>
                <a:cs typeface="Source Sans Pro"/>
              </a:rPr>
              <a:t>Barretts</a:t>
            </a:r>
            <a:r>
              <a:rPr lang="en-US" sz="900">
                <a:latin typeface="Arial"/>
                <a:ea typeface="Source Sans Pro"/>
                <a:cs typeface="Source Sans Pro"/>
              </a:rPr>
              <a:t> Minerals Inc. for the three months ended April 2, 2023. These are non-GAAP measures that the Company believes provide meaningful supplemental information regarding its performance as inclusion of such special items are not indicative of the ongoing operating results and thereby affect the comparability of results between periods. The company believes inclusion of these non-GAAP measures also provides consistency in its financial reporting and facilitates investors' understanding of historic operating trends. Reconciliations of these non-GAAP financial measures to the most directly comparable GAAP financial measures can be found in our Current Report on Form 8-K </a:t>
            </a:r>
            <a:r>
              <a:rPr lang="en-US" sz="900">
                <a:latin typeface="Arial"/>
              </a:rPr>
              <a:t>dated April 25, 2024, and in </a:t>
            </a:r>
            <a:r>
              <a:rPr lang="en-US" sz="900">
                <a:latin typeface="Arial"/>
                <a:ea typeface="Source Sans Pro"/>
                <a:cs typeface="Source Sans Pro"/>
              </a:rPr>
              <a:t>our other reports filed with the Securities and Exchange Commission, available on our website at www.mineralstech.com in the "Investor Information -- SEC Filings" section.  It is not possible, without unreasonable effort, for the company to identify and estimate the amount or significance of future non-recurring or unusual items. Accordingly, the company does not provide reconciliations of forward-looking non-GAAP financial measures to the most comparable GAAP financial measures on a forward-looking basis.</a:t>
            </a:r>
          </a:p>
        </p:txBody>
      </p:sp>
    </p:spTree>
    <p:extLst>
      <p:ext uri="{BB962C8B-B14F-4D97-AF65-F5344CB8AC3E}">
        <p14:creationId xmlns:p14="http://schemas.microsoft.com/office/powerpoint/2010/main" val="484167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9CC5009-8983-F211-564F-5914F64A1CBB}"/>
              </a:ext>
            </a:extLst>
          </p:cNvPr>
          <p:cNvGraphicFramePr>
            <a:graphicFrameLocks noChangeAspect="1"/>
          </p:cNvGraphicFramePr>
          <p:nvPr>
            <p:custDataLst>
              <p:tags r:id="rId1"/>
            </p:custDataLst>
            <p:extLst>
              <p:ext uri="{D42A27DB-BD31-4B8C-83A1-F6EECF244321}">
                <p14:modId xmlns:p14="http://schemas.microsoft.com/office/powerpoint/2010/main" val="1993690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think-cell data - do not delete" hidden="1">
                        <a:extLst>
                          <a:ext uri="{FF2B5EF4-FFF2-40B4-BE49-F238E27FC236}">
                            <a16:creationId xmlns:a16="http://schemas.microsoft.com/office/drawing/2014/main" id="{39CC5009-8983-F211-564F-5914F64A1C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10D2FBA0-0708-1E10-C5E8-C53F6D3886C5}"/>
              </a:ext>
            </a:extLst>
          </p:cNvPr>
          <p:cNvSpPr>
            <a:spLocks noGrp="1"/>
          </p:cNvSpPr>
          <p:nvPr>
            <p:ph type="title"/>
          </p:nvPr>
        </p:nvSpPr>
        <p:spPr>
          <a:xfrm>
            <a:off x="609600" y="215900"/>
            <a:ext cx="10137775" cy="522288"/>
          </a:xfrm>
        </p:spPr>
        <p:txBody>
          <a:bodyPr vert="horz">
            <a:normAutofit fontScale="90000"/>
          </a:bodyPr>
          <a:lstStyle/>
          <a:p>
            <a:r>
              <a:rPr lang="en-US" sz="2000" b="0" dirty="0"/>
              <a:t>MINERALS TECHNOLOGIES</a:t>
            </a:r>
            <a:br>
              <a:rPr lang="en-US" dirty="0"/>
            </a:br>
            <a:r>
              <a:rPr lang="en-US" sz="3100" dirty="0"/>
              <a:t>A Global Specialty Minerals Company</a:t>
            </a:r>
            <a:endParaRPr lang="en-US" dirty="0"/>
          </a:p>
        </p:txBody>
      </p:sp>
      <p:sp>
        <p:nvSpPr>
          <p:cNvPr id="8" name="Rectangle 7">
            <a:extLst>
              <a:ext uri="{FF2B5EF4-FFF2-40B4-BE49-F238E27FC236}">
                <a16:creationId xmlns:a16="http://schemas.microsoft.com/office/drawing/2014/main" id="{3379AF9A-8837-3754-A86D-E89584007091}"/>
              </a:ext>
            </a:extLst>
          </p:cNvPr>
          <p:cNvSpPr/>
          <p:nvPr/>
        </p:nvSpPr>
        <p:spPr>
          <a:xfrm>
            <a:off x="-1" y="1333500"/>
            <a:ext cx="12191997" cy="911857"/>
          </a:xfrm>
          <a:prstGeom prst="rect">
            <a:avLst/>
          </a:prstGeom>
          <a:solidFill>
            <a:srgbClr val="647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BB5573F8-2452-36D2-AAE9-892F425B95DB}"/>
              </a:ext>
            </a:extLst>
          </p:cNvPr>
          <p:cNvSpPr/>
          <p:nvPr/>
        </p:nvSpPr>
        <p:spPr>
          <a:xfrm>
            <a:off x="4096309" y="1227509"/>
            <a:ext cx="1651518" cy="108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ployees</a:t>
            </a:r>
          </a:p>
        </p:txBody>
      </p:sp>
      <p:sp>
        <p:nvSpPr>
          <p:cNvPr id="10" name="Rectangle 9">
            <a:extLst>
              <a:ext uri="{FF2B5EF4-FFF2-40B4-BE49-F238E27FC236}">
                <a16:creationId xmlns:a16="http://schemas.microsoft.com/office/drawing/2014/main" id="{DE60A42E-07D4-7CFC-DE77-2F558FF0C177}"/>
              </a:ext>
            </a:extLst>
          </p:cNvPr>
          <p:cNvSpPr/>
          <p:nvPr/>
        </p:nvSpPr>
        <p:spPr>
          <a:xfrm>
            <a:off x="1056627" y="1227509"/>
            <a:ext cx="1651518" cy="108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2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t Sales</a:t>
            </a:r>
            <a:endPar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7B94D081-2F80-642A-3EB9-4E1BEFFAA4AA}"/>
              </a:ext>
            </a:extLst>
          </p:cNvPr>
          <p:cNvSpPr/>
          <p:nvPr/>
        </p:nvSpPr>
        <p:spPr>
          <a:xfrm>
            <a:off x="6825991" y="1227509"/>
            <a:ext cx="1651518" cy="108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untries</a:t>
            </a:r>
            <a:endPar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9CD7065D-AEA5-9E23-BC16-C1F6B9F7DCA4}"/>
              </a:ext>
            </a:extLst>
          </p:cNvPr>
          <p:cNvSpPr/>
          <p:nvPr/>
        </p:nvSpPr>
        <p:spPr>
          <a:xfrm>
            <a:off x="9394558" y="1227509"/>
            <a:ext cx="1853449" cy="108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amp;D Centers</a:t>
            </a:r>
            <a:endPar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5DECEE48-1084-B574-1466-A6FA8CF070FA}"/>
              </a:ext>
            </a:extLst>
          </p:cNvPr>
          <p:cNvSpPr txBox="1"/>
          <p:nvPr/>
        </p:nvSpPr>
        <p:spPr>
          <a:xfrm>
            <a:off x="871452" y="2634985"/>
            <a:ext cx="5676774" cy="3370153"/>
          </a:xfrm>
          <a:prstGeom prst="rect">
            <a:avLst/>
          </a:prstGeom>
          <a:noFill/>
        </p:spPr>
        <p:txBody>
          <a:bodyPr wrap="square" rtlCol="0">
            <a:spAutoFit/>
          </a:bodyPr>
          <a:lstStyle/>
          <a:p>
            <a:pPr marL="285750" indent="-285750">
              <a:buFont typeface="Wingdings" panose="05000000000000000000" pitchFamily="2" charset="2"/>
              <a:buChar char="§"/>
            </a:pPr>
            <a:r>
              <a:rPr lang="en-US" sz="2100" dirty="0">
                <a:latin typeface="Arial" panose="020B0604020202020204" pitchFamily="34" charset="0"/>
                <a:cs typeface="Arial" panose="020B0604020202020204" pitchFamily="34" charset="0"/>
              </a:rPr>
              <a:t>Technology-driven provider of specialty solutions and applications that are an </a:t>
            </a:r>
            <a:r>
              <a:rPr lang="en-US" sz="2400" b="1" i="1" dirty="0">
                <a:solidFill>
                  <a:srgbClr val="132246"/>
                </a:solidFill>
                <a:latin typeface="Arial" panose="020B0604020202020204" pitchFamily="34" charset="0"/>
                <a:cs typeface="Arial" panose="020B0604020202020204" pitchFamily="34" charset="0"/>
              </a:rPr>
              <a:t>essential part of your everyday life</a:t>
            </a:r>
          </a:p>
          <a:p>
            <a:pPr marL="285750" indent="-285750">
              <a:buFont typeface="Wingdings" panose="05000000000000000000" pitchFamily="2" charset="2"/>
              <a:buChar char="§"/>
            </a:pPr>
            <a:endParaRPr lang="en-US" sz="21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2100" dirty="0">
                <a:latin typeface="Arial" panose="020B0604020202020204" pitchFamily="34" charset="0"/>
                <a:cs typeface="Arial" panose="020B0604020202020204" pitchFamily="34" charset="0"/>
              </a:rPr>
              <a:t>Global footprint aligned with our customers and growth opportunities</a:t>
            </a:r>
          </a:p>
          <a:p>
            <a:endParaRPr lang="en-US" sz="21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sz="2100" dirty="0">
                <a:latin typeface="Arial" panose="020B0604020202020204" pitchFamily="34" charset="0"/>
                <a:cs typeface="Arial" panose="020B0604020202020204" pitchFamily="34" charset="0"/>
              </a:rPr>
              <a:t>Vertically integrated with unique mineral reserves</a:t>
            </a:r>
          </a:p>
          <a:p>
            <a:endParaRPr lang="en-US" sz="2100" dirty="0">
              <a:latin typeface="Arial" panose="020B0604020202020204"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AF5B5A1D-CED2-8B39-FE66-5A8DF076E72B}"/>
              </a:ext>
            </a:extLst>
          </p:cNvPr>
          <p:cNvGrpSpPr/>
          <p:nvPr/>
        </p:nvGrpSpPr>
        <p:grpSpPr>
          <a:xfrm>
            <a:off x="6876455" y="2442996"/>
            <a:ext cx="4511254" cy="3781401"/>
            <a:chOff x="4307033" y="2812794"/>
            <a:chExt cx="3741435" cy="2855050"/>
          </a:xfrm>
        </p:grpSpPr>
        <p:graphicFrame>
          <p:nvGraphicFramePr>
            <p:cNvPr id="15" name="Chart 14">
              <a:extLst>
                <a:ext uri="{FF2B5EF4-FFF2-40B4-BE49-F238E27FC236}">
                  <a16:creationId xmlns:a16="http://schemas.microsoft.com/office/drawing/2014/main" id="{52CEA1C9-6393-CA5D-AA16-24F88D8BAF5B}"/>
                </a:ext>
              </a:extLst>
            </p:cNvPr>
            <p:cNvGraphicFramePr/>
            <p:nvPr>
              <p:extLst>
                <p:ext uri="{D42A27DB-BD31-4B8C-83A1-F6EECF244321}">
                  <p14:modId xmlns:p14="http://schemas.microsoft.com/office/powerpoint/2010/main" val="1754970454"/>
                </p:ext>
              </p:extLst>
            </p:nvPr>
          </p:nvGraphicFramePr>
          <p:xfrm>
            <a:off x="4537510" y="2812794"/>
            <a:ext cx="3311215" cy="2625461"/>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2C977787-3C0D-41EC-B950-1850F0C48374}"/>
                </a:ext>
              </a:extLst>
            </p:cNvPr>
            <p:cNvSpPr txBox="1"/>
            <p:nvPr/>
          </p:nvSpPr>
          <p:spPr>
            <a:xfrm>
              <a:off x="4916846" y="5472646"/>
              <a:ext cx="2849647" cy="195198"/>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3 Sales by Region</a:t>
              </a:r>
            </a:p>
          </p:txBody>
        </p:sp>
        <p:sp>
          <p:nvSpPr>
            <p:cNvPr id="17" name="TextBox 16">
              <a:extLst>
                <a:ext uri="{FF2B5EF4-FFF2-40B4-BE49-F238E27FC236}">
                  <a16:creationId xmlns:a16="http://schemas.microsoft.com/office/drawing/2014/main" id="{41DA69CF-6E3C-D932-2114-F105E34B53FE}"/>
                </a:ext>
              </a:extLst>
            </p:cNvPr>
            <p:cNvSpPr txBox="1"/>
            <p:nvPr/>
          </p:nvSpPr>
          <p:spPr>
            <a:xfrm>
              <a:off x="6761857" y="4987515"/>
              <a:ext cx="1186739" cy="552215"/>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rth</a:t>
              </a:r>
              <a:b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merica</a:t>
              </a:r>
            </a:p>
          </p:txBody>
        </p:sp>
        <p:sp>
          <p:nvSpPr>
            <p:cNvPr id="18" name="TextBox 17">
              <a:extLst>
                <a:ext uri="{FF2B5EF4-FFF2-40B4-BE49-F238E27FC236}">
                  <a16:creationId xmlns:a16="http://schemas.microsoft.com/office/drawing/2014/main" id="{F0D388E6-8E47-B199-D394-5F58874A35D5}"/>
                </a:ext>
              </a:extLst>
            </p:cNvPr>
            <p:cNvSpPr txBox="1"/>
            <p:nvPr/>
          </p:nvSpPr>
          <p:spPr>
            <a:xfrm>
              <a:off x="4307033" y="3885006"/>
              <a:ext cx="737071" cy="323712"/>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ia</a:t>
              </a:r>
            </a:p>
          </p:txBody>
        </p:sp>
        <p:sp>
          <p:nvSpPr>
            <p:cNvPr id="19" name="TextBox 18">
              <a:extLst>
                <a:ext uri="{FF2B5EF4-FFF2-40B4-BE49-F238E27FC236}">
                  <a16:creationId xmlns:a16="http://schemas.microsoft.com/office/drawing/2014/main" id="{7E92EACB-15F7-CE85-D1C8-A3BFC252B267}"/>
                </a:ext>
              </a:extLst>
            </p:cNvPr>
            <p:cNvSpPr txBox="1"/>
            <p:nvPr/>
          </p:nvSpPr>
          <p:spPr>
            <a:xfrm>
              <a:off x="5116925" y="2875700"/>
              <a:ext cx="904777" cy="322466"/>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EA</a:t>
              </a:r>
            </a:p>
          </p:txBody>
        </p:sp>
        <p:sp>
          <p:nvSpPr>
            <p:cNvPr id="20" name="TextBox 19">
              <a:extLst>
                <a:ext uri="{FF2B5EF4-FFF2-40B4-BE49-F238E27FC236}">
                  <a16:creationId xmlns:a16="http://schemas.microsoft.com/office/drawing/2014/main" id="{7FD1E638-5ECC-A42D-4775-C09B799B4ECF}"/>
                </a:ext>
              </a:extLst>
            </p:cNvPr>
            <p:cNvSpPr txBox="1"/>
            <p:nvPr/>
          </p:nvSpPr>
          <p:spPr>
            <a:xfrm>
              <a:off x="6889562" y="2923121"/>
              <a:ext cx="1158906" cy="550089"/>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tin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merica</a:t>
              </a:r>
            </a:p>
          </p:txBody>
        </p:sp>
      </p:grpSp>
      <p:grpSp>
        <p:nvGrpSpPr>
          <p:cNvPr id="3" name="Group 2">
            <a:extLst>
              <a:ext uri="{FF2B5EF4-FFF2-40B4-BE49-F238E27FC236}">
                <a16:creationId xmlns:a16="http://schemas.microsoft.com/office/drawing/2014/main" id="{BF4075BA-CCE7-0A2F-2D39-3AB802E45727}"/>
              </a:ext>
            </a:extLst>
          </p:cNvPr>
          <p:cNvGrpSpPr/>
          <p:nvPr/>
        </p:nvGrpSpPr>
        <p:grpSpPr>
          <a:xfrm>
            <a:off x="8194766" y="3233930"/>
            <a:ext cx="1950720" cy="1891759"/>
            <a:chOff x="4101778" y="1651781"/>
            <a:chExt cx="4045202" cy="4045202"/>
          </a:xfrm>
        </p:grpSpPr>
        <p:sp>
          <p:nvSpPr>
            <p:cNvPr id="5" name="Freeform 33">
              <a:extLst>
                <a:ext uri="{FF2B5EF4-FFF2-40B4-BE49-F238E27FC236}">
                  <a16:creationId xmlns:a16="http://schemas.microsoft.com/office/drawing/2014/main" id="{8F721F31-7027-6719-C3D2-91B7FE19950D}"/>
                </a:ext>
              </a:extLst>
            </p:cNvPr>
            <p:cNvSpPr/>
            <p:nvPr/>
          </p:nvSpPr>
          <p:spPr>
            <a:xfrm>
              <a:off x="6130827" y="1652107"/>
              <a:ext cx="2016153" cy="4011274"/>
            </a:xfrm>
            <a:custGeom>
              <a:avLst/>
              <a:gdLst>
                <a:gd name="connsiteX0" fmla="*/ 0 w 2016153"/>
                <a:gd name="connsiteY0" fmla="*/ 0 h 4011274"/>
                <a:gd name="connsiteX1" fmla="*/ 200351 w 2016153"/>
                <a:gd name="connsiteY1" fmla="*/ 10116 h 4011274"/>
                <a:gd name="connsiteX2" fmla="*/ 2016153 w 2016153"/>
                <a:gd name="connsiteY2" fmla="*/ 2022275 h 4011274"/>
                <a:gd name="connsiteX3" fmla="*/ 401177 w 2016153"/>
                <a:gd name="connsiteY3" fmla="*/ 4003784 h 4011274"/>
                <a:gd name="connsiteX4" fmla="*/ 352104 w 2016153"/>
                <a:gd name="connsiteY4" fmla="*/ 4011274 h 4011274"/>
                <a:gd name="connsiteX5" fmla="*/ 1 w 2016153"/>
                <a:gd name="connsiteY5" fmla="*/ 2044191 h 4011274"/>
                <a:gd name="connsiteX6" fmla="*/ 2240 w 2016153"/>
                <a:gd name="connsiteY6" fmla="*/ 2043790 h 4011274"/>
                <a:gd name="connsiteX7" fmla="*/ 0 w 2016153"/>
                <a:gd name="connsiteY7" fmla="*/ 2043790 h 4011274"/>
                <a:gd name="connsiteX8" fmla="*/ 0 w 2016153"/>
                <a:gd name="connsiteY8" fmla="*/ 0 h 401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53" h="4011274">
                  <a:moveTo>
                    <a:pt x="0" y="0"/>
                  </a:moveTo>
                  <a:lnTo>
                    <a:pt x="200351" y="10116"/>
                  </a:lnTo>
                  <a:cubicBezTo>
                    <a:pt x="1220261" y="113694"/>
                    <a:pt x="2016153" y="975039"/>
                    <a:pt x="2016153" y="2022275"/>
                  </a:cubicBezTo>
                  <a:cubicBezTo>
                    <a:pt x="2016153" y="2999696"/>
                    <a:pt x="1322842" y="3815184"/>
                    <a:pt x="401177" y="4003784"/>
                  </a:cubicBezTo>
                  <a:lnTo>
                    <a:pt x="352104" y="4011274"/>
                  </a:lnTo>
                  <a:lnTo>
                    <a:pt x="1" y="2044191"/>
                  </a:lnTo>
                  <a:lnTo>
                    <a:pt x="2240" y="2043790"/>
                  </a:lnTo>
                  <a:lnTo>
                    <a:pt x="0" y="2043790"/>
                  </a:lnTo>
                  <a:lnTo>
                    <a:pt x="0" y="0"/>
                  </a:lnTo>
                  <a:close/>
                </a:path>
              </a:pathLst>
            </a:custGeom>
            <a:blipFill dpi="0" rotWithShape="1">
              <a:blip r:embed="rId6">
                <a:extLst>
                  <a:ext uri="{28A0092B-C50C-407E-A947-70E740481C1C}">
                    <a14:useLocalDpi xmlns:a14="http://schemas.microsoft.com/office/drawing/2010/main" val="0"/>
                  </a:ext>
                </a:extLst>
              </a:blip>
              <a:srcRect/>
              <a:stretch>
                <a:fillRect l="-24773" r="-77109"/>
              </a:stretch>
            </a:bli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6" name="Freeform 11">
              <a:extLst>
                <a:ext uri="{FF2B5EF4-FFF2-40B4-BE49-F238E27FC236}">
                  <a16:creationId xmlns:a16="http://schemas.microsoft.com/office/drawing/2014/main" id="{B9B133C0-BAF8-0FA9-B5C9-0BA3E638F488}"/>
                </a:ext>
              </a:extLst>
            </p:cNvPr>
            <p:cNvSpPr/>
            <p:nvPr/>
          </p:nvSpPr>
          <p:spPr>
            <a:xfrm>
              <a:off x="4101778" y="1651781"/>
              <a:ext cx="2381153" cy="4045202"/>
            </a:xfrm>
            <a:custGeom>
              <a:avLst/>
              <a:gdLst>
                <a:gd name="connsiteX0" fmla="*/ 2022601 w 2381153"/>
                <a:gd name="connsiteY0" fmla="*/ 0 h 4045202"/>
                <a:gd name="connsiteX1" fmla="*/ 2029049 w 2381153"/>
                <a:gd name="connsiteY1" fmla="*/ 326 h 4045202"/>
                <a:gd name="connsiteX2" fmla="*/ 2029049 w 2381153"/>
                <a:gd name="connsiteY2" fmla="*/ 2044116 h 4045202"/>
                <a:gd name="connsiteX3" fmla="*/ 2031289 w 2381153"/>
                <a:gd name="connsiteY3" fmla="*/ 2044116 h 4045202"/>
                <a:gd name="connsiteX4" fmla="*/ 2029050 w 2381153"/>
                <a:gd name="connsiteY4" fmla="*/ 2044517 h 4045202"/>
                <a:gd name="connsiteX5" fmla="*/ 2381153 w 2381153"/>
                <a:gd name="connsiteY5" fmla="*/ 4011600 h 4045202"/>
                <a:gd name="connsiteX6" fmla="*/ 2229400 w 2381153"/>
                <a:gd name="connsiteY6" fmla="*/ 4034760 h 4045202"/>
                <a:gd name="connsiteX7" fmla="*/ 2022601 w 2381153"/>
                <a:gd name="connsiteY7" fmla="*/ 4045202 h 4045202"/>
                <a:gd name="connsiteX8" fmla="*/ 0 w 2381153"/>
                <a:gd name="connsiteY8" fmla="*/ 2022601 h 4045202"/>
                <a:gd name="connsiteX9" fmla="*/ 2022601 w 2381153"/>
                <a:gd name="connsiteY9" fmla="*/ 0 h 404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153" h="4045202">
                  <a:moveTo>
                    <a:pt x="2022601" y="0"/>
                  </a:moveTo>
                  <a:lnTo>
                    <a:pt x="2029049" y="326"/>
                  </a:lnTo>
                  <a:lnTo>
                    <a:pt x="2029049" y="2044116"/>
                  </a:lnTo>
                  <a:lnTo>
                    <a:pt x="2031289" y="2044116"/>
                  </a:lnTo>
                  <a:lnTo>
                    <a:pt x="2029050" y="2044517"/>
                  </a:lnTo>
                  <a:lnTo>
                    <a:pt x="2381153" y="4011600"/>
                  </a:lnTo>
                  <a:lnTo>
                    <a:pt x="2229400" y="4034760"/>
                  </a:lnTo>
                  <a:cubicBezTo>
                    <a:pt x="2161407" y="4041665"/>
                    <a:pt x="2092417" y="4045202"/>
                    <a:pt x="2022601" y="4045202"/>
                  </a:cubicBezTo>
                  <a:cubicBezTo>
                    <a:pt x="905549" y="4045202"/>
                    <a:pt x="0" y="3139653"/>
                    <a:pt x="0" y="2022601"/>
                  </a:cubicBezTo>
                  <a:cubicBezTo>
                    <a:pt x="0" y="905549"/>
                    <a:pt x="905549" y="0"/>
                    <a:pt x="2022601" y="0"/>
                  </a:cubicBezTo>
                  <a:close/>
                </a:path>
              </a:pathLst>
            </a:custGeom>
            <a:blipFill dpi="0" rotWithShape="1">
              <a:blip r:embed="rId7">
                <a:extLst>
                  <a:ext uri="{28A0092B-C50C-407E-A947-70E740481C1C}">
                    <a14:useLocalDpi xmlns:a14="http://schemas.microsoft.com/office/drawing/2010/main" val="0"/>
                  </a:ext>
                </a:extLst>
              </a:blip>
              <a:srcRect/>
              <a:stretch>
                <a:fillRect l="-38048" t="-17043" r="-27046" b="-4407"/>
              </a:stretch>
            </a:bli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Tree>
    <p:extLst>
      <p:ext uri="{BB962C8B-B14F-4D97-AF65-F5344CB8AC3E}">
        <p14:creationId xmlns:p14="http://schemas.microsoft.com/office/powerpoint/2010/main" val="2664327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82FF61-5B20-0F8E-EDC9-9945856F2531}"/>
              </a:ext>
            </a:extLst>
          </p:cNvPr>
          <p:cNvGraphicFramePr>
            <a:graphicFrameLocks noChangeAspect="1"/>
          </p:cNvGraphicFramePr>
          <p:nvPr>
            <p:custDataLst>
              <p:tags r:id="rId1"/>
            </p:custDataLst>
            <p:extLst>
              <p:ext uri="{D42A27DB-BD31-4B8C-83A1-F6EECF244321}">
                <p14:modId xmlns:p14="http://schemas.microsoft.com/office/powerpoint/2010/main" val="694745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5" name="think-cell data - do not delete" hidden="1">
                        <a:extLst>
                          <a:ext uri="{FF2B5EF4-FFF2-40B4-BE49-F238E27FC236}">
                            <a16:creationId xmlns:a16="http://schemas.microsoft.com/office/drawing/2014/main" id="{A082FF61-5B20-0F8E-EDC9-9945856F2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8" name="Freeform 67">
            <a:extLst>
              <a:ext uri="{FF2B5EF4-FFF2-40B4-BE49-F238E27FC236}">
                <a16:creationId xmlns:a16="http://schemas.microsoft.com/office/drawing/2014/main" id="{58A28453-1F11-246E-0112-FDB43DA7A541}"/>
              </a:ext>
            </a:extLst>
          </p:cNvPr>
          <p:cNvSpPr/>
          <p:nvPr/>
        </p:nvSpPr>
        <p:spPr>
          <a:xfrm>
            <a:off x="6062741" y="1898918"/>
            <a:ext cx="5797581" cy="4059403"/>
          </a:xfrm>
          <a:custGeom>
            <a:avLst/>
            <a:gdLst>
              <a:gd name="connsiteX0" fmla="*/ 0 w 5862604"/>
              <a:gd name="connsiteY0" fmla="*/ 0 h 4819498"/>
              <a:gd name="connsiteX1" fmla="*/ 5862604 w 5862604"/>
              <a:gd name="connsiteY1" fmla="*/ 0 h 4819498"/>
              <a:gd name="connsiteX2" fmla="*/ 5862604 w 5862604"/>
              <a:gd name="connsiteY2" fmla="*/ 4819498 h 4819498"/>
              <a:gd name="connsiteX3" fmla="*/ 433879 w 5862604"/>
              <a:gd name="connsiteY3" fmla="*/ 4819498 h 4819498"/>
              <a:gd name="connsiteX4" fmla="*/ 0 w 5862604"/>
              <a:gd name="connsiteY4" fmla="*/ 2492653 h 4819498"/>
              <a:gd name="connsiteX5" fmla="*/ 0 w 5862604"/>
              <a:gd name="connsiteY5" fmla="*/ 0 h 481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2604" h="4819498">
                <a:moveTo>
                  <a:pt x="0" y="0"/>
                </a:moveTo>
                <a:lnTo>
                  <a:pt x="5862604" y="0"/>
                </a:lnTo>
                <a:lnTo>
                  <a:pt x="5862604" y="4819498"/>
                </a:lnTo>
                <a:lnTo>
                  <a:pt x="433879" y="4819498"/>
                </a:lnTo>
                <a:lnTo>
                  <a:pt x="0" y="2492653"/>
                </a:lnTo>
                <a:lnTo>
                  <a:pt x="0" y="0"/>
                </a:lnTo>
                <a:close/>
              </a:path>
            </a:pathLst>
          </a:custGeom>
          <a:solidFill>
            <a:srgbClr val="5374A1">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Rectangle 22">
            <a:extLst>
              <a:ext uri="{FF2B5EF4-FFF2-40B4-BE49-F238E27FC236}">
                <a16:creationId xmlns:a16="http://schemas.microsoft.com/office/drawing/2014/main" id="{770764ED-E181-A13D-86E1-EBD565317F94}"/>
              </a:ext>
            </a:extLst>
          </p:cNvPr>
          <p:cNvSpPr/>
          <p:nvPr/>
        </p:nvSpPr>
        <p:spPr>
          <a:xfrm>
            <a:off x="7645385" y="2116468"/>
            <a:ext cx="4135350" cy="277195"/>
          </a:xfrm>
          <a:prstGeom prst="rect">
            <a:avLst/>
          </a:prstGeom>
          <a:solidFill>
            <a:srgbClr val="5374A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R="0" lvl="0" algn="just"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E5F3758D-D70E-8714-BC93-411D4EB9E676}"/>
              </a:ext>
            </a:extLst>
          </p:cNvPr>
          <p:cNvGrpSpPr/>
          <p:nvPr/>
        </p:nvGrpSpPr>
        <p:grpSpPr>
          <a:xfrm>
            <a:off x="7739588" y="1956698"/>
            <a:ext cx="436966" cy="436966"/>
            <a:chOff x="3955826" y="-246215"/>
            <a:chExt cx="878442" cy="878442"/>
          </a:xfrm>
        </p:grpSpPr>
        <p:sp>
          <p:nvSpPr>
            <p:cNvPr id="25" name="Oval 24">
              <a:extLst>
                <a:ext uri="{FF2B5EF4-FFF2-40B4-BE49-F238E27FC236}">
                  <a16:creationId xmlns:a16="http://schemas.microsoft.com/office/drawing/2014/main" id="{7C8F0A5E-3B27-3232-B3F0-07DBA4207198}"/>
                </a:ext>
              </a:extLst>
            </p:cNvPr>
            <p:cNvSpPr/>
            <p:nvPr/>
          </p:nvSpPr>
          <p:spPr>
            <a:xfrm>
              <a:off x="3955826" y="-246215"/>
              <a:ext cx="878442" cy="878442"/>
            </a:xfrm>
            <a:prstGeom prst="ellipse">
              <a:avLst/>
            </a:prstGeom>
            <a:solidFill>
              <a:srgbClr val="5374A1"/>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CDCAFF69-F006-0320-3B8F-21BD1F8CCFE5}"/>
                </a:ext>
              </a:extLst>
            </p:cNvPr>
            <p:cNvGrpSpPr/>
            <p:nvPr/>
          </p:nvGrpSpPr>
          <p:grpSpPr>
            <a:xfrm>
              <a:off x="4018029" y="-163513"/>
              <a:ext cx="694076" cy="673350"/>
              <a:chOff x="12099561" y="-675971"/>
              <a:chExt cx="694076" cy="673350"/>
            </a:xfrm>
            <a:solidFill>
              <a:schemeClr val="bg1"/>
            </a:solidFill>
          </p:grpSpPr>
          <p:sp>
            <p:nvSpPr>
              <p:cNvPr id="27" name="Freeform 44">
                <a:extLst>
                  <a:ext uri="{FF2B5EF4-FFF2-40B4-BE49-F238E27FC236}">
                    <a16:creationId xmlns:a16="http://schemas.microsoft.com/office/drawing/2014/main" id="{D4EDCED8-7434-0479-6177-E1C417D4F8D8}"/>
                  </a:ext>
                </a:extLst>
              </p:cNvPr>
              <p:cNvSpPr/>
              <p:nvPr/>
            </p:nvSpPr>
            <p:spPr>
              <a:xfrm>
                <a:off x="12099561" y="-665009"/>
                <a:ext cx="438073" cy="457086"/>
              </a:xfrm>
              <a:custGeom>
                <a:avLst/>
                <a:gdLst>
                  <a:gd name="connsiteX0" fmla="*/ 198209 w 438073"/>
                  <a:gd name="connsiteY0" fmla="*/ 456992 h 457086"/>
                  <a:gd name="connsiteX1" fmla="*/ 31764 w 438073"/>
                  <a:gd name="connsiteY1" fmla="*/ 382800 h 457086"/>
                  <a:gd name="connsiteX2" fmla="*/ 157833 w 438073"/>
                  <a:gd name="connsiteY2" fmla="*/ 15899 h 457086"/>
                  <a:gd name="connsiteX3" fmla="*/ 179398 w 438073"/>
                  <a:gd name="connsiteY3" fmla="*/ 1457 h 457086"/>
                  <a:gd name="connsiteX4" fmla="*/ 190513 w 438073"/>
                  <a:gd name="connsiteY4" fmla="*/ 2118 h 457086"/>
                  <a:gd name="connsiteX5" fmla="*/ 193363 w 438073"/>
                  <a:gd name="connsiteY5" fmla="*/ 12879 h 457086"/>
                  <a:gd name="connsiteX6" fmla="*/ 280006 w 438073"/>
                  <a:gd name="connsiteY6" fmla="*/ 204777 h 457086"/>
                  <a:gd name="connsiteX7" fmla="*/ 280006 w 438073"/>
                  <a:gd name="connsiteY7" fmla="*/ 204777 h 457086"/>
                  <a:gd name="connsiteX8" fmla="*/ 428020 w 438073"/>
                  <a:gd name="connsiteY8" fmla="*/ 349952 h 457086"/>
                  <a:gd name="connsiteX9" fmla="*/ 437425 w 438073"/>
                  <a:gd name="connsiteY9" fmla="*/ 355993 h 457086"/>
                  <a:gd name="connsiteX10" fmla="*/ 434575 w 438073"/>
                  <a:gd name="connsiteY10" fmla="*/ 366754 h 457086"/>
                  <a:gd name="connsiteX11" fmla="*/ 430585 w 438073"/>
                  <a:gd name="connsiteY11" fmla="*/ 371001 h 457086"/>
                  <a:gd name="connsiteX12" fmla="*/ 422035 w 438073"/>
                  <a:gd name="connsiteY12" fmla="*/ 379497 h 457086"/>
                  <a:gd name="connsiteX13" fmla="*/ 198304 w 438073"/>
                  <a:gd name="connsiteY13" fmla="*/ 457087 h 457086"/>
                  <a:gd name="connsiteX14" fmla="*/ 173033 w 438073"/>
                  <a:gd name="connsiteY14" fmla="*/ 28359 h 457086"/>
                  <a:gd name="connsiteX15" fmla="*/ 168948 w 438073"/>
                  <a:gd name="connsiteY15" fmla="*/ 31191 h 457086"/>
                  <a:gd name="connsiteX16" fmla="*/ 47155 w 438073"/>
                  <a:gd name="connsiteY16" fmla="*/ 371757 h 457086"/>
                  <a:gd name="connsiteX17" fmla="*/ 409589 w 438073"/>
                  <a:gd name="connsiteY17" fmla="*/ 364960 h 457086"/>
                  <a:gd name="connsiteX18" fmla="*/ 264521 w 438073"/>
                  <a:gd name="connsiteY18" fmla="*/ 215821 h 457086"/>
                  <a:gd name="connsiteX19" fmla="*/ 264521 w 438073"/>
                  <a:gd name="connsiteY19" fmla="*/ 215821 h 457086"/>
                  <a:gd name="connsiteX20" fmla="*/ 173033 w 438073"/>
                  <a:gd name="connsiteY20" fmla="*/ 28359 h 45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8073" h="457086">
                    <a:moveTo>
                      <a:pt x="198209" y="456992"/>
                    </a:moveTo>
                    <a:cubicBezTo>
                      <a:pt x="128572" y="456992"/>
                      <a:pt x="67675" y="432356"/>
                      <a:pt x="31764" y="382800"/>
                    </a:cubicBezTo>
                    <a:cubicBezTo>
                      <a:pt x="-41008" y="282556"/>
                      <a:pt x="15519" y="118031"/>
                      <a:pt x="157833" y="15899"/>
                    </a:cubicBezTo>
                    <a:cubicBezTo>
                      <a:pt x="164293" y="11274"/>
                      <a:pt x="171323" y="6554"/>
                      <a:pt x="179398" y="1457"/>
                    </a:cubicBezTo>
                    <a:cubicBezTo>
                      <a:pt x="182818" y="-714"/>
                      <a:pt x="187378" y="-431"/>
                      <a:pt x="190513" y="2118"/>
                    </a:cubicBezTo>
                    <a:cubicBezTo>
                      <a:pt x="193648" y="4666"/>
                      <a:pt x="194788" y="9009"/>
                      <a:pt x="193363" y="12879"/>
                    </a:cubicBezTo>
                    <a:cubicBezTo>
                      <a:pt x="184243" y="36099"/>
                      <a:pt x="214169" y="114161"/>
                      <a:pt x="280006" y="204777"/>
                    </a:cubicBezTo>
                    <a:lnTo>
                      <a:pt x="280006" y="204777"/>
                    </a:lnTo>
                    <a:cubicBezTo>
                      <a:pt x="358953" y="313422"/>
                      <a:pt x="407879" y="351368"/>
                      <a:pt x="428020" y="349952"/>
                    </a:cubicBezTo>
                    <a:cubicBezTo>
                      <a:pt x="432200" y="349763"/>
                      <a:pt x="435905" y="352217"/>
                      <a:pt x="437425" y="355993"/>
                    </a:cubicBezTo>
                    <a:cubicBezTo>
                      <a:pt x="438945" y="359769"/>
                      <a:pt x="437710" y="364111"/>
                      <a:pt x="434575" y="366754"/>
                    </a:cubicBezTo>
                    <a:cubicBezTo>
                      <a:pt x="432485" y="368453"/>
                      <a:pt x="431725" y="369491"/>
                      <a:pt x="430585" y="371001"/>
                    </a:cubicBezTo>
                    <a:cubicBezTo>
                      <a:pt x="428970" y="373172"/>
                      <a:pt x="426975" y="375910"/>
                      <a:pt x="422035" y="379497"/>
                    </a:cubicBezTo>
                    <a:cubicBezTo>
                      <a:pt x="350023" y="431129"/>
                      <a:pt x="269556" y="457087"/>
                      <a:pt x="198304" y="457087"/>
                    </a:cubicBezTo>
                    <a:close/>
                    <a:moveTo>
                      <a:pt x="173033" y="28359"/>
                    </a:moveTo>
                    <a:cubicBezTo>
                      <a:pt x="171608" y="29303"/>
                      <a:pt x="170278" y="30247"/>
                      <a:pt x="168948" y="31191"/>
                    </a:cubicBezTo>
                    <a:cubicBezTo>
                      <a:pt x="35089" y="127187"/>
                      <a:pt x="-19537" y="279913"/>
                      <a:pt x="47155" y="371757"/>
                    </a:cubicBezTo>
                    <a:cubicBezTo>
                      <a:pt x="113656" y="463222"/>
                      <a:pt x="276016" y="460107"/>
                      <a:pt x="409589" y="364960"/>
                    </a:cubicBezTo>
                    <a:cubicBezTo>
                      <a:pt x="367218" y="347781"/>
                      <a:pt x="308887" y="276893"/>
                      <a:pt x="264521" y="215821"/>
                    </a:cubicBezTo>
                    <a:lnTo>
                      <a:pt x="264521" y="215821"/>
                    </a:lnTo>
                    <a:cubicBezTo>
                      <a:pt x="219394" y="153617"/>
                      <a:pt x="176263" y="74894"/>
                      <a:pt x="173033" y="28359"/>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Freeform 46">
                <a:extLst>
                  <a:ext uri="{FF2B5EF4-FFF2-40B4-BE49-F238E27FC236}">
                    <a16:creationId xmlns:a16="http://schemas.microsoft.com/office/drawing/2014/main" id="{DA34A8E4-C475-F057-69D5-D8AE3B371785}"/>
                  </a:ext>
                </a:extLst>
              </p:cNvPr>
              <p:cNvSpPr/>
              <p:nvPr/>
            </p:nvSpPr>
            <p:spPr>
              <a:xfrm>
                <a:off x="12272391" y="-675971"/>
                <a:ext cx="285116" cy="361763"/>
              </a:xfrm>
              <a:custGeom>
                <a:avLst/>
                <a:gdLst>
                  <a:gd name="connsiteX0" fmla="*/ 222415 w 285116"/>
                  <a:gd name="connsiteY0" fmla="*/ 361764 h 361763"/>
                  <a:gd name="connsiteX1" fmla="*/ 91691 w 285116"/>
                  <a:gd name="connsiteY1" fmla="*/ 226783 h 361763"/>
                  <a:gd name="connsiteX2" fmla="*/ 2769 w 285116"/>
                  <a:gd name="connsiteY2" fmla="*/ 16950 h 361763"/>
                  <a:gd name="connsiteX3" fmla="*/ 11889 w 285116"/>
                  <a:gd name="connsiteY3" fmla="*/ 4868 h 361763"/>
                  <a:gd name="connsiteX4" fmla="*/ 30225 w 285116"/>
                  <a:gd name="connsiteY4" fmla="*/ 54 h 361763"/>
                  <a:gd name="connsiteX5" fmla="*/ 198854 w 285116"/>
                  <a:gd name="connsiteY5" fmla="*/ 150043 h 361763"/>
                  <a:gd name="connsiteX6" fmla="*/ 263646 w 285116"/>
                  <a:gd name="connsiteY6" fmla="*/ 256139 h 361763"/>
                  <a:gd name="connsiteX7" fmla="*/ 285116 w 285116"/>
                  <a:gd name="connsiteY7" fmla="*/ 300315 h 361763"/>
                  <a:gd name="connsiteX8" fmla="*/ 251581 w 285116"/>
                  <a:gd name="connsiteY8" fmla="*/ 269920 h 361763"/>
                  <a:gd name="connsiteX9" fmla="*/ 183274 w 285116"/>
                  <a:gd name="connsiteY9" fmla="*/ 303713 h 361763"/>
                  <a:gd name="connsiteX10" fmla="*/ 232865 w 285116"/>
                  <a:gd name="connsiteY10" fmla="*/ 346000 h 361763"/>
                  <a:gd name="connsiteX11" fmla="*/ 222415 w 285116"/>
                  <a:gd name="connsiteY11" fmla="*/ 361764 h 361763"/>
                  <a:gd name="connsiteX12" fmla="*/ 162183 w 285116"/>
                  <a:gd name="connsiteY12" fmla="*/ 282946 h 361763"/>
                  <a:gd name="connsiteX13" fmla="*/ 241225 w 285116"/>
                  <a:gd name="connsiteY13" fmla="*/ 253874 h 361763"/>
                  <a:gd name="connsiteX14" fmla="*/ 183369 w 285116"/>
                  <a:gd name="connsiteY14" fmla="*/ 160992 h 361763"/>
                  <a:gd name="connsiteX15" fmla="*/ 29084 w 285116"/>
                  <a:gd name="connsiteY15" fmla="*/ 18838 h 361763"/>
                  <a:gd name="connsiteX16" fmla="*/ 22909 w 285116"/>
                  <a:gd name="connsiteY16" fmla="*/ 20065 h 361763"/>
                  <a:gd name="connsiteX17" fmla="*/ 20344 w 285116"/>
                  <a:gd name="connsiteY17" fmla="*/ 23746 h 361763"/>
                  <a:gd name="connsiteX18" fmla="*/ 106987 w 285116"/>
                  <a:gd name="connsiteY18" fmla="*/ 215645 h 361763"/>
                  <a:gd name="connsiteX19" fmla="*/ 161803 w 285116"/>
                  <a:gd name="connsiteY19" fmla="*/ 283041 h 361763"/>
                  <a:gd name="connsiteX20" fmla="*/ 162088 w 285116"/>
                  <a:gd name="connsiteY20" fmla="*/ 282758 h 361763"/>
                  <a:gd name="connsiteX21" fmla="*/ 162088 w 285116"/>
                  <a:gd name="connsiteY21" fmla="*/ 282758 h 36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116" h="361763">
                    <a:moveTo>
                      <a:pt x="222415" y="361764"/>
                    </a:moveTo>
                    <a:cubicBezTo>
                      <a:pt x="184604" y="337883"/>
                      <a:pt x="135772" y="287477"/>
                      <a:pt x="91691" y="226783"/>
                    </a:cubicBezTo>
                    <a:cubicBezTo>
                      <a:pt x="38110" y="153063"/>
                      <a:pt x="-12527" y="55934"/>
                      <a:pt x="2769" y="16950"/>
                    </a:cubicBezTo>
                    <a:cubicBezTo>
                      <a:pt x="4764" y="11759"/>
                      <a:pt x="7899" y="7700"/>
                      <a:pt x="11889" y="4868"/>
                    </a:cubicBezTo>
                    <a:cubicBezTo>
                      <a:pt x="16924" y="1281"/>
                      <a:pt x="23099" y="-324"/>
                      <a:pt x="30225" y="54"/>
                    </a:cubicBezTo>
                    <a:cubicBezTo>
                      <a:pt x="67465" y="2131"/>
                      <a:pt x="135202" y="62447"/>
                      <a:pt x="198854" y="150043"/>
                    </a:cubicBezTo>
                    <a:cubicBezTo>
                      <a:pt x="224980" y="186006"/>
                      <a:pt x="247400" y="222724"/>
                      <a:pt x="263646" y="256139"/>
                    </a:cubicBezTo>
                    <a:lnTo>
                      <a:pt x="285116" y="300315"/>
                    </a:lnTo>
                    <a:lnTo>
                      <a:pt x="251581" y="269920"/>
                    </a:lnTo>
                    <a:cubicBezTo>
                      <a:pt x="221655" y="292386"/>
                      <a:pt x="199329" y="301258"/>
                      <a:pt x="183274" y="303713"/>
                    </a:cubicBezTo>
                    <a:cubicBezTo>
                      <a:pt x="204269" y="324101"/>
                      <a:pt x="217380" y="335617"/>
                      <a:pt x="232865" y="346000"/>
                    </a:cubicBezTo>
                    <a:lnTo>
                      <a:pt x="222415" y="361764"/>
                    </a:lnTo>
                    <a:close/>
                    <a:moveTo>
                      <a:pt x="162183" y="282946"/>
                    </a:moveTo>
                    <a:cubicBezTo>
                      <a:pt x="162183" y="282946"/>
                      <a:pt x="182704" y="298332"/>
                      <a:pt x="241225" y="253874"/>
                    </a:cubicBezTo>
                    <a:cubicBezTo>
                      <a:pt x="226025" y="224235"/>
                      <a:pt x="206074" y="192425"/>
                      <a:pt x="183369" y="160992"/>
                    </a:cubicBezTo>
                    <a:cubicBezTo>
                      <a:pt x="117722" y="70565"/>
                      <a:pt x="54830" y="20254"/>
                      <a:pt x="29084" y="18838"/>
                    </a:cubicBezTo>
                    <a:cubicBezTo>
                      <a:pt x="26329" y="18649"/>
                      <a:pt x="24334" y="19121"/>
                      <a:pt x="22909" y="20065"/>
                    </a:cubicBezTo>
                    <a:cubicBezTo>
                      <a:pt x="21959" y="20820"/>
                      <a:pt x="21104" y="22047"/>
                      <a:pt x="20344" y="23746"/>
                    </a:cubicBezTo>
                    <a:cubicBezTo>
                      <a:pt x="11224" y="46967"/>
                      <a:pt x="41150" y="125029"/>
                      <a:pt x="106987" y="215645"/>
                    </a:cubicBezTo>
                    <a:cubicBezTo>
                      <a:pt x="124847" y="240281"/>
                      <a:pt x="143468" y="263124"/>
                      <a:pt x="161803" y="283041"/>
                    </a:cubicBezTo>
                    <a:lnTo>
                      <a:pt x="162088" y="282758"/>
                    </a:lnTo>
                    <a:cubicBezTo>
                      <a:pt x="162088" y="282758"/>
                      <a:pt x="162088" y="282758"/>
                      <a:pt x="162088" y="282758"/>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Freeform 48">
                <a:extLst>
                  <a:ext uri="{FF2B5EF4-FFF2-40B4-BE49-F238E27FC236}">
                    <a16:creationId xmlns:a16="http://schemas.microsoft.com/office/drawing/2014/main" id="{C45BE693-714B-A0F6-BFAC-FD9946B68075}"/>
                  </a:ext>
                </a:extLst>
              </p:cNvPr>
              <p:cNvSpPr/>
              <p:nvPr/>
            </p:nvSpPr>
            <p:spPr>
              <a:xfrm>
                <a:off x="12318638" y="-430593"/>
                <a:ext cx="474999" cy="427972"/>
              </a:xfrm>
              <a:custGeom>
                <a:avLst/>
                <a:gdLst>
                  <a:gd name="connsiteX0" fmla="*/ 250175 w 474999"/>
                  <a:gd name="connsiteY0" fmla="*/ 427973 h 427972"/>
                  <a:gd name="connsiteX1" fmla="*/ 10198 w 474999"/>
                  <a:gd name="connsiteY1" fmla="*/ 382570 h 427972"/>
                  <a:gd name="connsiteX2" fmla="*/ 33 w 474999"/>
                  <a:gd name="connsiteY2" fmla="*/ 360294 h 427972"/>
                  <a:gd name="connsiteX3" fmla="*/ 267370 w 474999"/>
                  <a:gd name="connsiteY3" fmla="*/ 290066 h 427972"/>
                  <a:gd name="connsiteX4" fmla="*/ 203718 w 474999"/>
                  <a:gd name="connsiteY4" fmla="*/ 132715 h 427972"/>
                  <a:gd name="connsiteX5" fmla="*/ 175978 w 474999"/>
                  <a:gd name="connsiteY5" fmla="*/ 116196 h 427972"/>
                  <a:gd name="connsiteX6" fmla="*/ 102540 w 474999"/>
                  <a:gd name="connsiteY6" fmla="*/ 50877 h 427972"/>
                  <a:gd name="connsiteX7" fmla="*/ 102351 w 474999"/>
                  <a:gd name="connsiteY7" fmla="*/ 50688 h 427972"/>
                  <a:gd name="connsiteX8" fmla="*/ 115841 w 474999"/>
                  <a:gd name="connsiteY8" fmla="*/ 37474 h 427972"/>
                  <a:gd name="connsiteX9" fmla="*/ 115841 w 474999"/>
                  <a:gd name="connsiteY9" fmla="*/ 37474 h 427972"/>
                  <a:gd name="connsiteX10" fmla="*/ 199728 w 474999"/>
                  <a:gd name="connsiteY10" fmla="*/ 4720 h 427972"/>
                  <a:gd name="connsiteX11" fmla="*/ 205618 w 474999"/>
                  <a:gd name="connsiteY11" fmla="*/ 0 h 427972"/>
                  <a:gd name="connsiteX12" fmla="*/ 211508 w 474999"/>
                  <a:gd name="connsiteY12" fmla="*/ 4720 h 427972"/>
                  <a:gd name="connsiteX13" fmla="*/ 215023 w 474999"/>
                  <a:gd name="connsiteY13" fmla="*/ 7740 h 427972"/>
                  <a:gd name="connsiteX14" fmla="*/ 331687 w 474999"/>
                  <a:gd name="connsiteY14" fmla="*/ 287329 h 427972"/>
                  <a:gd name="connsiteX15" fmla="*/ 474666 w 474999"/>
                  <a:gd name="connsiteY15" fmla="*/ 343209 h 427972"/>
                  <a:gd name="connsiteX16" fmla="*/ 474666 w 474999"/>
                  <a:gd name="connsiteY16" fmla="*/ 343209 h 427972"/>
                  <a:gd name="connsiteX17" fmla="*/ 462315 w 474999"/>
                  <a:gd name="connsiteY17" fmla="*/ 383514 h 427972"/>
                  <a:gd name="connsiteX18" fmla="*/ 379283 w 474999"/>
                  <a:gd name="connsiteY18" fmla="*/ 420799 h 427972"/>
                  <a:gd name="connsiteX19" fmla="*/ 250079 w 474999"/>
                  <a:gd name="connsiteY19" fmla="*/ 427878 h 427972"/>
                  <a:gd name="connsiteX20" fmla="*/ 137026 w 474999"/>
                  <a:gd name="connsiteY20" fmla="*/ 58240 h 427972"/>
                  <a:gd name="connsiteX21" fmla="*/ 186618 w 474999"/>
                  <a:gd name="connsiteY21" fmla="*/ 100527 h 427972"/>
                  <a:gd name="connsiteX22" fmla="*/ 213789 w 474999"/>
                  <a:gd name="connsiteY22" fmla="*/ 116574 h 427972"/>
                  <a:gd name="connsiteX23" fmla="*/ 215878 w 474999"/>
                  <a:gd name="connsiteY23" fmla="*/ 118084 h 427972"/>
                  <a:gd name="connsiteX24" fmla="*/ 288081 w 474999"/>
                  <a:gd name="connsiteY24" fmla="*/ 296674 h 427972"/>
                  <a:gd name="connsiteX25" fmla="*/ 290076 w 474999"/>
                  <a:gd name="connsiteY25" fmla="*/ 306962 h 427972"/>
                  <a:gd name="connsiteX26" fmla="*/ 279625 w 474999"/>
                  <a:gd name="connsiteY26" fmla="*/ 307906 h 427972"/>
                  <a:gd name="connsiteX27" fmla="*/ 19033 w 474999"/>
                  <a:gd name="connsiteY27" fmla="*/ 361427 h 427972"/>
                  <a:gd name="connsiteX28" fmla="*/ 23308 w 474999"/>
                  <a:gd name="connsiteY28" fmla="*/ 368884 h 427972"/>
                  <a:gd name="connsiteX29" fmla="*/ 377288 w 474999"/>
                  <a:gd name="connsiteY29" fmla="*/ 402109 h 427972"/>
                  <a:gd name="connsiteX30" fmla="*/ 447590 w 474999"/>
                  <a:gd name="connsiteY30" fmla="*/ 371810 h 427972"/>
                  <a:gd name="connsiteX31" fmla="*/ 455950 w 474999"/>
                  <a:gd name="connsiteY31" fmla="*/ 345380 h 427972"/>
                  <a:gd name="connsiteX32" fmla="*/ 455950 w 474999"/>
                  <a:gd name="connsiteY32" fmla="*/ 345380 h 427972"/>
                  <a:gd name="connsiteX33" fmla="*/ 330642 w 474999"/>
                  <a:gd name="connsiteY33" fmla="*/ 306207 h 427972"/>
                  <a:gd name="connsiteX34" fmla="*/ 323612 w 474999"/>
                  <a:gd name="connsiteY34" fmla="*/ 306207 h 427972"/>
                  <a:gd name="connsiteX35" fmla="*/ 314871 w 474999"/>
                  <a:gd name="connsiteY35" fmla="*/ 306396 h 427972"/>
                  <a:gd name="connsiteX36" fmla="*/ 313921 w 474999"/>
                  <a:gd name="connsiteY36" fmla="*/ 297712 h 427972"/>
                  <a:gd name="connsiteX37" fmla="*/ 205333 w 474999"/>
                  <a:gd name="connsiteY37" fmla="*/ 24353 h 427972"/>
                  <a:gd name="connsiteX38" fmla="*/ 137026 w 474999"/>
                  <a:gd name="connsiteY38" fmla="*/ 58145 h 42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4999" h="427972">
                    <a:moveTo>
                      <a:pt x="250175" y="427973"/>
                    </a:moveTo>
                    <a:cubicBezTo>
                      <a:pt x="136931" y="427973"/>
                      <a:pt x="40314" y="411077"/>
                      <a:pt x="10198" y="382570"/>
                    </a:cubicBezTo>
                    <a:cubicBezTo>
                      <a:pt x="1173" y="374075"/>
                      <a:pt x="-252" y="365769"/>
                      <a:pt x="33" y="360294"/>
                    </a:cubicBezTo>
                    <a:cubicBezTo>
                      <a:pt x="1458" y="337357"/>
                      <a:pt x="34614" y="311210"/>
                      <a:pt x="267370" y="290066"/>
                    </a:cubicBezTo>
                    <a:cubicBezTo>
                      <a:pt x="250364" y="206718"/>
                      <a:pt x="231174" y="159239"/>
                      <a:pt x="203718" y="132715"/>
                    </a:cubicBezTo>
                    <a:cubicBezTo>
                      <a:pt x="192983" y="126957"/>
                      <a:pt x="184148" y="121671"/>
                      <a:pt x="175978" y="116196"/>
                    </a:cubicBezTo>
                    <a:cubicBezTo>
                      <a:pt x="153367" y="100999"/>
                      <a:pt x="135221" y="83348"/>
                      <a:pt x="102540" y="50877"/>
                    </a:cubicBezTo>
                    <a:cubicBezTo>
                      <a:pt x="102540" y="50877"/>
                      <a:pt x="102446" y="50783"/>
                      <a:pt x="102351" y="50688"/>
                    </a:cubicBezTo>
                    <a:lnTo>
                      <a:pt x="115841" y="37474"/>
                    </a:lnTo>
                    <a:cubicBezTo>
                      <a:pt x="115841" y="37474"/>
                      <a:pt x="115841" y="37474"/>
                      <a:pt x="115841" y="37474"/>
                    </a:cubicBezTo>
                    <a:cubicBezTo>
                      <a:pt x="116031" y="37568"/>
                      <a:pt x="137501" y="53615"/>
                      <a:pt x="199728" y="4720"/>
                    </a:cubicBezTo>
                    <a:lnTo>
                      <a:pt x="205618" y="0"/>
                    </a:lnTo>
                    <a:lnTo>
                      <a:pt x="211508" y="4720"/>
                    </a:lnTo>
                    <a:cubicBezTo>
                      <a:pt x="211508" y="4720"/>
                      <a:pt x="212744" y="5758"/>
                      <a:pt x="215023" y="7740"/>
                    </a:cubicBezTo>
                    <a:cubicBezTo>
                      <a:pt x="230889" y="22088"/>
                      <a:pt x="309836" y="102226"/>
                      <a:pt x="331687" y="287329"/>
                    </a:cubicBezTo>
                    <a:cubicBezTo>
                      <a:pt x="344227" y="288178"/>
                      <a:pt x="469631" y="298845"/>
                      <a:pt x="474666" y="343209"/>
                    </a:cubicBezTo>
                    <a:lnTo>
                      <a:pt x="474666" y="343209"/>
                    </a:lnTo>
                    <a:cubicBezTo>
                      <a:pt x="476281" y="357462"/>
                      <a:pt x="472006" y="371432"/>
                      <a:pt x="462315" y="383514"/>
                    </a:cubicBezTo>
                    <a:cubicBezTo>
                      <a:pt x="446355" y="403431"/>
                      <a:pt x="416809" y="416646"/>
                      <a:pt x="379283" y="420799"/>
                    </a:cubicBezTo>
                    <a:cubicBezTo>
                      <a:pt x="335582" y="425613"/>
                      <a:pt x="291691" y="427878"/>
                      <a:pt x="250079" y="427878"/>
                    </a:cubicBezTo>
                    <a:close/>
                    <a:moveTo>
                      <a:pt x="137026" y="58240"/>
                    </a:moveTo>
                    <a:cubicBezTo>
                      <a:pt x="158022" y="78628"/>
                      <a:pt x="171132" y="90144"/>
                      <a:pt x="186618" y="100527"/>
                    </a:cubicBezTo>
                    <a:cubicBezTo>
                      <a:pt x="194503" y="105813"/>
                      <a:pt x="203148" y="110910"/>
                      <a:pt x="213789" y="116574"/>
                    </a:cubicBezTo>
                    <a:lnTo>
                      <a:pt x="215878" y="118084"/>
                    </a:lnTo>
                    <a:cubicBezTo>
                      <a:pt x="247989" y="148384"/>
                      <a:pt x="269555" y="201810"/>
                      <a:pt x="288081" y="296674"/>
                    </a:cubicBezTo>
                    <a:lnTo>
                      <a:pt x="290076" y="306962"/>
                    </a:lnTo>
                    <a:lnTo>
                      <a:pt x="279625" y="307906"/>
                    </a:lnTo>
                    <a:cubicBezTo>
                      <a:pt x="33474" y="329522"/>
                      <a:pt x="19318" y="356329"/>
                      <a:pt x="19033" y="361427"/>
                    </a:cubicBezTo>
                    <a:cubicBezTo>
                      <a:pt x="18843" y="364070"/>
                      <a:pt x="21313" y="366996"/>
                      <a:pt x="23308" y="368884"/>
                    </a:cubicBezTo>
                    <a:cubicBezTo>
                      <a:pt x="55609" y="399467"/>
                      <a:pt x="208943" y="420705"/>
                      <a:pt x="377288" y="402109"/>
                    </a:cubicBezTo>
                    <a:cubicBezTo>
                      <a:pt x="409779" y="398523"/>
                      <a:pt x="434765" y="387762"/>
                      <a:pt x="447590" y="371810"/>
                    </a:cubicBezTo>
                    <a:cubicBezTo>
                      <a:pt x="454050" y="363692"/>
                      <a:pt x="456995" y="354630"/>
                      <a:pt x="455950" y="345380"/>
                    </a:cubicBezTo>
                    <a:lnTo>
                      <a:pt x="455950" y="345380"/>
                    </a:lnTo>
                    <a:cubicBezTo>
                      <a:pt x="453480" y="323481"/>
                      <a:pt x="360853" y="307529"/>
                      <a:pt x="330642" y="306207"/>
                    </a:cubicBezTo>
                    <a:cubicBezTo>
                      <a:pt x="328457" y="306207"/>
                      <a:pt x="325987" y="306207"/>
                      <a:pt x="323612" y="306207"/>
                    </a:cubicBezTo>
                    <a:lnTo>
                      <a:pt x="314871" y="306396"/>
                    </a:lnTo>
                    <a:lnTo>
                      <a:pt x="313921" y="297712"/>
                    </a:lnTo>
                    <a:cubicBezTo>
                      <a:pt x="295301" y="122993"/>
                      <a:pt x="225474" y="43798"/>
                      <a:pt x="205333" y="24353"/>
                    </a:cubicBezTo>
                    <a:cubicBezTo>
                      <a:pt x="175408" y="46818"/>
                      <a:pt x="153082" y="55691"/>
                      <a:pt x="137026" y="58145"/>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17" name="Rectangle 16">
            <a:extLst>
              <a:ext uri="{FF2B5EF4-FFF2-40B4-BE49-F238E27FC236}">
                <a16:creationId xmlns:a16="http://schemas.microsoft.com/office/drawing/2014/main" id="{0119D2CA-3E75-891D-011F-57416685FC1B}"/>
              </a:ext>
            </a:extLst>
          </p:cNvPr>
          <p:cNvSpPr/>
          <p:nvPr/>
        </p:nvSpPr>
        <p:spPr>
          <a:xfrm>
            <a:off x="7652922" y="5553917"/>
            <a:ext cx="4135350" cy="277195"/>
          </a:xfrm>
          <a:prstGeom prst="rect">
            <a:avLst/>
          </a:prstGeom>
          <a:solidFill>
            <a:srgbClr val="5374A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36713344-FA0E-B181-7C59-445B00E7B71B}"/>
              </a:ext>
            </a:extLst>
          </p:cNvPr>
          <p:cNvSpPr txBox="1"/>
          <p:nvPr/>
        </p:nvSpPr>
        <p:spPr>
          <a:xfrm>
            <a:off x="8249860" y="5554397"/>
            <a:ext cx="3018898" cy="272382"/>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vironmental &amp; Infrastructure</a:t>
            </a:r>
          </a:p>
        </p:txBody>
      </p:sp>
      <p:sp>
        <p:nvSpPr>
          <p:cNvPr id="59" name="TextBox 58">
            <a:extLst>
              <a:ext uri="{FF2B5EF4-FFF2-40B4-BE49-F238E27FC236}">
                <a16:creationId xmlns:a16="http://schemas.microsoft.com/office/drawing/2014/main" id="{68CE9F2C-8436-C5A4-2024-B55F221AD3DA}"/>
              </a:ext>
            </a:extLst>
          </p:cNvPr>
          <p:cNvSpPr txBox="1"/>
          <p:nvPr/>
        </p:nvSpPr>
        <p:spPr>
          <a:xfrm>
            <a:off x="8199559" y="2115284"/>
            <a:ext cx="3061662" cy="272382"/>
          </a:xfrm>
          <a:prstGeom prst="rect">
            <a:avLst/>
          </a:prstGeom>
          <a:solidFill>
            <a:srgbClr val="5374A1"/>
          </a:solid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igh-Temperature Technologies</a:t>
            </a:r>
          </a:p>
        </p:txBody>
      </p:sp>
      <p:sp>
        <p:nvSpPr>
          <p:cNvPr id="69" name="Freeform 68">
            <a:extLst>
              <a:ext uri="{FF2B5EF4-FFF2-40B4-BE49-F238E27FC236}">
                <a16:creationId xmlns:a16="http://schemas.microsoft.com/office/drawing/2014/main" id="{72BEB06C-C4DA-56F0-B124-1AEEAE871350}"/>
              </a:ext>
            </a:extLst>
          </p:cNvPr>
          <p:cNvSpPr/>
          <p:nvPr/>
        </p:nvSpPr>
        <p:spPr>
          <a:xfrm>
            <a:off x="385439" y="1898918"/>
            <a:ext cx="6073108" cy="4059403"/>
          </a:xfrm>
          <a:custGeom>
            <a:avLst/>
            <a:gdLst>
              <a:gd name="connsiteX0" fmla="*/ 0 w 6542613"/>
              <a:gd name="connsiteY0" fmla="*/ 0 h 4819498"/>
              <a:gd name="connsiteX1" fmla="*/ 6091098 w 6542613"/>
              <a:gd name="connsiteY1" fmla="*/ 0 h 4819498"/>
              <a:gd name="connsiteX2" fmla="*/ 6091098 w 6542613"/>
              <a:gd name="connsiteY2" fmla="*/ 2492653 h 4819498"/>
              <a:gd name="connsiteX3" fmla="*/ 6542613 w 6542613"/>
              <a:gd name="connsiteY3" fmla="*/ 4819498 h 4819498"/>
              <a:gd name="connsiteX4" fmla="*/ 0 w 6542613"/>
              <a:gd name="connsiteY4" fmla="*/ 4819498 h 4819498"/>
              <a:gd name="connsiteX5" fmla="*/ 0 w 6542613"/>
              <a:gd name="connsiteY5" fmla="*/ 0 h 481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2613" h="4819498">
                <a:moveTo>
                  <a:pt x="0" y="0"/>
                </a:moveTo>
                <a:lnTo>
                  <a:pt x="6091098" y="0"/>
                </a:lnTo>
                <a:lnTo>
                  <a:pt x="6091098" y="2492653"/>
                </a:lnTo>
                <a:lnTo>
                  <a:pt x="6542613" y="4819498"/>
                </a:lnTo>
                <a:lnTo>
                  <a:pt x="0" y="4819498"/>
                </a:lnTo>
                <a:lnTo>
                  <a:pt x="0" y="0"/>
                </a:lnTo>
                <a:close/>
              </a:path>
            </a:pathLst>
          </a:custGeom>
          <a:solidFill>
            <a:srgbClr val="BCC7D3">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1" name="Straight Connector 10">
            <a:extLst>
              <a:ext uri="{FF2B5EF4-FFF2-40B4-BE49-F238E27FC236}">
                <a16:creationId xmlns:a16="http://schemas.microsoft.com/office/drawing/2014/main" id="{3880D358-DF44-F0EC-6C5E-57DA4E346EE7}"/>
              </a:ext>
            </a:extLst>
          </p:cNvPr>
          <p:cNvCxnSpPr>
            <a:cxnSpLocks/>
          </p:cNvCxnSpPr>
          <p:nvPr/>
        </p:nvCxnSpPr>
        <p:spPr>
          <a:xfrm>
            <a:off x="301281" y="3905447"/>
            <a:ext cx="11652422" cy="0"/>
          </a:xfrm>
          <a:prstGeom prst="line">
            <a:avLst/>
          </a:prstGeom>
        </p:spPr>
        <p:style>
          <a:lnRef idx="1">
            <a:schemeClr val="dk1"/>
          </a:lnRef>
          <a:fillRef idx="0">
            <a:schemeClr val="dk1"/>
          </a:fillRef>
          <a:effectRef idx="0">
            <a:schemeClr val="dk1"/>
          </a:effectRef>
          <a:fontRef idx="minor">
            <a:schemeClr val="tx1"/>
          </a:fontRef>
        </p:style>
      </p:cxnSp>
      <p:sp>
        <p:nvSpPr>
          <p:cNvPr id="3" name="Title 2">
            <a:extLst>
              <a:ext uri="{FF2B5EF4-FFF2-40B4-BE49-F238E27FC236}">
                <a16:creationId xmlns:a16="http://schemas.microsoft.com/office/drawing/2014/main" id="{DBF20C00-3DC4-9C1E-D77F-5C3D5DD3092B}"/>
              </a:ext>
            </a:extLst>
          </p:cNvPr>
          <p:cNvSpPr>
            <a:spLocks noGrp="1"/>
          </p:cNvSpPr>
          <p:nvPr>
            <p:ph type="title"/>
          </p:nvPr>
        </p:nvSpPr>
        <p:spPr>
          <a:xfrm>
            <a:off x="608815" y="215270"/>
            <a:ext cx="10138207" cy="676989"/>
          </a:xfrm>
        </p:spPr>
        <p:txBody>
          <a:bodyPr vert="horz">
            <a:normAutofit/>
          </a:bodyPr>
          <a:lstStyle/>
          <a:p>
            <a:r>
              <a:rPr lang="en-US" dirty="0"/>
              <a:t>A Well-Balanced and Well-Positioned Growth Portfolio</a:t>
            </a:r>
          </a:p>
        </p:txBody>
      </p:sp>
      <p:sp>
        <p:nvSpPr>
          <p:cNvPr id="13" name="TextBox 12">
            <a:extLst>
              <a:ext uri="{FF2B5EF4-FFF2-40B4-BE49-F238E27FC236}">
                <a16:creationId xmlns:a16="http://schemas.microsoft.com/office/drawing/2014/main" id="{12C8DE19-54C7-E471-6EB6-6DE17B35CC49}"/>
              </a:ext>
            </a:extLst>
          </p:cNvPr>
          <p:cNvSpPr txBox="1"/>
          <p:nvPr/>
        </p:nvSpPr>
        <p:spPr>
          <a:xfrm>
            <a:off x="738247" y="984869"/>
            <a:ext cx="5389245" cy="326512"/>
          </a:xfrm>
          <a:prstGeom prst="rect">
            <a:avLst/>
          </a:prstGeom>
          <a:noFill/>
        </p:spPr>
        <p:txBody>
          <a:bodyPr wrap="square">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246"/>
                </a:solidFill>
                <a:effectLst/>
                <a:uLnTx/>
                <a:uFillTx/>
                <a:latin typeface="Arial" panose="020B0604020202020204" pitchFamily="34" charset="0"/>
                <a:ea typeface="+mn-ea"/>
                <a:cs typeface="Arial" panose="020B0604020202020204" pitchFamily="34" charset="0"/>
              </a:rPr>
              <a:t>CONSUMER &amp; SPECIALTIES</a:t>
            </a:r>
          </a:p>
        </p:txBody>
      </p:sp>
      <p:sp>
        <p:nvSpPr>
          <p:cNvPr id="14" name="TextBox 13">
            <a:extLst>
              <a:ext uri="{FF2B5EF4-FFF2-40B4-BE49-F238E27FC236}">
                <a16:creationId xmlns:a16="http://schemas.microsoft.com/office/drawing/2014/main" id="{2780F20C-ED9F-F5C1-3B14-2FD597092893}"/>
              </a:ext>
            </a:extLst>
          </p:cNvPr>
          <p:cNvSpPr txBox="1"/>
          <p:nvPr/>
        </p:nvSpPr>
        <p:spPr>
          <a:xfrm>
            <a:off x="6127492" y="984869"/>
            <a:ext cx="5389245" cy="326512"/>
          </a:xfrm>
          <a:prstGeom prst="rect">
            <a:avLst/>
          </a:prstGeom>
          <a:noFill/>
        </p:spPr>
        <p:txBody>
          <a:bodyPr wrap="square">
            <a:spAutoFit/>
          </a:bodyPr>
          <a:lstStyle/>
          <a:p>
            <a:pPr marL="0" marR="0" lvl="0" indent="0" algn="r" defTabSz="6858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246"/>
                </a:solidFill>
                <a:effectLst/>
                <a:uLnTx/>
                <a:uFillTx/>
                <a:latin typeface="Arial" panose="020B0604020202020204" pitchFamily="34" charset="0"/>
                <a:ea typeface="+mn-ea"/>
                <a:cs typeface="Arial" panose="020B0604020202020204" pitchFamily="34" charset="0"/>
              </a:rPr>
              <a:t>ENGINEERED SOLUTIONS</a:t>
            </a:r>
          </a:p>
        </p:txBody>
      </p:sp>
      <p:sp>
        <p:nvSpPr>
          <p:cNvPr id="15" name="Rectangle 14">
            <a:extLst>
              <a:ext uri="{FF2B5EF4-FFF2-40B4-BE49-F238E27FC236}">
                <a16:creationId xmlns:a16="http://schemas.microsoft.com/office/drawing/2014/main" id="{D33BFEDA-7F4E-1D94-5444-79A107E632DE}"/>
              </a:ext>
            </a:extLst>
          </p:cNvPr>
          <p:cNvSpPr/>
          <p:nvPr/>
        </p:nvSpPr>
        <p:spPr>
          <a:xfrm>
            <a:off x="458032" y="5533804"/>
            <a:ext cx="4136569" cy="277195"/>
          </a:xfrm>
          <a:prstGeom prst="rect">
            <a:avLst/>
          </a:prstGeom>
          <a:solidFill>
            <a:srgbClr val="39506F"/>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L="0" marR="0" lvl="0" indent="0" algn="just" defTabSz="914400" rtl="0" eaLnBrk="1" fontAlgn="auto" latinLnBrk="0" hangingPunct="1">
              <a:lnSpc>
                <a:spcPct val="9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8" name="Group 17">
            <a:extLst>
              <a:ext uri="{FF2B5EF4-FFF2-40B4-BE49-F238E27FC236}">
                <a16:creationId xmlns:a16="http://schemas.microsoft.com/office/drawing/2014/main" id="{87BB353D-15AE-D4B5-1871-2DAEE96FA22C}"/>
              </a:ext>
            </a:extLst>
          </p:cNvPr>
          <p:cNvGrpSpPr/>
          <p:nvPr/>
        </p:nvGrpSpPr>
        <p:grpSpPr>
          <a:xfrm>
            <a:off x="7747125" y="5401766"/>
            <a:ext cx="436966" cy="436966"/>
            <a:chOff x="2629743" y="-305070"/>
            <a:chExt cx="878442" cy="878442"/>
          </a:xfrm>
        </p:grpSpPr>
        <p:sp>
          <p:nvSpPr>
            <p:cNvPr id="19" name="Oval 18">
              <a:extLst>
                <a:ext uri="{FF2B5EF4-FFF2-40B4-BE49-F238E27FC236}">
                  <a16:creationId xmlns:a16="http://schemas.microsoft.com/office/drawing/2014/main" id="{43239F0C-0AEB-6672-A37F-FEDA0BF90005}"/>
                </a:ext>
              </a:extLst>
            </p:cNvPr>
            <p:cNvSpPr/>
            <p:nvPr/>
          </p:nvSpPr>
          <p:spPr>
            <a:xfrm>
              <a:off x="2629743" y="-305070"/>
              <a:ext cx="878442" cy="878442"/>
            </a:xfrm>
            <a:prstGeom prst="ellipse">
              <a:avLst/>
            </a:prstGeom>
            <a:solidFill>
              <a:srgbClr val="5374A1"/>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F1EC4398-F28C-7136-B884-CD5ADC18AE98}"/>
                </a:ext>
              </a:extLst>
            </p:cNvPr>
            <p:cNvGrpSpPr/>
            <p:nvPr/>
          </p:nvGrpSpPr>
          <p:grpSpPr>
            <a:xfrm>
              <a:off x="2825378" y="-232724"/>
              <a:ext cx="487173" cy="694063"/>
              <a:chOff x="4539014" y="-1405909"/>
              <a:chExt cx="487173" cy="694063"/>
            </a:xfrm>
            <a:solidFill>
              <a:schemeClr val="bg1"/>
            </a:solidFill>
          </p:grpSpPr>
          <p:sp>
            <p:nvSpPr>
              <p:cNvPr id="21" name="Freeform 21">
                <a:extLst>
                  <a:ext uri="{FF2B5EF4-FFF2-40B4-BE49-F238E27FC236}">
                    <a16:creationId xmlns:a16="http://schemas.microsoft.com/office/drawing/2014/main" id="{68739E45-A7EF-85B3-A3BC-9860F7C46182}"/>
                  </a:ext>
                </a:extLst>
              </p:cNvPr>
              <p:cNvSpPr/>
              <p:nvPr/>
            </p:nvSpPr>
            <p:spPr>
              <a:xfrm>
                <a:off x="4539014" y="-1405909"/>
                <a:ext cx="487173" cy="694063"/>
              </a:xfrm>
              <a:custGeom>
                <a:avLst/>
                <a:gdLst>
                  <a:gd name="connsiteX0" fmla="*/ 243682 w 487173"/>
                  <a:gd name="connsiteY0" fmla="*/ 693969 h 694063"/>
                  <a:gd name="connsiteX1" fmla="*/ 0 w 487173"/>
                  <a:gd name="connsiteY1" fmla="*/ 451854 h 694063"/>
                  <a:gd name="connsiteX2" fmla="*/ 45981 w 487173"/>
                  <a:gd name="connsiteY2" fmla="*/ 310361 h 694063"/>
                  <a:gd name="connsiteX3" fmla="*/ 47501 w 487173"/>
                  <a:gd name="connsiteY3" fmla="*/ 304980 h 694063"/>
                  <a:gd name="connsiteX4" fmla="*/ 240357 w 487173"/>
                  <a:gd name="connsiteY4" fmla="*/ 4342 h 694063"/>
                  <a:gd name="connsiteX5" fmla="*/ 248432 w 487173"/>
                  <a:gd name="connsiteY5" fmla="*/ 0 h 694063"/>
                  <a:gd name="connsiteX6" fmla="*/ 256412 w 487173"/>
                  <a:gd name="connsiteY6" fmla="*/ 4531 h 694063"/>
                  <a:gd name="connsiteX7" fmla="*/ 463423 w 487173"/>
                  <a:gd name="connsiteY7" fmla="*/ 343870 h 694063"/>
                  <a:gd name="connsiteX8" fmla="*/ 464658 w 487173"/>
                  <a:gd name="connsiteY8" fmla="*/ 350288 h 694063"/>
                  <a:gd name="connsiteX9" fmla="*/ 487173 w 487173"/>
                  <a:gd name="connsiteY9" fmla="*/ 451948 h 694063"/>
                  <a:gd name="connsiteX10" fmla="*/ 243492 w 487173"/>
                  <a:gd name="connsiteY10" fmla="*/ 694064 h 694063"/>
                  <a:gd name="connsiteX11" fmla="*/ 67357 w 487173"/>
                  <a:gd name="connsiteY11" fmla="*/ 309133 h 694063"/>
                  <a:gd name="connsiteX12" fmla="*/ 65457 w 487173"/>
                  <a:gd name="connsiteY12" fmla="*/ 316024 h 694063"/>
                  <a:gd name="connsiteX13" fmla="*/ 19001 w 487173"/>
                  <a:gd name="connsiteY13" fmla="*/ 451854 h 694063"/>
                  <a:gd name="connsiteX14" fmla="*/ 243682 w 487173"/>
                  <a:gd name="connsiteY14" fmla="*/ 675091 h 694063"/>
                  <a:gd name="connsiteX15" fmla="*/ 468363 w 487173"/>
                  <a:gd name="connsiteY15" fmla="*/ 451854 h 694063"/>
                  <a:gd name="connsiteX16" fmla="*/ 444992 w 487173"/>
                  <a:gd name="connsiteY16" fmla="*/ 352743 h 694063"/>
                  <a:gd name="connsiteX17" fmla="*/ 444042 w 487173"/>
                  <a:gd name="connsiteY17" fmla="*/ 348117 h 694063"/>
                  <a:gd name="connsiteX18" fmla="*/ 248242 w 487173"/>
                  <a:gd name="connsiteY18" fmla="*/ 27279 h 694063"/>
                  <a:gd name="connsiteX19" fmla="*/ 67357 w 487173"/>
                  <a:gd name="connsiteY19" fmla="*/ 309133 h 69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7173" h="694063">
                    <a:moveTo>
                      <a:pt x="243682" y="693969"/>
                    </a:moveTo>
                    <a:cubicBezTo>
                      <a:pt x="109348" y="693969"/>
                      <a:pt x="0" y="585324"/>
                      <a:pt x="0" y="451854"/>
                    </a:cubicBezTo>
                    <a:cubicBezTo>
                      <a:pt x="0" y="400505"/>
                      <a:pt x="15865" y="351704"/>
                      <a:pt x="45981" y="310361"/>
                    </a:cubicBezTo>
                    <a:cubicBezTo>
                      <a:pt x="45981" y="308473"/>
                      <a:pt x="46456" y="306585"/>
                      <a:pt x="47501" y="304980"/>
                    </a:cubicBezTo>
                    <a:lnTo>
                      <a:pt x="240357" y="4342"/>
                    </a:lnTo>
                    <a:cubicBezTo>
                      <a:pt x="242162" y="1605"/>
                      <a:pt x="245202" y="189"/>
                      <a:pt x="248432" y="0"/>
                    </a:cubicBezTo>
                    <a:cubicBezTo>
                      <a:pt x="251757" y="0"/>
                      <a:pt x="254702" y="1793"/>
                      <a:pt x="256412" y="4531"/>
                    </a:cubicBezTo>
                    <a:lnTo>
                      <a:pt x="463423" y="343870"/>
                    </a:lnTo>
                    <a:cubicBezTo>
                      <a:pt x="464563" y="345852"/>
                      <a:pt x="465038" y="348117"/>
                      <a:pt x="464658" y="350288"/>
                    </a:cubicBezTo>
                    <a:cubicBezTo>
                      <a:pt x="479573" y="382287"/>
                      <a:pt x="487173" y="416457"/>
                      <a:pt x="487173" y="451948"/>
                    </a:cubicBezTo>
                    <a:cubicBezTo>
                      <a:pt x="487173" y="585419"/>
                      <a:pt x="377825" y="694064"/>
                      <a:pt x="243492" y="694064"/>
                    </a:cubicBezTo>
                    <a:close/>
                    <a:moveTo>
                      <a:pt x="67357" y="309133"/>
                    </a:moveTo>
                    <a:cubicBezTo>
                      <a:pt x="67642" y="311588"/>
                      <a:pt x="66977" y="314042"/>
                      <a:pt x="65457" y="316024"/>
                    </a:cubicBezTo>
                    <a:cubicBezTo>
                      <a:pt x="35056" y="355291"/>
                      <a:pt x="19001" y="402298"/>
                      <a:pt x="19001" y="451854"/>
                    </a:cubicBezTo>
                    <a:cubicBezTo>
                      <a:pt x="19001" y="574941"/>
                      <a:pt x="119798" y="675091"/>
                      <a:pt x="243682" y="675091"/>
                    </a:cubicBezTo>
                    <a:cubicBezTo>
                      <a:pt x="367565" y="675091"/>
                      <a:pt x="468363" y="574941"/>
                      <a:pt x="468363" y="451854"/>
                    </a:cubicBezTo>
                    <a:cubicBezTo>
                      <a:pt x="468363" y="417118"/>
                      <a:pt x="460478" y="383703"/>
                      <a:pt x="444992" y="352743"/>
                    </a:cubicBezTo>
                    <a:cubicBezTo>
                      <a:pt x="444232" y="351327"/>
                      <a:pt x="443947" y="349722"/>
                      <a:pt x="444042" y="348117"/>
                    </a:cubicBezTo>
                    <a:lnTo>
                      <a:pt x="248242" y="27279"/>
                    </a:lnTo>
                    <a:lnTo>
                      <a:pt x="67357" y="309133"/>
                    </a:ln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Freeform 22">
                <a:extLst>
                  <a:ext uri="{FF2B5EF4-FFF2-40B4-BE49-F238E27FC236}">
                    <a16:creationId xmlns:a16="http://schemas.microsoft.com/office/drawing/2014/main" id="{5CFA226E-3112-FA71-56CE-254838515CC4}"/>
                  </a:ext>
                </a:extLst>
              </p:cNvPr>
              <p:cNvSpPr/>
              <p:nvPr/>
            </p:nvSpPr>
            <p:spPr>
              <a:xfrm>
                <a:off x="4794855" y="-969158"/>
                <a:ext cx="148869" cy="157068"/>
              </a:xfrm>
              <a:custGeom>
                <a:avLst/>
                <a:gdLst>
                  <a:gd name="connsiteX0" fmla="*/ 17290 w 148869"/>
                  <a:gd name="connsiteY0" fmla="*/ 157068 h 157068"/>
                  <a:gd name="connsiteX1" fmla="*/ 0 w 148869"/>
                  <a:gd name="connsiteY1" fmla="*/ 155935 h 157068"/>
                  <a:gd name="connsiteX2" fmla="*/ 2470 w 148869"/>
                  <a:gd name="connsiteY2" fmla="*/ 137246 h 157068"/>
                  <a:gd name="connsiteX3" fmla="*/ 17290 w 148869"/>
                  <a:gd name="connsiteY3" fmla="*/ 138190 h 157068"/>
                  <a:gd name="connsiteX4" fmla="*/ 129869 w 148869"/>
                  <a:gd name="connsiteY4" fmla="*/ 26335 h 157068"/>
                  <a:gd name="connsiteX5" fmla="*/ 127588 w 148869"/>
                  <a:gd name="connsiteY5" fmla="*/ 3776 h 157068"/>
                  <a:gd name="connsiteX6" fmla="*/ 146209 w 148869"/>
                  <a:gd name="connsiteY6" fmla="*/ 0 h 157068"/>
                  <a:gd name="connsiteX7" fmla="*/ 148869 w 148869"/>
                  <a:gd name="connsiteY7" fmla="*/ 26335 h 157068"/>
                  <a:gd name="connsiteX8" fmla="*/ 17290 w 148869"/>
                  <a:gd name="connsiteY8" fmla="*/ 157068 h 15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69" h="157068">
                    <a:moveTo>
                      <a:pt x="17290" y="157068"/>
                    </a:moveTo>
                    <a:cubicBezTo>
                      <a:pt x="11495" y="157068"/>
                      <a:pt x="5700" y="156691"/>
                      <a:pt x="0" y="155935"/>
                    </a:cubicBezTo>
                    <a:lnTo>
                      <a:pt x="2470" y="137246"/>
                    </a:lnTo>
                    <a:cubicBezTo>
                      <a:pt x="7315" y="137907"/>
                      <a:pt x="12350" y="138190"/>
                      <a:pt x="17290" y="138190"/>
                    </a:cubicBezTo>
                    <a:cubicBezTo>
                      <a:pt x="79422" y="138190"/>
                      <a:pt x="129869" y="87973"/>
                      <a:pt x="129869" y="26335"/>
                    </a:cubicBezTo>
                    <a:cubicBezTo>
                      <a:pt x="129869" y="18784"/>
                      <a:pt x="129109" y="11138"/>
                      <a:pt x="127588" y="3776"/>
                    </a:cubicBezTo>
                    <a:lnTo>
                      <a:pt x="146209" y="0"/>
                    </a:lnTo>
                    <a:cubicBezTo>
                      <a:pt x="148014" y="8590"/>
                      <a:pt x="148869" y="17462"/>
                      <a:pt x="148869" y="26335"/>
                    </a:cubicBezTo>
                    <a:cubicBezTo>
                      <a:pt x="148869" y="98451"/>
                      <a:pt x="89872" y="157068"/>
                      <a:pt x="17290" y="157068"/>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30" name="Rectangle 29">
            <a:extLst>
              <a:ext uri="{FF2B5EF4-FFF2-40B4-BE49-F238E27FC236}">
                <a16:creationId xmlns:a16="http://schemas.microsoft.com/office/drawing/2014/main" id="{5CD951A7-214C-B039-3597-BF5917303923}"/>
              </a:ext>
            </a:extLst>
          </p:cNvPr>
          <p:cNvSpPr/>
          <p:nvPr/>
        </p:nvSpPr>
        <p:spPr>
          <a:xfrm>
            <a:off x="458032" y="2116469"/>
            <a:ext cx="4136569" cy="277195"/>
          </a:xfrm>
          <a:prstGeom prst="rect">
            <a:avLst/>
          </a:prstGeom>
          <a:solidFill>
            <a:srgbClr val="39506F"/>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1" name="Group 30">
            <a:extLst>
              <a:ext uri="{FF2B5EF4-FFF2-40B4-BE49-F238E27FC236}">
                <a16:creationId xmlns:a16="http://schemas.microsoft.com/office/drawing/2014/main" id="{B79DE032-FF7F-167D-202C-5813084EED6D}"/>
              </a:ext>
            </a:extLst>
          </p:cNvPr>
          <p:cNvGrpSpPr/>
          <p:nvPr/>
        </p:nvGrpSpPr>
        <p:grpSpPr>
          <a:xfrm>
            <a:off x="528962" y="1956698"/>
            <a:ext cx="436966" cy="436966"/>
            <a:chOff x="5015057" y="-246215"/>
            <a:chExt cx="878442" cy="878442"/>
          </a:xfrm>
        </p:grpSpPr>
        <p:sp>
          <p:nvSpPr>
            <p:cNvPr id="32" name="Oval 31">
              <a:extLst>
                <a:ext uri="{FF2B5EF4-FFF2-40B4-BE49-F238E27FC236}">
                  <a16:creationId xmlns:a16="http://schemas.microsoft.com/office/drawing/2014/main" id="{7FD6210E-533A-8C42-90E8-B5C942678CDD}"/>
                </a:ext>
              </a:extLst>
            </p:cNvPr>
            <p:cNvSpPr/>
            <p:nvPr/>
          </p:nvSpPr>
          <p:spPr>
            <a:xfrm>
              <a:off x="5015057" y="-246215"/>
              <a:ext cx="878442" cy="878442"/>
            </a:xfrm>
            <a:prstGeom prst="ellipse">
              <a:avLst/>
            </a:prstGeom>
            <a:solidFill>
              <a:srgbClr val="39506F"/>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Graphic 15">
              <a:extLst>
                <a:ext uri="{FF2B5EF4-FFF2-40B4-BE49-F238E27FC236}">
                  <a16:creationId xmlns:a16="http://schemas.microsoft.com/office/drawing/2014/main" id="{F2A65626-2A12-FC5F-6EE9-2BD0CF155FFC}"/>
                </a:ext>
              </a:extLst>
            </p:cNvPr>
            <p:cNvSpPr/>
            <p:nvPr/>
          </p:nvSpPr>
          <p:spPr>
            <a:xfrm>
              <a:off x="5115548" y="-164588"/>
              <a:ext cx="687723" cy="687456"/>
            </a:xfrm>
            <a:custGeom>
              <a:avLst/>
              <a:gdLst>
                <a:gd name="connsiteX0" fmla="*/ 578756 w 687723"/>
                <a:gd name="connsiteY0" fmla="*/ 687456 h 687456"/>
                <a:gd name="connsiteX1" fmla="*/ 399296 w 687723"/>
                <a:gd name="connsiteY1" fmla="*/ 687456 h 687456"/>
                <a:gd name="connsiteX2" fmla="*/ 399296 w 687723"/>
                <a:gd name="connsiteY2" fmla="*/ 527368 h 687456"/>
                <a:gd name="connsiteX3" fmla="*/ 288428 w 687723"/>
                <a:gd name="connsiteY3" fmla="*/ 527368 h 687456"/>
                <a:gd name="connsiteX4" fmla="*/ 288428 w 687723"/>
                <a:gd name="connsiteY4" fmla="*/ 687456 h 687456"/>
                <a:gd name="connsiteX5" fmla="*/ 108968 w 687723"/>
                <a:gd name="connsiteY5" fmla="*/ 687456 h 687456"/>
                <a:gd name="connsiteX6" fmla="*/ 108968 w 687723"/>
                <a:gd name="connsiteY6" fmla="*/ 326218 h 687456"/>
                <a:gd name="connsiteX7" fmla="*/ 0 w 687723"/>
                <a:gd name="connsiteY7" fmla="*/ 326218 h 687456"/>
                <a:gd name="connsiteX8" fmla="*/ 343909 w 687723"/>
                <a:gd name="connsiteY8" fmla="*/ 0 h 687456"/>
                <a:gd name="connsiteX9" fmla="*/ 687724 w 687723"/>
                <a:gd name="connsiteY9" fmla="*/ 326124 h 687456"/>
                <a:gd name="connsiteX10" fmla="*/ 578756 w 687723"/>
                <a:gd name="connsiteY10" fmla="*/ 326124 h 687456"/>
                <a:gd name="connsiteX11" fmla="*/ 578756 w 687723"/>
                <a:gd name="connsiteY11" fmla="*/ 687362 h 687456"/>
                <a:gd name="connsiteX12" fmla="*/ 418296 w 687723"/>
                <a:gd name="connsiteY12" fmla="*/ 668578 h 687456"/>
                <a:gd name="connsiteX13" fmla="*/ 559755 w 687723"/>
                <a:gd name="connsiteY13" fmla="*/ 668578 h 687456"/>
                <a:gd name="connsiteX14" fmla="*/ 559755 w 687723"/>
                <a:gd name="connsiteY14" fmla="*/ 307340 h 687456"/>
                <a:gd name="connsiteX15" fmla="*/ 640318 w 687723"/>
                <a:gd name="connsiteY15" fmla="*/ 307340 h 687456"/>
                <a:gd name="connsiteX16" fmla="*/ 343909 w 687723"/>
                <a:gd name="connsiteY16" fmla="*/ 26147 h 687456"/>
                <a:gd name="connsiteX17" fmla="*/ 47501 w 687723"/>
                <a:gd name="connsiteY17" fmla="*/ 307340 h 687456"/>
                <a:gd name="connsiteX18" fmla="*/ 128063 w 687723"/>
                <a:gd name="connsiteY18" fmla="*/ 307340 h 687456"/>
                <a:gd name="connsiteX19" fmla="*/ 128063 w 687723"/>
                <a:gd name="connsiteY19" fmla="*/ 668578 h 687456"/>
                <a:gd name="connsiteX20" fmla="*/ 269522 w 687723"/>
                <a:gd name="connsiteY20" fmla="*/ 668578 h 687456"/>
                <a:gd name="connsiteX21" fmla="*/ 269522 w 687723"/>
                <a:gd name="connsiteY21" fmla="*/ 508489 h 687456"/>
                <a:gd name="connsiteX22" fmla="*/ 418392 w 687723"/>
                <a:gd name="connsiteY22" fmla="*/ 508489 h 687456"/>
                <a:gd name="connsiteX23" fmla="*/ 418392 w 687723"/>
                <a:gd name="connsiteY23" fmla="*/ 668578 h 68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7723" h="687456">
                  <a:moveTo>
                    <a:pt x="578756" y="687456"/>
                  </a:moveTo>
                  <a:lnTo>
                    <a:pt x="399296" y="687456"/>
                  </a:lnTo>
                  <a:lnTo>
                    <a:pt x="399296" y="527368"/>
                  </a:lnTo>
                  <a:lnTo>
                    <a:pt x="288428" y="527368"/>
                  </a:lnTo>
                  <a:lnTo>
                    <a:pt x="288428" y="687456"/>
                  </a:lnTo>
                  <a:lnTo>
                    <a:pt x="108968" y="687456"/>
                  </a:lnTo>
                  <a:lnTo>
                    <a:pt x="108968" y="326218"/>
                  </a:lnTo>
                  <a:lnTo>
                    <a:pt x="0" y="326218"/>
                  </a:lnTo>
                  <a:lnTo>
                    <a:pt x="343909" y="0"/>
                  </a:lnTo>
                  <a:lnTo>
                    <a:pt x="687724" y="326124"/>
                  </a:lnTo>
                  <a:lnTo>
                    <a:pt x="578756" y="326124"/>
                  </a:lnTo>
                  <a:lnTo>
                    <a:pt x="578756" y="687362"/>
                  </a:lnTo>
                  <a:close/>
                  <a:moveTo>
                    <a:pt x="418296" y="668578"/>
                  </a:moveTo>
                  <a:lnTo>
                    <a:pt x="559755" y="668578"/>
                  </a:lnTo>
                  <a:lnTo>
                    <a:pt x="559755" y="307340"/>
                  </a:lnTo>
                  <a:lnTo>
                    <a:pt x="640318" y="307340"/>
                  </a:lnTo>
                  <a:lnTo>
                    <a:pt x="343909" y="26147"/>
                  </a:lnTo>
                  <a:lnTo>
                    <a:pt x="47501" y="307340"/>
                  </a:lnTo>
                  <a:lnTo>
                    <a:pt x="128063" y="307340"/>
                  </a:lnTo>
                  <a:lnTo>
                    <a:pt x="128063" y="668578"/>
                  </a:lnTo>
                  <a:lnTo>
                    <a:pt x="269522" y="668578"/>
                  </a:lnTo>
                  <a:lnTo>
                    <a:pt x="269522" y="508489"/>
                  </a:lnTo>
                  <a:lnTo>
                    <a:pt x="418392" y="508489"/>
                  </a:lnTo>
                  <a:lnTo>
                    <a:pt x="418392" y="668578"/>
                  </a:lnTo>
                  <a:close/>
                </a:path>
              </a:pathLst>
            </a:custGeom>
            <a:solidFill>
              <a:schemeClr val="bg1"/>
            </a:solid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6" name="Group 45">
            <a:extLst>
              <a:ext uri="{FF2B5EF4-FFF2-40B4-BE49-F238E27FC236}">
                <a16:creationId xmlns:a16="http://schemas.microsoft.com/office/drawing/2014/main" id="{57FFDF25-D84F-E181-3E9E-291FD6C814CA}"/>
              </a:ext>
            </a:extLst>
          </p:cNvPr>
          <p:cNvGrpSpPr/>
          <p:nvPr/>
        </p:nvGrpSpPr>
        <p:grpSpPr>
          <a:xfrm>
            <a:off x="524801" y="5381654"/>
            <a:ext cx="436966" cy="436966"/>
            <a:chOff x="909066" y="3867064"/>
            <a:chExt cx="457200" cy="457200"/>
          </a:xfrm>
        </p:grpSpPr>
        <p:sp>
          <p:nvSpPr>
            <p:cNvPr id="40" name="Oval 39">
              <a:extLst>
                <a:ext uri="{FF2B5EF4-FFF2-40B4-BE49-F238E27FC236}">
                  <a16:creationId xmlns:a16="http://schemas.microsoft.com/office/drawing/2014/main" id="{C4AA2C61-C3C2-AA4C-EC93-19E989482AD3}"/>
                </a:ext>
              </a:extLst>
            </p:cNvPr>
            <p:cNvSpPr/>
            <p:nvPr/>
          </p:nvSpPr>
          <p:spPr>
            <a:xfrm>
              <a:off x="909066" y="3867064"/>
              <a:ext cx="457200" cy="457200"/>
            </a:xfrm>
            <a:prstGeom prst="ellipse">
              <a:avLst/>
            </a:prstGeom>
            <a:solidFill>
              <a:srgbClr val="39506F"/>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1" name="Group 40">
              <a:extLst>
                <a:ext uri="{FF2B5EF4-FFF2-40B4-BE49-F238E27FC236}">
                  <a16:creationId xmlns:a16="http://schemas.microsoft.com/office/drawing/2014/main" id="{9CE8C253-909B-88F6-2F3F-813D0BE0D55C}"/>
                </a:ext>
              </a:extLst>
            </p:cNvPr>
            <p:cNvGrpSpPr/>
            <p:nvPr/>
          </p:nvGrpSpPr>
          <p:grpSpPr>
            <a:xfrm>
              <a:off x="1014695" y="3925889"/>
              <a:ext cx="262533" cy="327049"/>
              <a:chOff x="10740971" y="1032467"/>
              <a:chExt cx="276939" cy="344995"/>
            </a:xfrm>
            <a:solidFill>
              <a:schemeClr val="bg1"/>
            </a:solidFill>
          </p:grpSpPr>
          <p:sp>
            <p:nvSpPr>
              <p:cNvPr id="42" name="Freeform 119">
                <a:extLst>
                  <a:ext uri="{FF2B5EF4-FFF2-40B4-BE49-F238E27FC236}">
                    <a16:creationId xmlns:a16="http://schemas.microsoft.com/office/drawing/2014/main" id="{CE721BFC-F853-B9A6-6505-71D2C546E9E2}"/>
                  </a:ext>
                </a:extLst>
              </p:cNvPr>
              <p:cNvSpPr/>
              <p:nvPr/>
            </p:nvSpPr>
            <p:spPr>
              <a:xfrm>
                <a:off x="10740971" y="1032467"/>
                <a:ext cx="276939" cy="344995"/>
              </a:xfrm>
              <a:custGeom>
                <a:avLst/>
                <a:gdLst>
                  <a:gd name="connsiteX0" fmla="*/ 102477 w 276939"/>
                  <a:gd name="connsiteY0" fmla="*/ 11240 h 344995"/>
                  <a:gd name="connsiteX1" fmla="*/ 94204 w 276939"/>
                  <a:gd name="connsiteY1" fmla="*/ 19622 h 344995"/>
                  <a:gd name="connsiteX2" fmla="*/ 94204 w 276939"/>
                  <a:gd name="connsiteY2" fmla="*/ 33338 h 344995"/>
                  <a:gd name="connsiteX3" fmla="*/ 96677 w 276939"/>
                  <a:gd name="connsiteY3" fmla="*/ 39243 h 344995"/>
                  <a:gd name="connsiteX4" fmla="*/ 105140 w 276939"/>
                  <a:gd name="connsiteY4" fmla="*/ 47816 h 344995"/>
                  <a:gd name="connsiteX5" fmla="*/ 110845 w 276939"/>
                  <a:gd name="connsiteY5" fmla="*/ 61627 h 344995"/>
                  <a:gd name="connsiteX6" fmla="*/ 110845 w 276939"/>
                  <a:gd name="connsiteY6" fmla="*/ 150400 h 344995"/>
                  <a:gd name="connsiteX7" fmla="*/ 103048 w 276939"/>
                  <a:gd name="connsiteY7" fmla="*/ 173831 h 344995"/>
                  <a:gd name="connsiteX8" fmla="*/ 16799 w 276939"/>
                  <a:gd name="connsiteY8" fmla="*/ 288988 h 344995"/>
                  <a:gd name="connsiteX9" fmla="*/ 14137 w 276939"/>
                  <a:gd name="connsiteY9" fmla="*/ 318421 h 344995"/>
                  <a:gd name="connsiteX10" fmla="*/ 39241 w 276939"/>
                  <a:gd name="connsiteY10" fmla="*/ 333947 h 344995"/>
                  <a:gd name="connsiteX11" fmla="*/ 237793 w 276939"/>
                  <a:gd name="connsiteY11" fmla="*/ 333947 h 344995"/>
                  <a:gd name="connsiteX12" fmla="*/ 262897 w 276939"/>
                  <a:gd name="connsiteY12" fmla="*/ 318421 h 344995"/>
                  <a:gd name="connsiteX13" fmla="*/ 260235 w 276939"/>
                  <a:gd name="connsiteY13" fmla="*/ 288988 h 344995"/>
                  <a:gd name="connsiteX14" fmla="*/ 173986 w 276939"/>
                  <a:gd name="connsiteY14" fmla="*/ 173831 h 344995"/>
                  <a:gd name="connsiteX15" fmla="*/ 166189 w 276939"/>
                  <a:gd name="connsiteY15" fmla="*/ 150400 h 344995"/>
                  <a:gd name="connsiteX16" fmla="*/ 166189 w 276939"/>
                  <a:gd name="connsiteY16" fmla="*/ 61627 h 344995"/>
                  <a:gd name="connsiteX17" fmla="*/ 171894 w 276939"/>
                  <a:gd name="connsiteY17" fmla="*/ 47816 h 344995"/>
                  <a:gd name="connsiteX18" fmla="*/ 180357 w 276939"/>
                  <a:gd name="connsiteY18" fmla="*/ 39243 h 344995"/>
                  <a:gd name="connsiteX19" fmla="*/ 182830 w 276939"/>
                  <a:gd name="connsiteY19" fmla="*/ 33338 h 344995"/>
                  <a:gd name="connsiteX20" fmla="*/ 182830 w 276939"/>
                  <a:gd name="connsiteY20" fmla="*/ 19622 h 344995"/>
                  <a:gd name="connsiteX21" fmla="*/ 174557 w 276939"/>
                  <a:gd name="connsiteY21" fmla="*/ 11240 h 344995"/>
                  <a:gd name="connsiteX22" fmla="*/ 102572 w 276939"/>
                  <a:gd name="connsiteY22" fmla="*/ 11240 h 344995"/>
                  <a:gd name="connsiteX23" fmla="*/ 237698 w 276939"/>
                  <a:gd name="connsiteY23" fmla="*/ 344996 h 344995"/>
                  <a:gd name="connsiteX24" fmla="*/ 39146 w 276939"/>
                  <a:gd name="connsiteY24" fmla="*/ 344996 h 344995"/>
                  <a:gd name="connsiteX25" fmla="*/ 4152 w 276939"/>
                  <a:gd name="connsiteY25" fmla="*/ 323279 h 344995"/>
                  <a:gd name="connsiteX26" fmla="*/ 7861 w 276939"/>
                  <a:gd name="connsiteY26" fmla="*/ 282131 h 344995"/>
                  <a:gd name="connsiteX27" fmla="*/ 94109 w 276939"/>
                  <a:gd name="connsiteY27" fmla="*/ 166973 h 344995"/>
                  <a:gd name="connsiteX28" fmla="*/ 99720 w 276939"/>
                  <a:gd name="connsiteY28" fmla="*/ 150209 h 344995"/>
                  <a:gd name="connsiteX29" fmla="*/ 99720 w 276939"/>
                  <a:gd name="connsiteY29" fmla="*/ 61436 h 344995"/>
                  <a:gd name="connsiteX30" fmla="*/ 97247 w 276939"/>
                  <a:gd name="connsiteY30" fmla="*/ 55531 h 344995"/>
                  <a:gd name="connsiteX31" fmla="*/ 88784 w 276939"/>
                  <a:gd name="connsiteY31" fmla="*/ 46958 h 344995"/>
                  <a:gd name="connsiteX32" fmla="*/ 83079 w 276939"/>
                  <a:gd name="connsiteY32" fmla="*/ 33147 h 344995"/>
                  <a:gd name="connsiteX33" fmla="*/ 83079 w 276939"/>
                  <a:gd name="connsiteY33" fmla="*/ 19431 h 344995"/>
                  <a:gd name="connsiteX34" fmla="*/ 102477 w 276939"/>
                  <a:gd name="connsiteY34" fmla="*/ 0 h 344995"/>
                  <a:gd name="connsiteX35" fmla="*/ 174462 w 276939"/>
                  <a:gd name="connsiteY35" fmla="*/ 0 h 344995"/>
                  <a:gd name="connsiteX36" fmla="*/ 193861 w 276939"/>
                  <a:gd name="connsiteY36" fmla="*/ 19431 h 344995"/>
                  <a:gd name="connsiteX37" fmla="*/ 193861 w 276939"/>
                  <a:gd name="connsiteY37" fmla="*/ 33147 h 344995"/>
                  <a:gd name="connsiteX38" fmla="*/ 188155 w 276939"/>
                  <a:gd name="connsiteY38" fmla="*/ 46958 h 344995"/>
                  <a:gd name="connsiteX39" fmla="*/ 179692 w 276939"/>
                  <a:gd name="connsiteY39" fmla="*/ 55531 h 344995"/>
                  <a:gd name="connsiteX40" fmla="*/ 177220 w 276939"/>
                  <a:gd name="connsiteY40" fmla="*/ 61436 h 344995"/>
                  <a:gd name="connsiteX41" fmla="*/ 177220 w 276939"/>
                  <a:gd name="connsiteY41" fmla="*/ 150209 h 344995"/>
                  <a:gd name="connsiteX42" fmla="*/ 182830 w 276939"/>
                  <a:gd name="connsiteY42" fmla="*/ 166973 h 344995"/>
                  <a:gd name="connsiteX43" fmla="*/ 269079 w 276939"/>
                  <a:gd name="connsiteY43" fmla="*/ 282131 h 344995"/>
                  <a:gd name="connsiteX44" fmla="*/ 272787 w 276939"/>
                  <a:gd name="connsiteY44" fmla="*/ 323279 h 344995"/>
                  <a:gd name="connsiteX45" fmla="*/ 237793 w 276939"/>
                  <a:gd name="connsiteY45" fmla="*/ 344996 h 344995"/>
                  <a:gd name="connsiteX46" fmla="*/ 237793 w 276939"/>
                  <a:gd name="connsiteY46" fmla="*/ 344996 h 34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6939" h="344995">
                    <a:moveTo>
                      <a:pt x="102477" y="11240"/>
                    </a:moveTo>
                    <a:cubicBezTo>
                      <a:pt x="97913" y="11240"/>
                      <a:pt x="94204" y="14954"/>
                      <a:pt x="94204" y="19622"/>
                    </a:cubicBezTo>
                    <a:lnTo>
                      <a:pt x="94204" y="33338"/>
                    </a:lnTo>
                    <a:cubicBezTo>
                      <a:pt x="94204" y="35528"/>
                      <a:pt x="95060" y="37624"/>
                      <a:pt x="96677" y="39243"/>
                    </a:cubicBezTo>
                    <a:lnTo>
                      <a:pt x="105140" y="47816"/>
                    </a:lnTo>
                    <a:cubicBezTo>
                      <a:pt x="108848" y="51530"/>
                      <a:pt x="110845" y="56388"/>
                      <a:pt x="110845" y="61627"/>
                    </a:cubicBezTo>
                    <a:lnTo>
                      <a:pt x="110845" y="150400"/>
                    </a:lnTo>
                    <a:cubicBezTo>
                      <a:pt x="110845" y="158782"/>
                      <a:pt x="108087" y="167069"/>
                      <a:pt x="103048" y="173831"/>
                    </a:cubicBezTo>
                    <a:lnTo>
                      <a:pt x="16799" y="288988"/>
                    </a:lnTo>
                    <a:cubicBezTo>
                      <a:pt x="10428" y="297561"/>
                      <a:pt x="9382" y="308801"/>
                      <a:pt x="14137" y="318421"/>
                    </a:cubicBezTo>
                    <a:cubicBezTo>
                      <a:pt x="18891" y="328041"/>
                      <a:pt x="28495" y="333947"/>
                      <a:pt x="39241" y="333947"/>
                    </a:cubicBezTo>
                    <a:lnTo>
                      <a:pt x="237793" y="333947"/>
                    </a:lnTo>
                    <a:cubicBezTo>
                      <a:pt x="248539" y="333947"/>
                      <a:pt x="258143" y="327946"/>
                      <a:pt x="262897" y="318421"/>
                    </a:cubicBezTo>
                    <a:cubicBezTo>
                      <a:pt x="267652" y="308801"/>
                      <a:pt x="266701" y="297561"/>
                      <a:pt x="260235" y="288988"/>
                    </a:cubicBezTo>
                    <a:lnTo>
                      <a:pt x="173986" y="173831"/>
                    </a:lnTo>
                    <a:cubicBezTo>
                      <a:pt x="168947" y="167164"/>
                      <a:pt x="166189" y="158782"/>
                      <a:pt x="166189" y="150400"/>
                    </a:cubicBezTo>
                    <a:lnTo>
                      <a:pt x="166189" y="61627"/>
                    </a:lnTo>
                    <a:cubicBezTo>
                      <a:pt x="166189" y="56388"/>
                      <a:pt x="168186" y="51530"/>
                      <a:pt x="171894" y="47816"/>
                    </a:cubicBezTo>
                    <a:lnTo>
                      <a:pt x="180357" y="39243"/>
                    </a:lnTo>
                    <a:cubicBezTo>
                      <a:pt x="181974" y="37624"/>
                      <a:pt x="182830" y="35528"/>
                      <a:pt x="182830" y="33338"/>
                    </a:cubicBezTo>
                    <a:lnTo>
                      <a:pt x="182830" y="19622"/>
                    </a:lnTo>
                    <a:cubicBezTo>
                      <a:pt x="182830" y="15049"/>
                      <a:pt x="179121" y="11240"/>
                      <a:pt x="174557" y="11240"/>
                    </a:cubicBezTo>
                    <a:lnTo>
                      <a:pt x="102572" y="11240"/>
                    </a:lnTo>
                    <a:close/>
                    <a:moveTo>
                      <a:pt x="237698" y="344996"/>
                    </a:moveTo>
                    <a:lnTo>
                      <a:pt x="39146" y="344996"/>
                    </a:lnTo>
                    <a:cubicBezTo>
                      <a:pt x="24217" y="344996"/>
                      <a:pt x="10808" y="336709"/>
                      <a:pt x="4152" y="323279"/>
                    </a:cubicBezTo>
                    <a:cubicBezTo>
                      <a:pt x="-2504" y="309848"/>
                      <a:pt x="-1078" y="294132"/>
                      <a:pt x="7861" y="282131"/>
                    </a:cubicBezTo>
                    <a:lnTo>
                      <a:pt x="94109" y="166973"/>
                    </a:lnTo>
                    <a:cubicBezTo>
                      <a:pt x="97722" y="162211"/>
                      <a:pt x="99720" y="156210"/>
                      <a:pt x="99720" y="150209"/>
                    </a:cubicBezTo>
                    <a:lnTo>
                      <a:pt x="99720" y="61436"/>
                    </a:lnTo>
                    <a:cubicBezTo>
                      <a:pt x="99720" y="59246"/>
                      <a:pt x="98864" y="57150"/>
                      <a:pt x="97247" y="55531"/>
                    </a:cubicBezTo>
                    <a:lnTo>
                      <a:pt x="88784" y="46958"/>
                    </a:lnTo>
                    <a:cubicBezTo>
                      <a:pt x="85075" y="43244"/>
                      <a:pt x="83079" y="38386"/>
                      <a:pt x="83079" y="33147"/>
                    </a:cubicBezTo>
                    <a:lnTo>
                      <a:pt x="83079" y="19431"/>
                    </a:lnTo>
                    <a:cubicBezTo>
                      <a:pt x="83079" y="8668"/>
                      <a:pt x="91732" y="0"/>
                      <a:pt x="102477" y="0"/>
                    </a:cubicBezTo>
                    <a:lnTo>
                      <a:pt x="174462" y="0"/>
                    </a:lnTo>
                    <a:cubicBezTo>
                      <a:pt x="185112" y="0"/>
                      <a:pt x="193861" y="8763"/>
                      <a:pt x="193861" y="19431"/>
                    </a:cubicBezTo>
                    <a:lnTo>
                      <a:pt x="193861" y="33147"/>
                    </a:lnTo>
                    <a:cubicBezTo>
                      <a:pt x="193861" y="38386"/>
                      <a:pt x="191864" y="43244"/>
                      <a:pt x="188155" y="46958"/>
                    </a:cubicBezTo>
                    <a:lnTo>
                      <a:pt x="179692" y="55531"/>
                    </a:lnTo>
                    <a:cubicBezTo>
                      <a:pt x="178075" y="57150"/>
                      <a:pt x="177220" y="59246"/>
                      <a:pt x="177220" y="61436"/>
                    </a:cubicBezTo>
                    <a:lnTo>
                      <a:pt x="177220" y="150209"/>
                    </a:lnTo>
                    <a:cubicBezTo>
                      <a:pt x="177220" y="156210"/>
                      <a:pt x="179216" y="162116"/>
                      <a:pt x="182830" y="166973"/>
                    </a:cubicBezTo>
                    <a:lnTo>
                      <a:pt x="269079" y="282131"/>
                    </a:lnTo>
                    <a:cubicBezTo>
                      <a:pt x="278017" y="294132"/>
                      <a:pt x="279444" y="309848"/>
                      <a:pt x="272787" y="323279"/>
                    </a:cubicBezTo>
                    <a:cubicBezTo>
                      <a:pt x="266131" y="336613"/>
                      <a:pt x="252723" y="344996"/>
                      <a:pt x="237793" y="344996"/>
                    </a:cubicBezTo>
                    <a:lnTo>
                      <a:pt x="237793" y="34499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121">
                <a:extLst>
                  <a:ext uri="{FF2B5EF4-FFF2-40B4-BE49-F238E27FC236}">
                    <a16:creationId xmlns:a16="http://schemas.microsoft.com/office/drawing/2014/main" id="{BAC4139C-53E7-749E-15BB-D802CCA73961}"/>
                  </a:ext>
                </a:extLst>
              </p:cNvPr>
              <p:cNvSpPr/>
              <p:nvPr/>
            </p:nvSpPr>
            <p:spPr>
              <a:xfrm>
                <a:off x="10890532" y="1271852"/>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121">
                <a:extLst>
                  <a:ext uri="{FF2B5EF4-FFF2-40B4-BE49-F238E27FC236}">
                    <a16:creationId xmlns:a16="http://schemas.microsoft.com/office/drawing/2014/main" id="{74855163-89E1-1371-4A0A-F1995251B321}"/>
                  </a:ext>
                </a:extLst>
              </p:cNvPr>
              <p:cNvSpPr/>
              <p:nvPr/>
            </p:nvSpPr>
            <p:spPr>
              <a:xfrm>
                <a:off x="10835834" y="1207211"/>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121">
                <a:extLst>
                  <a:ext uri="{FF2B5EF4-FFF2-40B4-BE49-F238E27FC236}">
                    <a16:creationId xmlns:a16="http://schemas.microsoft.com/office/drawing/2014/main" id="{270BE618-C3A9-CDAD-22BE-4BDB959B4CCD}"/>
                  </a:ext>
                </a:extLst>
              </p:cNvPr>
              <p:cNvSpPr/>
              <p:nvPr/>
            </p:nvSpPr>
            <p:spPr>
              <a:xfrm>
                <a:off x="10782381" y="1277163"/>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53" name="TextBox 52">
            <a:extLst>
              <a:ext uri="{FF2B5EF4-FFF2-40B4-BE49-F238E27FC236}">
                <a16:creationId xmlns:a16="http://schemas.microsoft.com/office/drawing/2014/main" id="{C5C2A3EC-7605-B7F5-A79B-F11FA6FA6F9C}"/>
              </a:ext>
            </a:extLst>
          </p:cNvPr>
          <p:cNvSpPr txBox="1"/>
          <p:nvPr/>
        </p:nvSpPr>
        <p:spPr>
          <a:xfrm>
            <a:off x="761262" y="2540543"/>
            <a:ext cx="2968822" cy="1255728"/>
          </a:xfrm>
          <a:prstGeom prst="rect">
            <a:avLst/>
          </a:prstGeom>
          <a:noFill/>
        </p:spPr>
        <p:txBody>
          <a:bodyPr wrap="square" rtlCol="0">
            <a:spAutoFit/>
          </a:bodyPr>
          <a:lstStyle/>
          <a:p>
            <a:pPr lvl="0">
              <a:lnSpc>
                <a:spcPct val="90000"/>
              </a:lnSpc>
              <a:defRPr/>
            </a:pPr>
            <a:r>
              <a:rPr lang="en-US" sz="1400" dirty="0">
                <a:latin typeface="Arial" panose="020B0604020202020204" pitchFamily="34" charset="0"/>
                <a:cs typeface="Arial" panose="020B0604020202020204" pitchFamily="34" charset="0"/>
              </a:rPr>
              <a:t>Mineral-to-market products serving consumer-oriented end markets, including cat litter, household and personal care, natural oil purification, animal health and agriculture</a:t>
            </a:r>
          </a:p>
        </p:txBody>
      </p:sp>
      <p:sp>
        <p:nvSpPr>
          <p:cNvPr id="54" name="TextBox 53">
            <a:extLst>
              <a:ext uri="{FF2B5EF4-FFF2-40B4-BE49-F238E27FC236}">
                <a16:creationId xmlns:a16="http://schemas.microsoft.com/office/drawing/2014/main" id="{CCCED4E4-437E-1B69-610F-B115FF00189D}"/>
              </a:ext>
            </a:extLst>
          </p:cNvPr>
          <p:cNvSpPr txBox="1"/>
          <p:nvPr/>
        </p:nvSpPr>
        <p:spPr>
          <a:xfrm>
            <a:off x="801230" y="4460249"/>
            <a:ext cx="2982814" cy="867930"/>
          </a:xfrm>
          <a:prstGeom prst="rect">
            <a:avLst/>
          </a:prstGeom>
          <a:noFill/>
        </p:spPr>
        <p:txBody>
          <a:bodyPr wrap="square" rtlCol="0">
            <a:spAutoFit/>
          </a:bodyPr>
          <a:lstStyle/>
          <a:p>
            <a:pPr>
              <a:lnSpc>
                <a:spcPct val="90000"/>
              </a:lnSpc>
              <a:spcBef>
                <a:spcPts val="200"/>
              </a:spcBef>
            </a:pPr>
            <a:r>
              <a:rPr lang="en-US" sz="1400" dirty="0">
                <a:latin typeface="Arial" panose="020B0604020202020204" pitchFamily="34" charset="0"/>
                <a:cs typeface="Arial" panose="020B0604020202020204" pitchFamily="34" charset="0"/>
              </a:rPr>
              <a:t>Mineral additives serving food &amp; pharma, paper and consumer packaging, residential construction markets</a:t>
            </a:r>
          </a:p>
        </p:txBody>
      </p:sp>
      <p:sp>
        <p:nvSpPr>
          <p:cNvPr id="57" name="TextBox 56">
            <a:extLst>
              <a:ext uri="{FF2B5EF4-FFF2-40B4-BE49-F238E27FC236}">
                <a16:creationId xmlns:a16="http://schemas.microsoft.com/office/drawing/2014/main" id="{9BFF55C0-4E33-ABEF-8DD9-8CD7035F6603}"/>
              </a:ext>
            </a:extLst>
          </p:cNvPr>
          <p:cNvSpPr txBox="1"/>
          <p:nvPr/>
        </p:nvSpPr>
        <p:spPr>
          <a:xfrm>
            <a:off x="8343557" y="2540543"/>
            <a:ext cx="3417014" cy="674031"/>
          </a:xfrm>
          <a:prstGeom prst="rect">
            <a:avLst/>
          </a:prstGeom>
          <a:noFill/>
        </p:spPr>
        <p:txBody>
          <a:bodyPr wrap="square" rtlCol="0">
            <a:spAutoFit/>
          </a:bodyPr>
          <a:lstStyle/>
          <a:p>
            <a:pPr lvl="0">
              <a:lnSpc>
                <a:spcPct val="90000"/>
              </a:lnSpc>
              <a:defRPr/>
            </a:pPr>
            <a:r>
              <a:rPr lang="en-US" sz="1400" dirty="0">
                <a:latin typeface="Arial" panose="020B0604020202020204" pitchFamily="34" charset="0"/>
                <a:cs typeface="Arial" panose="020B0604020202020204" pitchFamily="34" charset="0"/>
              </a:rPr>
              <a:t>Value-added solutions and technologies for high-temperature industries, such as steel, foundry and others</a:t>
            </a:r>
          </a:p>
        </p:txBody>
      </p:sp>
      <p:sp>
        <p:nvSpPr>
          <p:cNvPr id="58" name="TextBox 57">
            <a:extLst>
              <a:ext uri="{FF2B5EF4-FFF2-40B4-BE49-F238E27FC236}">
                <a16:creationId xmlns:a16="http://schemas.microsoft.com/office/drawing/2014/main" id="{C5F3953D-340F-9C5D-DB39-FBB35753594E}"/>
              </a:ext>
            </a:extLst>
          </p:cNvPr>
          <p:cNvSpPr txBox="1"/>
          <p:nvPr/>
        </p:nvSpPr>
        <p:spPr>
          <a:xfrm>
            <a:off x="8350919" y="4460249"/>
            <a:ext cx="3302155" cy="867930"/>
          </a:xfrm>
          <a:prstGeom prst="rect">
            <a:avLst/>
          </a:prstGeom>
          <a:noFill/>
        </p:spPr>
        <p:txBody>
          <a:bodyPr wrap="square" rtlCol="0">
            <a:spAutoFit/>
          </a:bodyPr>
          <a:lstStyle/>
          <a:p>
            <a:pPr>
              <a:lnSpc>
                <a:spcPct val="90000"/>
              </a:lnSpc>
              <a:defRPr/>
            </a:pPr>
            <a:r>
              <a:rPr lang="en-US" sz="1400" dirty="0">
                <a:latin typeface="Arial" panose="020B0604020202020204" pitchFamily="34" charset="0"/>
                <a:cs typeface="Arial" panose="020B0604020202020204" pitchFamily="34" charset="0"/>
              </a:rPr>
              <a:t>Project based products and solutions for environmental, remediation, water treatment, building materials and infrastructure</a:t>
            </a:r>
          </a:p>
        </p:txBody>
      </p:sp>
      <p:sp>
        <p:nvSpPr>
          <p:cNvPr id="74" name="TextBox 73">
            <a:extLst>
              <a:ext uri="{FF2B5EF4-FFF2-40B4-BE49-F238E27FC236}">
                <a16:creationId xmlns:a16="http://schemas.microsoft.com/office/drawing/2014/main" id="{AA4C121D-4B95-10AC-BAD2-F2F03AB7A1C2}"/>
              </a:ext>
            </a:extLst>
          </p:cNvPr>
          <p:cNvSpPr txBox="1"/>
          <p:nvPr/>
        </p:nvSpPr>
        <p:spPr>
          <a:xfrm>
            <a:off x="4841513" y="6428307"/>
            <a:ext cx="2559355" cy="253916"/>
          </a:xfrm>
          <a:prstGeom prst="rect">
            <a:avLst/>
          </a:prstGeom>
          <a:noFill/>
        </p:spPr>
        <p:txBody>
          <a:bodyPr wrap="none" rIns="0" rtlCol="0">
            <a:spAutoFit/>
          </a:bodyPr>
          <a:lstStyle/>
          <a:p>
            <a:r>
              <a:rPr lang="en-US" sz="1050" dirty="0">
                <a:solidFill>
                  <a:schemeClr val="accent4"/>
                </a:solidFill>
                <a:latin typeface="Arial" panose="020B0604020202020204" pitchFamily="34" charset="0"/>
                <a:cs typeface="Arial" panose="020B0604020202020204" pitchFamily="34" charset="0"/>
              </a:rPr>
              <a:t>*</a:t>
            </a:r>
            <a:r>
              <a:rPr kumimoji="0" lang="en-US" sz="1050" b="0"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 2023 Sales. Total company sales $2.2B</a:t>
            </a:r>
            <a:endParaRPr lang="en-US" sz="1050" dirty="0">
              <a:solidFill>
                <a:schemeClr val="accent4"/>
              </a:solidFill>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1E5F7548-ADBA-6716-5E55-A0F2308388E0}"/>
              </a:ext>
            </a:extLst>
          </p:cNvPr>
          <p:cNvGrpSpPr/>
          <p:nvPr/>
        </p:nvGrpSpPr>
        <p:grpSpPr>
          <a:xfrm>
            <a:off x="4077394" y="1898918"/>
            <a:ext cx="4045202" cy="4045202"/>
            <a:chOff x="4101778" y="1651781"/>
            <a:chExt cx="4045202" cy="4045202"/>
          </a:xfrm>
        </p:grpSpPr>
        <p:sp>
          <p:nvSpPr>
            <p:cNvPr id="34" name="Freeform 33">
              <a:extLst>
                <a:ext uri="{FF2B5EF4-FFF2-40B4-BE49-F238E27FC236}">
                  <a16:creationId xmlns:a16="http://schemas.microsoft.com/office/drawing/2014/main" id="{2245DF55-B220-65C3-35D2-CEC47B4819DE}"/>
                </a:ext>
              </a:extLst>
            </p:cNvPr>
            <p:cNvSpPr/>
            <p:nvPr/>
          </p:nvSpPr>
          <p:spPr>
            <a:xfrm>
              <a:off x="6130827" y="1652107"/>
              <a:ext cx="2016153" cy="4011274"/>
            </a:xfrm>
            <a:custGeom>
              <a:avLst/>
              <a:gdLst>
                <a:gd name="connsiteX0" fmla="*/ 0 w 2016153"/>
                <a:gd name="connsiteY0" fmla="*/ 0 h 4011274"/>
                <a:gd name="connsiteX1" fmla="*/ 200351 w 2016153"/>
                <a:gd name="connsiteY1" fmla="*/ 10116 h 4011274"/>
                <a:gd name="connsiteX2" fmla="*/ 2016153 w 2016153"/>
                <a:gd name="connsiteY2" fmla="*/ 2022275 h 4011274"/>
                <a:gd name="connsiteX3" fmla="*/ 401177 w 2016153"/>
                <a:gd name="connsiteY3" fmla="*/ 4003784 h 4011274"/>
                <a:gd name="connsiteX4" fmla="*/ 352104 w 2016153"/>
                <a:gd name="connsiteY4" fmla="*/ 4011274 h 4011274"/>
                <a:gd name="connsiteX5" fmla="*/ 1 w 2016153"/>
                <a:gd name="connsiteY5" fmla="*/ 2044191 h 4011274"/>
                <a:gd name="connsiteX6" fmla="*/ 2240 w 2016153"/>
                <a:gd name="connsiteY6" fmla="*/ 2043790 h 4011274"/>
                <a:gd name="connsiteX7" fmla="*/ 0 w 2016153"/>
                <a:gd name="connsiteY7" fmla="*/ 2043790 h 4011274"/>
                <a:gd name="connsiteX8" fmla="*/ 0 w 2016153"/>
                <a:gd name="connsiteY8" fmla="*/ 0 h 401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6153" h="4011274">
                  <a:moveTo>
                    <a:pt x="0" y="0"/>
                  </a:moveTo>
                  <a:lnTo>
                    <a:pt x="200351" y="10116"/>
                  </a:lnTo>
                  <a:cubicBezTo>
                    <a:pt x="1220261" y="113694"/>
                    <a:pt x="2016153" y="975039"/>
                    <a:pt x="2016153" y="2022275"/>
                  </a:cubicBezTo>
                  <a:cubicBezTo>
                    <a:pt x="2016153" y="2999696"/>
                    <a:pt x="1322842" y="3815184"/>
                    <a:pt x="401177" y="4003784"/>
                  </a:cubicBezTo>
                  <a:lnTo>
                    <a:pt x="352104" y="4011274"/>
                  </a:lnTo>
                  <a:lnTo>
                    <a:pt x="1" y="2044191"/>
                  </a:lnTo>
                  <a:lnTo>
                    <a:pt x="2240" y="2043790"/>
                  </a:lnTo>
                  <a:lnTo>
                    <a:pt x="0" y="2043790"/>
                  </a:lnTo>
                  <a:lnTo>
                    <a:pt x="0" y="0"/>
                  </a:lnTo>
                  <a:close/>
                </a:path>
              </a:pathLst>
            </a:custGeom>
            <a:blipFill dpi="0" rotWithShape="1">
              <a:blip r:embed="rId5">
                <a:extLst>
                  <a:ext uri="{28A0092B-C50C-407E-A947-70E740481C1C}">
                    <a14:useLocalDpi xmlns:a14="http://schemas.microsoft.com/office/drawing/2010/main" val="0"/>
                  </a:ext>
                </a:extLst>
              </a:blip>
              <a:srcRect/>
              <a:stretch>
                <a:fillRect l="-24773" r="-77109"/>
              </a:stretch>
            </a:bli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2" name="Freeform 11">
              <a:extLst>
                <a:ext uri="{FF2B5EF4-FFF2-40B4-BE49-F238E27FC236}">
                  <a16:creationId xmlns:a16="http://schemas.microsoft.com/office/drawing/2014/main" id="{B173AFD0-8768-CCC7-86AB-9AB1DA1F3CA9}"/>
                </a:ext>
              </a:extLst>
            </p:cNvPr>
            <p:cNvSpPr/>
            <p:nvPr/>
          </p:nvSpPr>
          <p:spPr>
            <a:xfrm>
              <a:off x="4101778" y="1651781"/>
              <a:ext cx="2381153" cy="4045202"/>
            </a:xfrm>
            <a:custGeom>
              <a:avLst/>
              <a:gdLst>
                <a:gd name="connsiteX0" fmla="*/ 2022601 w 2381153"/>
                <a:gd name="connsiteY0" fmla="*/ 0 h 4045202"/>
                <a:gd name="connsiteX1" fmla="*/ 2029049 w 2381153"/>
                <a:gd name="connsiteY1" fmla="*/ 326 h 4045202"/>
                <a:gd name="connsiteX2" fmla="*/ 2029049 w 2381153"/>
                <a:gd name="connsiteY2" fmla="*/ 2044116 h 4045202"/>
                <a:gd name="connsiteX3" fmla="*/ 2031289 w 2381153"/>
                <a:gd name="connsiteY3" fmla="*/ 2044116 h 4045202"/>
                <a:gd name="connsiteX4" fmla="*/ 2029050 w 2381153"/>
                <a:gd name="connsiteY4" fmla="*/ 2044517 h 4045202"/>
                <a:gd name="connsiteX5" fmla="*/ 2381153 w 2381153"/>
                <a:gd name="connsiteY5" fmla="*/ 4011600 h 4045202"/>
                <a:gd name="connsiteX6" fmla="*/ 2229400 w 2381153"/>
                <a:gd name="connsiteY6" fmla="*/ 4034760 h 4045202"/>
                <a:gd name="connsiteX7" fmla="*/ 2022601 w 2381153"/>
                <a:gd name="connsiteY7" fmla="*/ 4045202 h 4045202"/>
                <a:gd name="connsiteX8" fmla="*/ 0 w 2381153"/>
                <a:gd name="connsiteY8" fmla="*/ 2022601 h 4045202"/>
                <a:gd name="connsiteX9" fmla="*/ 2022601 w 2381153"/>
                <a:gd name="connsiteY9" fmla="*/ 0 h 4045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1153" h="4045202">
                  <a:moveTo>
                    <a:pt x="2022601" y="0"/>
                  </a:moveTo>
                  <a:lnTo>
                    <a:pt x="2029049" y="326"/>
                  </a:lnTo>
                  <a:lnTo>
                    <a:pt x="2029049" y="2044116"/>
                  </a:lnTo>
                  <a:lnTo>
                    <a:pt x="2031289" y="2044116"/>
                  </a:lnTo>
                  <a:lnTo>
                    <a:pt x="2029050" y="2044517"/>
                  </a:lnTo>
                  <a:lnTo>
                    <a:pt x="2381153" y="4011600"/>
                  </a:lnTo>
                  <a:lnTo>
                    <a:pt x="2229400" y="4034760"/>
                  </a:lnTo>
                  <a:cubicBezTo>
                    <a:pt x="2161407" y="4041665"/>
                    <a:pt x="2092417" y="4045202"/>
                    <a:pt x="2022601" y="4045202"/>
                  </a:cubicBezTo>
                  <a:cubicBezTo>
                    <a:pt x="905549" y="4045202"/>
                    <a:pt x="0" y="3139653"/>
                    <a:pt x="0" y="2022601"/>
                  </a:cubicBezTo>
                  <a:cubicBezTo>
                    <a:pt x="0" y="905549"/>
                    <a:pt x="905549" y="0"/>
                    <a:pt x="2022601" y="0"/>
                  </a:cubicBezTo>
                  <a:close/>
                </a:path>
              </a:pathLst>
            </a:custGeom>
            <a:blipFill dpi="0" rotWithShape="1">
              <a:blip r:embed="rId6">
                <a:extLst>
                  <a:ext uri="{28A0092B-C50C-407E-A947-70E740481C1C}">
                    <a14:useLocalDpi xmlns:a14="http://schemas.microsoft.com/office/drawing/2010/main" val="0"/>
                  </a:ext>
                </a:extLst>
              </a:blip>
              <a:srcRect/>
              <a:stretch>
                <a:fillRect l="-38048" t="-17043" r="-27046" b="-4407"/>
              </a:stretch>
            </a:bli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extBox 1">
            <a:extLst>
              <a:ext uri="{FF2B5EF4-FFF2-40B4-BE49-F238E27FC236}">
                <a16:creationId xmlns:a16="http://schemas.microsoft.com/office/drawing/2014/main" id="{FF8031EA-73CB-B644-1A03-AEEA716C7728}"/>
              </a:ext>
            </a:extLst>
          </p:cNvPr>
          <p:cNvSpPr txBox="1"/>
          <p:nvPr/>
        </p:nvSpPr>
        <p:spPr>
          <a:xfrm>
            <a:off x="822051" y="1310011"/>
            <a:ext cx="3378001" cy="480131"/>
          </a:xfrm>
          <a:prstGeom prst="rect">
            <a:avLst/>
          </a:prstGeom>
          <a:noFill/>
        </p:spPr>
        <p:txBody>
          <a:bodyPr wrap="square" lIns="0" tIns="0" rIns="0" bIns="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113" marR="0" lvl="0" indent="0" algn="l" defTabSz="914400" rtl="0" eaLnBrk="1" fontAlgn="auto" latinLnBrk="0" hangingPunct="1">
              <a:lnSpc>
                <a:spcPct val="90000"/>
              </a:lnSpc>
              <a:spcBef>
                <a:spcPts val="450"/>
              </a:spcBef>
              <a:spcAft>
                <a:spcPts val="0"/>
              </a:spcAft>
              <a:buClrTx/>
              <a:buSzTx/>
              <a:buFontTx/>
              <a:buNone/>
              <a:tabLst>
                <a:tab pos="763588" algn="l"/>
              </a:tabLst>
              <a:defRPr/>
            </a:pPr>
            <a:r>
              <a:rPr kumimoji="0" lang="en-US" sz="1200" b="0" i="0" u="none" strike="noStrike" kern="1200" cap="none" spc="0" normalizeH="0" baseline="0" noProof="0" dirty="0">
                <a:ln>
                  <a:noFill/>
                </a:ln>
                <a:solidFill>
                  <a:srgbClr val="B8BABC">
                    <a:lumMod val="75000"/>
                  </a:srgbClr>
                </a:solidFill>
                <a:effectLst/>
                <a:uLnTx/>
                <a:uFillTx/>
                <a:latin typeface="Arial"/>
                <a:ea typeface="+mn-ea"/>
                <a:cs typeface="Arial"/>
              </a:rPr>
              <a:t>Functional components in a variety of </a:t>
            </a:r>
            <a:br>
              <a:rPr kumimoji="0" lang="en-US" sz="1200" b="0" i="0" u="none" strike="noStrike" kern="1200" cap="none" spc="0" normalizeH="0" baseline="0" noProof="0" dirty="0">
                <a:ln>
                  <a:noFill/>
                </a:ln>
                <a:solidFill>
                  <a:srgbClr val="B8BABC">
                    <a:lumMod val="75000"/>
                  </a:srgbClr>
                </a:solidFill>
                <a:effectLst/>
                <a:uLnTx/>
                <a:uFillTx/>
                <a:latin typeface="Arial"/>
                <a:ea typeface="+mn-ea"/>
                <a:cs typeface="Arial"/>
              </a:rPr>
            </a:br>
            <a:r>
              <a:rPr kumimoji="0" lang="en-US" sz="1200" b="0" i="0" u="none" strike="noStrike" kern="1200" cap="none" spc="0" normalizeH="0" baseline="0" noProof="0" dirty="0">
                <a:ln>
                  <a:noFill/>
                </a:ln>
                <a:solidFill>
                  <a:srgbClr val="B8BABC">
                    <a:lumMod val="75000"/>
                  </a:srgbClr>
                </a:solidFill>
                <a:effectLst/>
                <a:uLnTx/>
                <a:uFillTx/>
                <a:latin typeface="Arial"/>
                <a:ea typeface="+mn-ea"/>
                <a:cs typeface="Arial"/>
              </a:rPr>
              <a:t>consumer and industrial goods</a:t>
            </a:r>
          </a:p>
        </p:txBody>
      </p:sp>
      <p:sp>
        <p:nvSpPr>
          <p:cNvPr id="4" name="TextBox 1">
            <a:extLst>
              <a:ext uri="{FF2B5EF4-FFF2-40B4-BE49-F238E27FC236}">
                <a16:creationId xmlns:a16="http://schemas.microsoft.com/office/drawing/2014/main" id="{9E8A264F-EAFB-4DB3-AD1F-506603D806CC}"/>
              </a:ext>
            </a:extLst>
          </p:cNvPr>
          <p:cNvSpPr txBox="1"/>
          <p:nvPr/>
        </p:nvSpPr>
        <p:spPr>
          <a:xfrm>
            <a:off x="8054932" y="1310011"/>
            <a:ext cx="3393393" cy="480131"/>
          </a:xfrm>
          <a:prstGeom prst="rect">
            <a:avLst/>
          </a:prstGeom>
          <a:noFill/>
        </p:spPr>
        <p:txBody>
          <a:bodyPr wrap="square" lIns="0" tIns="0" rIns="0" bIns="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113" marR="0" lvl="0" indent="0" algn="r" defTabSz="914400" rtl="0" eaLnBrk="1" fontAlgn="auto" latinLnBrk="0" hangingPunct="1">
              <a:lnSpc>
                <a:spcPct val="90000"/>
              </a:lnSpc>
              <a:spcBef>
                <a:spcPts val="450"/>
              </a:spcBef>
              <a:spcAft>
                <a:spcPts val="0"/>
              </a:spcAft>
              <a:buClrTx/>
              <a:buSzTx/>
              <a:buFontTx/>
              <a:buNone/>
              <a:tabLst>
                <a:tab pos="763588" algn="l"/>
              </a:tabLst>
              <a:defRPr/>
            </a:pPr>
            <a:r>
              <a:rPr kumimoji="0" lang="en-US" sz="1200" b="0" i="0" u="none" strike="noStrike" kern="1200" cap="none" spc="0" normalizeH="0" baseline="0" noProof="0" dirty="0">
                <a:ln>
                  <a:noFill/>
                </a:ln>
                <a:solidFill>
                  <a:srgbClr val="B8BABC">
                    <a:lumMod val="75000"/>
                  </a:srgbClr>
                </a:solidFill>
                <a:effectLst/>
                <a:uLnTx/>
                <a:uFillTx/>
                <a:latin typeface="Arial" panose="020B0604020202020204" pitchFamily="34" charset="0"/>
                <a:ea typeface="+mn-ea"/>
                <a:cs typeface="+mn-cs"/>
              </a:rPr>
              <a:t>Designed to improve our customers’ manufacturing processes and projects​</a:t>
            </a:r>
            <a:endParaRPr kumimoji="0" lang="en-US" sz="1200" b="0" i="0" u="none" strike="noStrike" kern="1200" cap="none" spc="0" normalizeH="0" baseline="0" noProof="0" dirty="0">
              <a:ln>
                <a:noFill/>
              </a:ln>
              <a:solidFill>
                <a:srgbClr val="B8BABC">
                  <a:lumMod val="75000"/>
                </a:srgbClr>
              </a:solidFill>
              <a:effectLst/>
              <a:uLnTx/>
              <a:uFillTx/>
              <a:latin typeface="Arial"/>
              <a:ea typeface="+mn-ea"/>
              <a:cs typeface="Arial"/>
            </a:endParaRPr>
          </a:p>
        </p:txBody>
      </p:sp>
      <p:cxnSp>
        <p:nvCxnSpPr>
          <p:cNvPr id="7" name="Straight Connector 6">
            <a:extLst>
              <a:ext uri="{FF2B5EF4-FFF2-40B4-BE49-F238E27FC236}">
                <a16:creationId xmlns:a16="http://schemas.microsoft.com/office/drawing/2014/main" id="{8665190F-3877-5CC1-66F3-819E500EF241}"/>
              </a:ext>
            </a:extLst>
          </p:cNvPr>
          <p:cNvCxnSpPr>
            <a:cxnSpLocks/>
          </p:cNvCxnSpPr>
          <p:nvPr/>
        </p:nvCxnSpPr>
        <p:spPr>
          <a:xfrm>
            <a:off x="6121191" y="984869"/>
            <a:ext cx="0" cy="914375"/>
          </a:xfrm>
          <a:prstGeom prst="line">
            <a:avLst/>
          </a:prstGeom>
          <a:ln>
            <a:solidFill>
              <a:schemeClr val="bg2">
                <a:lumMod val="90000"/>
              </a:schemeClr>
            </a:solidFill>
          </a:ln>
        </p:spPr>
        <p:style>
          <a:lnRef idx="1">
            <a:schemeClr val="accent2"/>
          </a:lnRef>
          <a:fillRef idx="0">
            <a:schemeClr val="accent2"/>
          </a:fillRef>
          <a:effectRef idx="0">
            <a:schemeClr val="accent2"/>
          </a:effectRef>
          <a:fontRef idx="minor">
            <a:schemeClr val="tx1"/>
          </a:fontRef>
        </p:style>
      </p:cxnSp>
      <p:sp>
        <p:nvSpPr>
          <p:cNvPr id="16" name="TextBox 15">
            <a:extLst>
              <a:ext uri="{FF2B5EF4-FFF2-40B4-BE49-F238E27FC236}">
                <a16:creationId xmlns:a16="http://schemas.microsoft.com/office/drawing/2014/main" id="{9A89F979-AD7B-95C8-FB72-E1D483AD656C}"/>
              </a:ext>
            </a:extLst>
          </p:cNvPr>
          <p:cNvSpPr txBox="1"/>
          <p:nvPr/>
        </p:nvSpPr>
        <p:spPr>
          <a:xfrm>
            <a:off x="3132909" y="2115189"/>
            <a:ext cx="1473270" cy="276999"/>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18M (24%)</a:t>
            </a:r>
          </a:p>
        </p:txBody>
      </p:sp>
      <p:sp>
        <p:nvSpPr>
          <p:cNvPr id="36" name="TextBox 35">
            <a:extLst>
              <a:ext uri="{FF2B5EF4-FFF2-40B4-BE49-F238E27FC236}">
                <a16:creationId xmlns:a16="http://schemas.microsoft.com/office/drawing/2014/main" id="{B33B16B1-A161-DB2A-0DE3-940F33D7ACFB}"/>
              </a:ext>
            </a:extLst>
          </p:cNvPr>
          <p:cNvSpPr txBox="1"/>
          <p:nvPr/>
        </p:nvSpPr>
        <p:spPr>
          <a:xfrm>
            <a:off x="3132909" y="5532607"/>
            <a:ext cx="1435715" cy="276999"/>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643M (30%)</a:t>
            </a:r>
          </a:p>
        </p:txBody>
      </p:sp>
      <p:sp>
        <p:nvSpPr>
          <p:cNvPr id="37" name="TextBox 36">
            <a:extLst>
              <a:ext uri="{FF2B5EF4-FFF2-40B4-BE49-F238E27FC236}">
                <a16:creationId xmlns:a16="http://schemas.microsoft.com/office/drawing/2014/main" id="{4BAAE2F4-7022-E1CD-1CF8-07051EE6CD26}"/>
              </a:ext>
            </a:extLst>
          </p:cNvPr>
          <p:cNvSpPr txBox="1"/>
          <p:nvPr/>
        </p:nvSpPr>
        <p:spPr>
          <a:xfrm>
            <a:off x="10591060" y="2110992"/>
            <a:ext cx="1248253" cy="276999"/>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Arial" panose="020B0604020202020204" pitchFamily="34" charset="0"/>
                <a:cs typeface="Arial" panose="020B0604020202020204" pitchFamily="34" charset="0"/>
              </a:rPr>
              <a:t>$721M (33%)</a:t>
            </a:r>
            <a:endParaRPr kumimoji="0" lang="en-US" sz="120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55E9BC53-E220-38AF-BBD7-DA5C2AF0E69E}"/>
              </a:ext>
            </a:extLst>
          </p:cNvPr>
          <p:cNvSpPr txBox="1"/>
          <p:nvPr/>
        </p:nvSpPr>
        <p:spPr>
          <a:xfrm>
            <a:off x="10449018" y="5557842"/>
            <a:ext cx="1384540" cy="276999"/>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89M (13%)</a:t>
            </a:r>
          </a:p>
        </p:txBody>
      </p:sp>
      <p:sp>
        <p:nvSpPr>
          <p:cNvPr id="55" name="TextBox 54">
            <a:extLst>
              <a:ext uri="{FF2B5EF4-FFF2-40B4-BE49-F238E27FC236}">
                <a16:creationId xmlns:a16="http://schemas.microsoft.com/office/drawing/2014/main" id="{A45F8AE2-FB11-4A2C-F8AE-3092186334D7}"/>
              </a:ext>
            </a:extLst>
          </p:cNvPr>
          <p:cNvSpPr txBox="1"/>
          <p:nvPr/>
        </p:nvSpPr>
        <p:spPr>
          <a:xfrm>
            <a:off x="1015249" y="2115284"/>
            <a:ext cx="3059684" cy="272382"/>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usehold &amp; Personal Care</a:t>
            </a:r>
          </a:p>
        </p:txBody>
      </p:sp>
      <p:sp>
        <p:nvSpPr>
          <p:cNvPr id="56" name="TextBox 55">
            <a:extLst>
              <a:ext uri="{FF2B5EF4-FFF2-40B4-BE49-F238E27FC236}">
                <a16:creationId xmlns:a16="http://schemas.microsoft.com/office/drawing/2014/main" id="{E4609593-E321-506C-5B3C-CA8285F20739}"/>
              </a:ext>
            </a:extLst>
          </p:cNvPr>
          <p:cNvSpPr txBox="1"/>
          <p:nvPr/>
        </p:nvSpPr>
        <p:spPr>
          <a:xfrm>
            <a:off x="999287" y="5545688"/>
            <a:ext cx="3066530" cy="272382"/>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pecialty Additives</a:t>
            </a:r>
          </a:p>
        </p:txBody>
      </p:sp>
      <p:sp>
        <p:nvSpPr>
          <p:cNvPr id="75" name="TextBox 74">
            <a:extLst>
              <a:ext uri="{FF2B5EF4-FFF2-40B4-BE49-F238E27FC236}">
                <a16:creationId xmlns:a16="http://schemas.microsoft.com/office/drawing/2014/main" id="{E8E8CE6F-106C-6DA5-362A-E36019CF3905}"/>
              </a:ext>
            </a:extLst>
          </p:cNvPr>
          <p:cNvSpPr txBox="1"/>
          <p:nvPr/>
        </p:nvSpPr>
        <p:spPr>
          <a:xfrm>
            <a:off x="4065816" y="984869"/>
            <a:ext cx="1082629" cy="341632"/>
          </a:xfrm>
          <a:prstGeom prst="rect">
            <a:avLst/>
          </a:prstGeom>
          <a:noFill/>
        </p:spPr>
        <p:txBody>
          <a:bodyPr wrap="square">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246"/>
                </a:solidFill>
                <a:effectLst/>
                <a:uLnTx/>
                <a:uFillTx/>
                <a:latin typeface="Arial" panose="020B0604020202020204" pitchFamily="34" charset="0"/>
                <a:ea typeface="+mn-ea"/>
                <a:cs typeface="Arial" panose="020B0604020202020204" pitchFamily="34" charset="0"/>
              </a:rPr>
              <a:t>$1.2B</a:t>
            </a:r>
          </a:p>
        </p:txBody>
      </p:sp>
      <p:sp>
        <p:nvSpPr>
          <p:cNvPr id="76" name="TextBox 75">
            <a:extLst>
              <a:ext uri="{FF2B5EF4-FFF2-40B4-BE49-F238E27FC236}">
                <a16:creationId xmlns:a16="http://schemas.microsoft.com/office/drawing/2014/main" id="{2A93988A-7C34-76FC-3C9D-63EF01C9F1E6}"/>
              </a:ext>
            </a:extLst>
          </p:cNvPr>
          <p:cNvSpPr txBox="1"/>
          <p:nvPr/>
        </p:nvSpPr>
        <p:spPr>
          <a:xfrm>
            <a:off x="7443817" y="984869"/>
            <a:ext cx="984155" cy="341632"/>
          </a:xfrm>
          <a:prstGeom prst="rect">
            <a:avLst/>
          </a:prstGeom>
          <a:noFill/>
        </p:spPr>
        <p:txBody>
          <a:bodyPr wrap="square">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246"/>
                </a:solidFill>
                <a:effectLst/>
                <a:uLnTx/>
                <a:uFillTx/>
                <a:latin typeface="Arial" panose="020B0604020202020204" pitchFamily="34" charset="0"/>
                <a:ea typeface="+mn-ea"/>
                <a:cs typeface="Arial" panose="020B0604020202020204" pitchFamily="34" charset="0"/>
              </a:rPr>
              <a:t>$1.0B</a:t>
            </a:r>
          </a:p>
        </p:txBody>
      </p:sp>
    </p:spTree>
    <p:extLst>
      <p:ext uri="{BB962C8B-B14F-4D97-AF65-F5344CB8AC3E}">
        <p14:creationId xmlns:p14="http://schemas.microsoft.com/office/powerpoint/2010/main" val="12943113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68565870-2596-9A14-939B-2EA339D213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2" name="Object 11" hidden="1">
                        <a:extLst>
                          <a:ext uri="{FF2B5EF4-FFF2-40B4-BE49-F238E27FC236}">
                            <a16:creationId xmlns:a16="http://schemas.microsoft.com/office/drawing/2014/main" id="{68565870-2596-9A14-939B-2EA339D213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5" name="Right Arrow 64">
            <a:extLst>
              <a:ext uri="{FF2B5EF4-FFF2-40B4-BE49-F238E27FC236}">
                <a16:creationId xmlns:a16="http://schemas.microsoft.com/office/drawing/2014/main" id="{5309B7E7-B9AF-B9BC-6C39-0446761671BD}"/>
              </a:ext>
            </a:extLst>
          </p:cNvPr>
          <p:cNvSpPr/>
          <p:nvPr/>
        </p:nvSpPr>
        <p:spPr>
          <a:xfrm>
            <a:off x="3803745" y="3308162"/>
            <a:ext cx="678163" cy="719328"/>
          </a:xfrm>
          <a:prstGeom prst="rightArrow">
            <a:avLst>
              <a:gd name="adj1" fmla="val 50000"/>
              <a:gd name="adj2" fmla="val 63124"/>
            </a:avLst>
          </a:prstGeom>
          <a:solidFill>
            <a:srgbClr val="F796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5F6DFE26-717C-92A5-3CD1-751F7213CA17}"/>
              </a:ext>
            </a:extLst>
          </p:cNvPr>
          <p:cNvSpPr/>
          <p:nvPr/>
        </p:nvSpPr>
        <p:spPr>
          <a:xfrm>
            <a:off x="4480948" y="1060952"/>
            <a:ext cx="3257417" cy="51695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122246"/>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ABD2B772-195B-8776-71CD-1FD7A9E29CEB}"/>
              </a:ext>
            </a:extLst>
          </p:cNvPr>
          <p:cNvSpPr/>
          <p:nvPr/>
        </p:nvSpPr>
        <p:spPr>
          <a:xfrm>
            <a:off x="570036" y="1060952"/>
            <a:ext cx="3257417" cy="51695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122246"/>
              </a:solidFill>
              <a:effectLst/>
              <a:uLnTx/>
              <a:uFillTx/>
              <a:latin typeface="Arial" panose="020B0604020202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C7C6D23A-A278-14AD-ED28-287BF8BC827A}"/>
              </a:ext>
            </a:extLst>
          </p:cNvPr>
          <p:cNvSpPr>
            <a:spLocks noGrp="1"/>
          </p:cNvSpPr>
          <p:nvPr>
            <p:ph type="title"/>
          </p:nvPr>
        </p:nvSpPr>
        <p:spPr/>
        <p:txBody>
          <a:bodyPr vert="horz">
            <a:noAutofit/>
          </a:bodyPr>
          <a:lstStyle/>
          <a:p>
            <a:r>
              <a:rPr lang="en-US" sz="1800" b="0" dirty="0"/>
              <a:t>MINERALS TECHNOLOGIES</a:t>
            </a:r>
            <a:br>
              <a:rPr lang="en-US" dirty="0"/>
            </a:br>
            <a:r>
              <a:rPr lang="en-US" dirty="0"/>
              <a:t>A </a:t>
            </a:r>
            <a:r>
              <a:rPr lang="en-US" i="1" dirty="0">
                <a:solidFill>
                  <a:srgbClr val="F79646"/>
                </a:solidFill>
              </a:rPr>
              <a:t>Technology-Driven</a:t>
            </a:r>
            <a:r>
              <a:rPr lang="en-US" dirty="0"/>
              <a:t> Specialty Minerals Company</a:t>
            </a:r>
          </a:p>
        </p:txBody>
      </p:sp>
      <p:sp>
        <p:nvSpPr>
          <p:cNvPr id="11" name="TextBox 10">
            <a:extLst>
              <a:ext uri="{FF2B5EF4-FFF2-40B4-BE49-F238E27FC236}">
                <a16:creationId xmlns:a16="http://schemas.microsoft.com/office/drawing/2014/main" id="{36012EC2-08F1-95F1-F3E9-CF8EDF398FA4}"/>
              </a:ext>
            </a:extLst>
          </p:cNvPr>
          <p:cNvSpPr txBox="1"/>
          <p:nvPr/>
        </p:nvSpPr>
        <p:spPr>
          <a:xfrm>
            <a:off x="4477041" y="1770224"/>
            <a:ext cx="3282066" cy="4397614"/>
          </a:xfrm>
          <a:prstGeom prst="rect">
            <a:avLst/>
          </a:prstGeom>
          <a:noFill/>
        </p:spPr>
        <p:txBody>
          <a:bodyPr wrap="square">
            <a:spAutoFit/>
          </a:bodyPr>
          <a:lstStyle/>
          <a:p>
            <a:pPr marL="342900" lvl="1">
              <a:lnSpc>
                <a:spcPct val="90000"/>
              </a:lnSpc>
              <a:spcBef>
                <a:spcPts val="1000"/>
              </a:spcBef>
              <a:buClr>
                <a:srgbClr val="132246"/>
              </a:buClr>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Odor elimination</a:t>
            </a:r>
          </a:p>
          <a:p>
            <a:pPr marL="342900" lvl="1">
              <a:lnSpc>
                <a:spcPct val="90000"/>
              </a:lnSpc>
              <a:spcBef>
                <a:spcPts val="1000"/>
              </a:spcBef>
              <a:buClr>
                <a:srgbClr val="132246"/>
              </a:buClr>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Ad/absorption</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Lightweighting</a:t>
            </a:r>
          </a:p>
          <a:p>
            <a:pPr marL="342900" lvl="1">
              <a:lnSpc>
                <a:spcPct val="90000"/>
              </a:lnSpc>
              <a:spcBef>
                <a:spcPts val="1000"/>
              </a:spcBef>
              <a:buClr>
                <a:srgbClr val="132246"/>
              </a:buClr>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Strengthening</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CO</a:t>
            </a:r>
            <a:r>
              <a:rPr lang="en-US" baseline="-25000" dirty="0">
                <a:solidFill>
                  <a:srgbClr val="132246"/>
                </a:solidFill>
                <a:latin typeface="Arial" panose="020B0604020202020204" pitchFamily="34" charset="0"/>
                <a:ea typeface="MS PGothic" charset="0"/>
                <a:cs typeface="Arial" panose="020B0604020202020204" pitchFamily="34" charset="0"/>
              </a:rPr>
              <a:t>2</a:t>
            </a:r>
            <a:r>
              <a:rPr lang="en-US" dirty="0">
                <a:solidFill>
                  <a:srgbClr val="132246"/>
                </a:solidFill>
                <a:latin typeface="Arial" panose="020B0604020202020204" pitchFamily="34" charset="0"/>
                <a:ea typeface="MS PGothic" charset="0"/>
                <a:cs typeface="Arial" panose="020B0604020202020204" pitchFamily="34" charset="0"/>
              </a:rPr>
              <a:t> sequestration</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Calcium fortification</a:t>
            </a:r>
          </a:p>
          <a:p>
            <a:pPr marL="342900" lvl="1">
              <a:lnSpc>
                <a:spcPct val="90000"/>
              </a:lnSpc>
              <a:spcBef>
                <a:spcPts val="1000"/>
              </a:spcBef>
              <a:buClr>
                <a:srgbClr val="132246"/>
              </a:buClr>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Energy savings</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Recyclability</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dirty="0">
                <a:solidFill>
                  <a:srgbClr val="132246"/>
                </a:solidFill>
                <a:latin typeface="Arial" panose="020B0604020202020204" pitchFamily="34" charset="0"/>
                <a:ea typeface="MS PGothic" charset="0"/>
                <a:cs typeface="Arial" panose="020B0604020202020204" pitchFamily="34" charset="0"/>
              </a:rPr>
              <a:t>Productivity improvement</a:t>
            </a:r>
          </a:p>
          <a:p>
            <a:pPr marL="342900" lvl="1">
              <a:lnSpc>
                <a:spcPct val="90000"/>
              </a:lnSpc>
              <a:spcBef>
                <a:spcPts val="1000"/>
              </a:spcBef>
              <a:buClr>
                <a:srgbClr val="132246"/>
              </a:buClr>
              <a:tabLst>
                <a:tab pos="338138" algn="l"/>
              </a:tabLst>
              <a:defRPr/>
            </a:pPr>
            <a:r>
              <a:rPr lang="en-US" sz="1600" dirty="0">
                <a:solidFill>
                  <a:srgbClr val="132246"/>
                </a:solidFill>
                <a:latin typeface="Arial" panose="020B0604020202020204" pitchFamily="34" charset="0"/>
                <a:ea typeface="MS PGothic" charset="0"/>
                <a:cs typeface="Arial" panose="020B0604020202020204" pitchFamily="34" charset="0"/>
              </a:rPr>
              <a:t>Rheology modification</a:t>
            </a:r>
          </a:p>
          <a:p>
            <a:pPr marL="342900" lvl="1">
              <a:lnSpc>
                <a:spcPct val="90000"/>
              </a:lnSpc>
              <a:spcBef>
                <a:spcPts val="1000"/>
              </a:spcBef>
              <a:buClr>
                <a:srgbClr val="132246"/>
              </a:buClr>
              <a:tabLst>
                <a:tab pos="338138" algn="l"/>
              </a:tabLst>
              <a:defRPr/>
            </a:pPr>
            <a:r>
              <a:rPr lang="en-US" sz="1600" dirty="0">
                <a:solidFill>
                  <a:srgbClr val="132246"/>
                </a:solidFill>
                <a:latin typeface="Arial" panose="020B0604020202020204" pitchFamily="34" charset="0"/>
                <a:ea typeface="MS PGothic" charset="0"/>
                <a:cs typeface="Arial" panose="020B0604020202020204" pitchFamily="34" charset="0"/>
              </a:rPr>
              <a:t>Water and Fluid filtration</a:t>
            </a:r>
          </a:p>
          <a:p>
            <a:pPr marL="12700" marR="0" lvl="1" algn="l" defTabSz="914400" rtl="0" eaLnBrk="1" fontAlgn="auto" latinLnBrk="0" hangingPunct="1">
              <a:lnSpc>
                <a:spcPct val="90000"/>
              </a:lnSpc>
              <a:spcBef>
                <a:spcPts val="1000"/>
              </a:spcBef>
              <a:spcAft>
                <a:spcPts val="0"/>
              </a:spcAft>
              <a:buClrTx/>
              <a:buSzTx/>
              <a:tabLst>
                <a:tab pos="338138" algn="l"/>
              </a:tabLst>
              <a:defRPr/>
            </a:pPr>
            <a:endParaRPr kumimoji="0" lang="en-US" sz="1500" b="0" i="0" u="none" strike="noStrike" kern="1200" cap="none" spc="0" normalizeH="0" baseline="0" noProof="0" dirty="0">
              <a:ln>
                <a:noFill/>
              </a:ln>
              <a:solidFill>
                <a:srgbClr val="00305D"/>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6D3BE567-E11B-22FE-6571-5568EDB417D7}"/>
              </a:ext>
            </a:extLst>
          </p:cNvPr>
          <p:cNvSpPr txBox="1"/>
          <p:nvPr/>
        </p:nvSpPr>
        <p:spPr>
          <a:xfrm>
            <a:off x="4511004" y="1054505"/>
            <a:ext cx="3248103" cy="535531"/>
          </a:xfrm>
          <a:prstGeom prst="rect">
            <a:avLst/>
          </a:prstGeom>
          <a:noFill/>
          <a:ln>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600" b="1" dirty="0">
                <a:solidFill>
                  <a:srgbClr val="122246"/>
                </a:solidFill>
                <a:latin typeface="Arial" panose="020B0604020202020204" pitchFamily="34" charset="0"/>
                <a:cs typeface="Arial" panose="020B0604020202020204" pitchFamily="34" charset="0"/>
              </a:rPr>
              <a:t>Beneficial Attributes and Functionalities</a:t>
            </a:r>
          </a:p>
        </p:txBody>
      </p:sp>
      <p:grpSp>
        <p:nvGrpSpPr>
          <p:cNvPr id="59" name="Group 58">
            <a:extLst>
              <a:ext uri="{FF2B5EF4-FFF2-40B4-BE49-F238E27FC236}">
                <a16:creationId xmlns:a16="http://schemas.microsoft.com/office/drawing/2014/main" id="{3953B949-52F7-E19E-D3C7-B2CD1056B14C}"/>
              </a:ext>
            </a:extLst>
          </p:cNvPr>
          <p:cNvGrpSpPr/>
          <p:nvPr/>
        </p:nvGrpSpPr>
        <p:grpSpPr>
          <a:xfrm>
            <a:off x="868778" y="4351168"/>
            <a:ext cx="2659932" cy="1840114"/>
            <a:chOff x="540265" y="1592494"/>
            <a:chExt cx="2802608" cy="1938815"/>
          </a:xfrm>
        </p:grpSpPr>
        <p:grpSp>
          <p:nvGrpSpPr>
            <p:cNvPr id="47" name="Group 46">
              <a:extLst>
                <a:ext uri="{FF2B5EF4-FFF2-40B4-BE49-F238E27FC236}">
                  <a16:creationId xmlns:a16="http://schemas.microsoft.com/office/drawing/2014/main" id="{91DABA93-2DCC-0D49-851C-34EBCDE7FF93}"/>
                </a:ext>
              </a:extLst>
            </p:cNvPr>
            <p:cNvGrpSpPr/>
            <p:nvPr/>
          </p:nvGrpSpPr>
          <p:grpSpPr>
            <a:xfrm>
              <a:off x="540265" y="1592494"/>
              <a:ext cx="2802608" cy="1938815"/>
              <a:chOff x="800753" y="1758284"/>
              <a:chExt cx="2343139" cy="1533025"/>
            </a:xfrm>
          </p:grpSpPr>
          <p:sp>
            <p:nvSpPr>
              <p:cNvPr id="34" name="Isosceles Triangle 33">
                <a:extLst>
                  <a:ext uri="{FF2B5EF4-FFF2-40B4-BE49-F238E27FC236}">
                    <a16:creationId xmlns:a16="http://schemas.microsoft.com/office/drawing/2014/main" id="{9C42F88E-40AF-911B-2C17-D489FF93B1D3}"/>
                  </a:ext>
                </a:extLst>
              </p:cNvPr>
              <p:cNvSpPr/>
              <p:nvPr/>
            </p:nvSpPr>
            <p:spPr>
              <a:xfrm rot="10800000">
                <a:off x="800753" y="1758284"/>
                <a:ext cx="1136342" cy="745220"/>
              </a:xfrm>
              <a:prstGeom prst="triangle">
                <a:avLst/>
              </a:prstGeom>
              <a:solidFill>
                <a:srgbClr val="0030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Isosceles Triangle 34">
                <a:extLst>
                  <a:ext uri="{FF2B5EF4-FFF2-40B4-BE49-F238E27FC236}">
                    <a16:creationId xmlns:a16="http://schemas.microsoft.com/office/drawing/2014/main" id="{B1620EE5-3406-0402-A98D-66905C473A2A}"/>
                  </a:ext>
                </a:extLst>
              </p:cNvPr>
              <p:cNvSpPr/>
              <p:nvPr/>
            </p:nvSpPr>
            <p:spPr>
              <a:xfrm rot="10800000">
                <a:off x="2007550" y="1758284"/>
                <a:ext cx="1136342" cy="745220"/>
              </a:xfrm>
              <a:prstGeom prst="triangle">
                <a:avLst/>
              </a:prstGeom>
              <a:solidFill>
                <a:srgbClr val="0030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Isosceles Triangle 35">
                <a:extLst>
                  <a:ext uri="{FF2B5EF4-FFF2-40B4-BE49-F238E27FC236}">
                    <a16:creationId xmlns:a16="http://schemas.microsoft.com/office/drawing/2014/main" id="{B355D11A-BCE8-3527-200B-9EC419E90B1D}"/>
                  </a:ext>
                </a:extLst>
              </p:cNvPr>
              <p:cNvSpPr/>
              <p:nvPr/>
            </p:nvSpPr>
            <p:spPr>
              <a:xfrm rot="10800000">
                <a:off x="1394611" y="2546089"/>
                <a:ext cx="1136342" cy="745220"/>
              </a:xfrm>
              <a:prstGeom prst="triangle">
                <a:avLst/>
              </a:prstGeom>
              <a:solidFill>
                <a:srgbClr val="00305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TextBox 36">
              <a:extLst>
                <a:ext uri="{FF2B5EF4-FFF2-40B4-BE49-F238E27FC236}">
                  <a16:creationId xmlns:a16="http://schemas.microsoft.com/office/drawing/2014/main" id="{CE92E6C5-7FDC-4996-7D55-FEF22D3F2DDA}"/>
                </a:ext>
              </a:extLst>
            </p:cNvPr>
            <p:cNvSpPr txBox="1"/>
            <p:nvPr/>
          </p:nvSpPr>
          <p:spPr>
            <a:xfrm>
              <a:off x="748166" y="1685991"/>
              <a:ext cx="894797" cy="258532"/>
            </a:xfrm>
            <a:prstGeom prst="rect">
              <a:avLst/>
            </a:prstGeom>
            <a:noFill/>
          </p:spPr>
          <p:txBody>
            <a:bodyPr wrap="none" rtlCol="0">
              <a:spAutoFit/>
            </a:bodyPr>
            <a:lstStyle/>
            <a:p>
              <a:pPr algn="ctr">
                <a:lnSpc>
                  <a:spcPct val="90000"/>
                </a:lnSpc>
              </a:pPr>
              <a:r>
                <a:rPr lang="en-US" sz="1200" b="1" dirty="0">
                  <a:solidFill>
                    <a:schemeClr val="bg1"/>
                  </a:solidFill>
                  <a:latin typeface="Arial" panose="020B0604020202020204" pitchFamily="34" charset="0"/>
                  <a:cs typeface="Arial" panose="020B0604020202020204" pitchFamily="34" charset="0"/>
                </a:rPr>
                <a:t>Bentonite</a:t>
              </a:r>
            </a:p>
          </p:txBody>
        </p:sp>
        <p:sp>
          <p:nvSpPr>
            <p:cNvPr id="38" name="TextBox 37">
              <a:extLst>
                <a:ext uri="{FF2B5EF4-FFF2-40B4-BE49-F238E27FC236}">
                  <a16:creationId xmlns:a16="http://schemas.microsoft.com/office/drawing/2014/main" id="{2B1E1A47-BED6-9D39-DC78-A3645B4FA8B2}"/>
                </a:ext>
              </a:extLst>
            </p:cNvPr>
            <p:cNvSpPr txBox="1"/>
            <p:nvPr/>
          </p:nvSpPr>
          <p:spPr>
            <a:xfrm>
              <a:off x="2204523" y="1610528"/>
              <a:ext cx="944489" cy="424732"/>
            </a:xfrm>
            <a:prstGeom prst="rect">
              <a:avLst/>
            </a:prstGeom>
            <a:noFill/>
          </p:spPr>
          <p:txBody>
            <a:bodyPr wrap="none" rtlCol="0">
              <a:spAutoFit/>
            </a:bodyPr>
            <a:lstStyle/>
            <a:p>
              <a:pPr algn="ctr">
                <a:lnSpc>
                  <a:spcPct val="90000"/>
                </a:lnSpc>
              </a:pPr>
              <a:r>
                <a:rPr lang="en-US" sz="1200" b="1" dirty="0">
                  <a:solidFill>
                    <a:schemeClr val="bg1"/>
                  </a:solidFill>
                  <a:latin typeface="Arial" panose="020B0604020202020204" pitchFamily="34" charset="0"/>
                  <a:cs typeface="Arial" panose="020B0604020202020204" pitchFamily="34" charset="0"/>
                </a:rPr>
                <a:t>Calcium</a:t>
              </a:r>
            </a:p>
            <a:p>
              <a:pPr algn="ctr">
                <a:lnSpc>
                  <a:spcPct val="90000"/>
                </a:lnSpc>
              </a:pPr>
              <a:r>
                <a:rPr lang="en-US" sz="1200" b="1" dirty="0">
                  <a:solidFill>
                    <a:schemeClr val="bg1"/>
                  </a:solidFill>
                  <a:latin typeface="Arial" panose="020B0604020202020204" pitchFamily="34" charset="0"/>
                  <a:cs typeface="Arial" panose="020B0604020202020204" pitchFamily="34" charset="0"/>
                </a:rPr>
                <a:t>Carbonate</a:t>
              </a:r>
            </a:p>
          </p:txBody>
        </p:sp>
        <p:sp>
          <p:nvSpPr>
            <p:cNvPr id="39" name="TextBox 38">
              <a:extLst>
                <a:ext uri="{FF2B5EF4-FFF2-40B4-BE49-F238E27FC236}">
                  <a16:creationId xmlns:a16="http://schemas.microsoft.com/office/drawing/2014/main" id="{899DCC71-4CC5-493F-C469-611A140050BB}"/>
                </a:ext>
              </a:extLst>
            </p:cNvPr>
            <p:cNvSpPr txBox="1"/>
            <p:nvPr/>
          </p:nvSpPr>
          <p:spPr>
            <a:xfrm>
              <a:off x="1479145" y="2574340"/>
              <a:ext cx="905635" cy="622628"/>
            </a:xfrm>
            <a:prstGeom prst="rect">
              <a:avLst/>
            </a:prstGeom>
            <a:noFill/>
          </p:spPr>
          <p:txBody>
            <a:bodyPr wrap="none" rtlCol="0">
              <a:spAutoFit/>
            </a:bodyPr>
            <a:lstStyle/>
            <a:p>
              <a:pPr algn="ctr">
                <a:lnSpc>
                  <a:spcPct val="90000"/>
                </a:lnSpc>
              </a:pPr>
              <a:r>
                <a:rPr lang="en-US" sz="1200" b="1" dirty="0">
                  <a:solidFill>
                    <a:schemeClr val="bg1"/>
                  </a:solidFill>
                  <a:latin typeface="Arial" panose="020B0604020202020204" pitchFamily="34" charset="0"/>
                  <a:cs typeface="Arial" panose="020B0604020202020204" pitchFamily="34" charset="0"/>
                </a:rPr>
                <a:t>Other </a:t>
              </a:r>
            </a:p>
            <a:p>
              <a:pPr algn="ctr">
                <a:lnSpc>
                  <a:spcPct val="90000"/>
                </a:lnSpc>
              </a:pPr>
              <a:r>
                <a:rPr lang="en-US" sz="1200" b="1" dirty="0">
                  <a:solidFill>
                    <a:schemeClr val="bg1"/>
                  </a:solidFill>
                  <a:latin typeface="Arial" panose="020B0604020202020204" pitchFamily="34" charset="0"/>
                  <a:cs typeface="Arial" panose="020B0604020202020204" pitchFamily="34" charset="0"/>
                </a:rPr>
                <a:t>Specialty</a:t>
              </a:r>
            </a:p>
            <a:p>
              <a:pPr algn="ctr">
                <a:lnSpc>
                  <a:spcPct val="90000"/>
                </a:lnSpc>
              </a:pPr>
              <a:r>
                <a:rPr lang="en-US" sz="1200" b="1" dirty="0">
                  <a:solidFill>
                    <a:schemeClr val="bg1"/>
                  </a:solidFill>
                  <a:latin typeface="Arial" panose="020B0604020202020204" pitchFamily="34" charset="0"/>
                  <a:cs typeface="Arial" panose="020B0604020202020204" pitchFamily="34" charset="0"/>
                </a:rPr>
                <a:t>Minerals</a:t>
              </a:r>
            </a:p>
          </p:txBody>
        </p:sp>
      </p:grpSp>
      <p:sp>
        <p:nvSpPr>
          <p:cNvPr id="13" name="TextBox 12">
            <a:extLst>
              <a:ext uri="{FF2B5EF4-FFF2-40B4-BE49-F238E27FC236}">
                <a16:creationId xmlns:a16="http://schemas.microsoft.com/office/drawing/2014/main" id="{51E18D08-BC62-3F57-E1B0-C9CBE55405CA}"/>
              </a:ext>
            </a:extLst>
          </p:cNvPr>
          <p:cNvSpPr txBox="1"/>
          <p:nvPr/>
        </p:nvSpPr>
        <p:spPr>
          <a:xfrm>
            <a:off x="574693" y="3769130"/>
            <a:ext cx="3248103" cy="535531"/>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600" b="1" dirty="0">
                <a:solidFill>
                  <a:srgbClr val="122246"/>
                </a:solidFill>
                <a:latin typeface="Arial" panose="020B0604020202020204" pitchFamily="34" charset="0"/>
                <a:cs typeface="Arial" panose="020B0604020202020204" pitchFamily="34" charset="0"/>
              </a:rPr>
              <a:t>Differentiated Global </a:t>
            </a:r>
            <a:br>
              <a:rPr lang="en-US" sz="1600" b="1" dirty="0">
                <a:solidFill>
                  <a:srgbClr val="122246"/>
                </a:solidFill>
                <a:latin typeface="Arial" panose="020B0604020202020204" pitchFamily="34" charset="0"/>
                <a:cs typeface="Arial" panose="020B0604020202020204" pitchFamily="34" charset="0"/>
              </a:rPr>
            </a:br>
            <a:r>
              <a:rPr lang="en-US" sz="1600" b="1" dirty="0">
                <a:solidFill>
                  <a:srgbClr val="122246"/>
                </a:solidFill>
                <a:latin typeface="Arial" panose="020B0604020202020204" pitchFamily="34" charset="0"/>
                <a:cs typeface="Arial" panose="020B0604020202020204" pitchFamily="34" charset="0"/>
              </a:rPr>
              <a:t>Mineral Reserves</a:t>
            </a:r>
          </a:p>
        </p:txBody>
      </p:sp>
      <p:sp>
        <p:nvSpPr>
          <p:cNvPr id="63" name="Rectangle 62">
            <a:extLst>
              <a:ext uri="{FF2B5EF4-FFF2-40B4-BE49-F238E27FC236}">
                <a16:creationId xmlns:a16="http://schemas.microsoft.com/office/drawing/2014/main" id="{CB8E8BA7-AD03-0E30-324C-5D1917E495CD}"/>
              </a:ext>
            </a:extLst>
          </p:cNvPr>
          <p:cNvSpPr/>
          <p:nvPr/>
        </p:nvSpPr>
        <p:spPr>
          <a:xfrm>
            <a:off x="8391861" y="1060952"/>
            <a:ext cx="3257417" cy="51695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122246"/>
              </a:solidFill>
              <a:effectLst/>
              <a:uLnTx/>
              <a:uFillTx/>
              <a:latin typeface="Arial" panose="020B0604020202020204" pitchFamily="34" charset="0"/>
              <a:ea typeface="+mn-ea"/>
              <a:cs typeface="Arial" panose="020B0604020202020204" pitchFamily="34" charset="0"/>
            </a:endParaRPr>
          </a:p>
        </p:txBody>
      </p:sp>
      <p:grpSp>
        <p:nvGrpSpPr>
          <p:cNvPr id="55" name="Group 54">
            <a:extLst>
              <a:ext uri="{FF2B5EF4-FFF2-40B4-BE49-F238E27FC236}">
                <a16:creationId xmlns:a16="http://schemas.microsoft.com/office/drawing/2014/main" id="{BC795137-43F7-C517-3E5F-5DAC41CAE7BE}"/>
              </a:ext>
            </a:extLst>
          </p:cNvPr>
          <p:cNvGrpSpPr/>
          <p:nvPr/>
        </p:nvGrpSpPr>
        <p:grpSpPr>
          <a:xfrm>
            <a:off x="1355333" y="1725944"/>
            <a:ext cx="772368" cy="834898"/>
            <a:chOff x="2127107" y="4380365"/>
            <a:chExt cx="702914" cy="742058"/>
          </a:xfrm>
        </p:grpSpPr>
        <p:sp>
          <p:nvSpPr>
            <p:cNvPr id="17" name="Hexagon 16">
              <a:extLst>
                <a:ext uri="{FF2B5EF4-FFF2-40B4-BE49-F238E27FC236}">
                  <a16:creationId xmlns:a16="http://schemas.microsoft.com/office/drawing/2014/main" id="{615ACF2B-2D5D-6FFF-7730-ADAE88251397}"/>
                </a:ext>
              </a:extLst>
            </p:cNvPr>
            <p:cNvSpPr/>
            <p:nvPr/>
          </p:nvSpPr>
          <p:spPr>
            <a:xfrm rot="5400000">
              <a:off x="2107535" y="4399937"/>
              <a:ext cx="742058" cy="702914"/>
            </a:xfrm>
            <a:prstGeom prst="hexagon">
              <a:avLst>
                <a:gd name="adj" fmla="val 25000"/>
                <a:gd name="vf" fmla="val 115470"/>
              </a:avLst>
            </a:prstGeom>
            <a:solidFill>
              <a:srgbClr val="00305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 name="Graphic 78">
              <a:extLst>
                <a:ext uri="{FF2B5EF4-FFF2-40B4-BE49-F238E27FC236}">
                  <a16:creationId xmlns:a16="http://schemas.microsoft.com/office/drawing/2014/main" id="{9426C11D-F530-5ADA-CEAA-04BA9BF33C84}"/>
                </a:ext>
              </a:extLst>
            </p:cNvPr>
            <p:cNvGrpSpPr/>
            <p:nvPr/>
          </p:nvGrpSpPr>
          <p:grpSpPr>
            <a:xfrm>
              <a:off x="2317883" y="4497697"/>
              <a:ext cx="315204" cy="343857"/>
              <a:chOff x="12205526" y="977866"/>
              <a:chExt cx="289576" cy="342357"/>
            </a:xfrm>
            <a:solidFill>
              <a:srgbClr val="F0F0F0"/>
            </a:solidFill>
          </p:grpSpPr>
          <p:sp>
            <p:nvSpPr>
              <p:cNvPr id="16" name="Freeform 107">
                <a:extLst>
                  <a:ext uri="{FF2B5EF4-FFF2-40B4-BE49-F238E27FC236}">
                    <a16:creationId xmlns:a16="http://schemas.microsoft.com/office/drawing/2014/main" id="{7A9F2694-E4BA-578D-F9E7-B809B20E3727}"/>
                  </a:ext>
                </a:extLst>
              </p:cNvPr>
              <p:cNvSpPr/>
              <p:nvPr/>
            </p:nvSpPr>
            <p:spPr>
              <a:xfrm>
                <a:off x="12206944" y="979632"/>
                <a:ext cx="153790" cy="338972"/>
              </a:xfrm>
              <a:custGeom>
                <a:avLst/>
                <a:gdLst>
                  <a:gd name="connsiteX0" fmla="*/ 150799 w 153790"/>
                  <a:gd name="connsiteY0" fmla="*/ 338973 h 338972"/>
                  <a:gd name="connsiteX1" fmla="*/ 147756 w 153790"/>
                  <a:gd name="connsiteY1" fmla="*/ 336401 h 338972"/>
                  <a:gd name="connsiteX2" fmla="*/ 111431 w 153790"/>
                  <a:gd name="connsiteY2" fmla="*/ 115231 h 338972"/>
                  <a:gd name="connsiteX3" fmla="*/ 61032 w 153790"/>
                  <a:gd name="connsiteY3" fmla="*/ 134852 h 338972"/>
                  <a:gd name="connsiteX4" fmla="*/ 59320 w 153790"/>
                  <a:gd name="connsiteY4" fmla="*/ 135043 h 338972"/>
                  <a:gd name="connsiteX5" fmla="*/ 2455 w 153790"/>
                  <a:gd name="connsiteY5" fmla="*/ 123041 h 338972"/>
                  <a:gd name="connsiteX6" fmla="*/ 78 w 153790"/>
                  <a:gd name="connsiteY6" fmla="*/ 119422 h 338972"/>
                  <a:gd name="connsiteX7" fmla="*/ 3691 w 153790"/>
                  <a:gd name="connsiteY7" fmla="*/ 117040 h 338972"/>
                  <a:gd name="connsiteX8" fmla="*/ 59701 w 153790"/>
                  <a:gd name="connsiteY8" fmla="*/ 128851 h 338972"/>
                  <a:gd name="connsiteX9" fmla="*/ 109624 w 153790"/>
                  <a:gd name="connsiteY9" fmla="*/ 109420 h 338972"/>
                  <a:gd name="connsiteX10" fmla="*/ 58179 w 153790"/>
                  <a:gd name="connsiteY10" fmla="*/ 4455 h 338972"/>
                  <a:gd name="connsiteX11" fmla="*/ 58940 w 153790"/>
                  <a:gd name="connsiteY11" fmla="*/ 740 h 338972"/>
                  <a:gd name="connsiteX12" fmla="*/ 62744 w 153790"/>
                  <a:gd name="connsiteY12" fmla="*/ 550 h 338972"/>
                  <a:gd name="connsiteX13" fmla="*/ 145093 w 153790"/>
                  <a:gd name="connsiteY13" fmla="*/ 59033 h 338972"/>
                  <a:gd name="connsiteX14" fmla="*/ 145949 w 153790"/>
                  <a:gd name="connsiteY14" fmla="*/ 63129 h 338972"/>
                  <a:gd name="connsiteX15" fmla="*/ 117041 w 153790"/>
                  <a:gd name="connsiteY15" fmla="*/ 111611 h 338972"/>
                  <a:gd name="connsiteX16" fmla="*/ 153747 w 153790"/>
                  <a:gd name="connsiteY16" fmla="*/ 335449 h 338972"/>
                  <a:gd name="connsiteX17" fmla="*/ 151179 w 153790"/>
                  <a:gd name="connsiteY17" fmla="*/ 338973 h 338972"/>
                  <a:gd name="connsiteX18" fmla="*/ 150704 w 153790"/>
                  <a:gd name="connsiteY18" fmla="*/ 338973 h 338972"/>
                  <a:gd name="connsiteX19" fmla="*/ 69115 w 153790"/>
                  <a:gd name="connsiteY19" fmla="*/ 12456 h 338972"/>
                  <a:gd name="connsiteX20" fmla="*/ 114188 w 153790"/>
                  <a:gd name="connsiteY20" fmla="*/ 104467 h 338972"/>
                  <a:gd name="connsiteX21" fmla="*/ 139293 w 153790"/>
                  <a:gd name="connsiteY21" fmla="*/ 62272 h 338972"/>
                  <a:gd name="connsiteX22" fmla="*/ 69115 w 153790"/>
                  <a:gd name="connsiteY22" fmla="*/ 12456 h 3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790" h="338972">
                    <a:moveTo>
                      <a:pt x="150799" y="338973"/>
                    </a:moveTo>
                    <a:cubicBezTo>
                      <a:pt x="149277" y="338973"/>
                      <a:pt x="148041" y="337925"/>
                      <a:pt x="147756" y="336401"/>
                    </a:cubicBezTo>
                    <a:lnTo>
                      <a:pt x="111431" y="115231"/>
                    </a:lnTo>
                    <a:lnTo>
                      <a:pt x="61032" y="134852"/>
                    </a:lnTo>
                    <a:cubicBezTo>
                      <a:pt x="60461" y="135043"/>
                      <a:pt x="59891" y="135138"/>
                      <a:pt x="59320" y="135043"/>
                    </a:cubicBezTo>
                    <a:lnTo>
                      <a:pt x="2455" y="123041"/>
                    </a:lnTo>
                    <a:cubicBezTo>
                      <a:pt x="744" y="122660"/>
                      <a:pt x="-302" y="121041"/>
                      <a:pt x="78" y="119422"/>
                    </a:cubicBezTo>
                    <a:cubicBezTo>
                      <a:pt x="458" y="117707"/>
                      <a:pt x="2075" y="116659"/>
                      <a:pt x="3691" y="117040"/>
                    </a:cubicBezTo>
                    <a:lnTo>
                      <a:pt x="59701" y="128851"/>
                    </a:lnTo>
                    <a:lnTo>
                      <a:pt x="109624" y="109420"/>
                    </a:lnTo>
                    <a:lnTo>
                      <a:pt x="58179" y="4455"/>
                    </a:lnTo>
                    <a:cubicBezTo>
                      <a:pt x="57514" y="3217"/>
                      <a:pt x="57894" y="1693"/>
                      <a:pt x="58940" y="740"/>
                    </a:cubicBezTo>
                    <a:cubicBezTo>
                      <a:pt x="59986" y="-212"/>
                      <a:pt x="61602" y="-212"/>
                      <a:pt x="62744" y="550"/>
                    </a:cubicBezTo>
                    <a:lnTo>
                      <a:pt x="145093" y="59033"/>
                    </a:lnTo>
                    <a:cubicBezTo>
                      <a:pt x="146425" y="59986"/>
                      <a:pt x="146805" y="61700"/>
                      <a:pt x="145949" y="63129"/>
                    </a:cubicBezTo>
                    <a:lnTo>
                      <a:pt x="117041" y="111611"/>
                    </a:lnTo>
                    <a:lnTo>
                      <a:pt x="153747" y="335449"/>
                    </a:lnTo>
                    <a:cubicBezTo>
                      <a:pt x="154032" y="337163"/>
                      <a:pt x="152891" y="338687"/>
                      <a:pt x="151179" y="338973"/>
                    </a:cubicBezTo>
                    <a:cubicBezTo>
                      <a:pt x="150989" y="338973"/>
                      <a:pt x="150799" y="338973"/>
                      <a:pt x="150704" y="338973"/>
                    </a:cubicBezTo>
                    <a:close/>
                    <a:moveTo>
                      <a:pt x="69115" y="12456"/>
                    </a:moveTo>
                    <a:lnTo>
                      <a:pt x="114188" y="104467"/>
                    </a:lnTo>
                    <a:lnTo>
                      <a:pt x="139293" y="62272"/>
                    </a:lnTo>
                    <a:lnTo>
                      <a:pt x="69115" y="1245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108">
                <a:extLst>
                  <a:ext uri="{FF2B5EF4-FFF2-40B4-BE49-F238E27FC236}">
                    <a16:creationId xmlns:a16="http://schemas.microsoft.com/office/drawing/2014/main" id="{8A84B571-799A-752D-870A-A5E7786228FD}"/>
                  </a:ext>
                </a:extLst>
              </p:cNvPr>
              <p:cNvSpPr/>
              <p:nvPr/>
            </p:nvSpPr>
            <p:spPr>
              <a:xfrm>
                <a:off x="12205526" y="977866"/>
                <a:ext cx="156659" cy="342167"/>
              </a:xfrm>
              <a:custGeom>
                <a:avLst/>
                <a:gdLst>
                  <a:gd name="connsiteX0" fmla="*/ 152217 w 156659"/>
                  <a:gd name="connsiteY0" fmla="*/ 342167 h 342167"/>
                  <a:gd name="connsiteX1" fmla="*/ 147748 w 156659"/>
                  <a:gd name="connsiteY1" fmla="*/ 338357 h 342167"/>
                  <a:gd name="connsiteX2" fmla="*/ 111708 w 156659"/>
                  <a:gd name="connsiteY2" fmla="*/ 118901 h 342167"/>
                  <a:gd name="connsiteX3" fmla="*/ 63021 w 156659"/>
                  <a:gd name="connsiteY3" fmla="*/ 137856 h 342167"/>
                  <a:gd name="connsiteX4" fmla="*/ 60453 w 156659"/>
                  <a:gd name="connsiteY4" fmla="*/ 138047 h 342167"/>
                  <a:gd name="connsiteX5" fmla="*/ 3588 w 156659"/>
                  <a:gd name="connsiteY5" fmla="*/ 126045 h 342167"/>
                  <a:gd name="connsiteX6" fmla="*/ 736 w 156659"/>
                  <a:gd name="connsiteY6" fmla="*/ 124045 h 342167"/>
                  <a:gd name="connsiteX7" fmla="*/ 70 w 156659"/>
                  <a:gd name="connsiteY7" fmla="*/ 120616 h 342167"/>
                  <a:gd name="connsiteX8" fmla="*/ 5395 w 156659"/>
                  <a:gd name="connsiteY8" fmla="*/ 117092 h 342167"/>
                  <a:gd name="connsiteX9" fmla="*/ 60929 w 156659"/>
                  <a:gd name="connsiteY9" fmla="*/ 128807 h 342167"/>
                  <a:gd name="connsiteX10" fmla="*/ 108950 w 156659"/>
                  <a:gd name="connsiteY10" fmla="*/ 110043 h 342167"/>
                  <a:gd name="connsiteX11" fmla="*/ 58266 w 156659"/>
                  <a:gd name="connsiteY11" fmla="*/ 6506 h 342167"/>
                  <a:gd name="connsiteX12" fmla="*/ 59407 w 156659"/>
                  <a:gd name="connsiteY12" fmla="*/ 1077 h 342167"/>
                  <a:gd name="connsiteX13" fmla="*/ 64923 w 156659"/>
                  <a:gd name="connsiteY13" fmla="*/ 791 h 342167"/>
                  <a:gd name="connsiteX14" fmla="*/ 147272 w 156659"/>
                  <a:gd name="connsiteY14" fmla="*/ 59275 h 342167"/>
                  <a:gd name="connsiteX15" fmla="*/ 148509 w 156659"/>
                  <a:gd name="connsiteY15" fmla="*/ 65276 h 342167"/>
                  <a:gd name="connsiteX16" fmla="*/ 119886 w 156659"/>
                  <a:gd name="connsiteY16" fmla="*/ 113377 h 342167"/>
                  <a:gd name="connsiteX17" fmla="*/ 156591 w 156659"/>
                  <a:gd name="connsiteY17" fmla="*/ 336738 h 342167"/>
                  <a:gd name="connsiteX18" fmla="*/ 155831 w 156659"/>
                  <a:gd name="connsiteY18" fmla="*/ 340072 h 342167"/>
                  <a:gd name="connsiteX19" fmla="*/ 152883 w 156659"/>
                  <a:gd name="connsiteY19" fmla="*/ 341882 h 342167"/>
                  <a:gd name="connsiteX20" fmla="*/ 152122 w 156659"/>
                  <a:gd name="connsiteY20" fmla="*/ 341882 h 342167"/>
                  <a:gd name="connsiteX21" fmla="*/ 113990 w 156659"/>
                  <a:gd name="connsiteY21" fmla="*/ 114996 h 342167"/>
                  <a:gd name="connsiteX22" fmla="*/ 114275 w 156659"/>
                  <a:gd name="connsiteY22" fmla="*/ 116711 h 342167"/>
                  <a:gd name="connsiteX23" fmla="*/ 150601 w 156659"/>
                  <a:gd name="connsiteY23" fmla="*/ 337881 h 342167"/>
                  <a:gd name="connsiteX24" fmla="*/ 152502 w 156659"/>
                  <a:gd name="connsiteY24" fmla="*/ 339215 h 342167"/>
                  <a:gd name="connsiteX25" fmla="*/ 153549 w 156659"/>
                  <a:gd name="connsiteY25" fmla="*/ 338548 h 342167"/>
                  <a:gd name="connsiteX26" fmla="*/ 153834 w 156659"/>
                  <a:gd name="connsiteY26" fmla="*/ 337310 h 342167"/>
                  <a:gd name="connsiteX27" fmla="*/ 117033 w 156659"/>
                  <a:gd name="connsiteY27" fmla="*/ 112996 h 342167"/>
                  <a:gd name="connsiteX28" fmla="*/ 117319 w 156659"/>
                  <a:gd name="connsiteY28" fmla="*/ 112520 h 342167"/>
                  <a:gd name="connsiteX29" fmla="*/ 146226 w 156659"/>
                  <a:gd name="connsiteY29" fmla="*/ 64037 h 342167"/>
                  <a:gd name="connsiteX30" fmla="*/ 145751 w 156659"/>
                  <a:gd name="connsiteY30" fmla="*/ 61847 h 342167"/>
                  <a:gd name="connsiteX31" fmla="*/ 63401 w 156659"/>
                  <a:gd name="connsiteY31" fmla="*/ 3363 h 342167"/>
                  <a:gd name="connsiteX32" fmla="*/ 61404 w 156659"/>
                  <a:gd name="connsiteY32" fmla="*/ 3363 h 342167"/>
                  <a:gd name="connsiteX33" fmla="*/ 61024 w 156659"/>
                  <a:gd name="connsiteY33" fmla="*/ 5363 h 342167"/>
                  <a:gd name="connsiteX34" fmla="*/ 113134 w 156659"/>
                  <a:gd name="connsiteY34" fmla="*/ 111758 h 342167"/>
                  <a:gd name="connsiteX35" fmla="*/ 61404 w 156659"/>
                  <a:gd name="connsiteY35" fmla="*/ 131951 h 342167"/>
                  <a:gd name="connsiteX36" fmla="*/ 61024 w 156659"/>
                  <a:gd name="connsiteY36" fmla="*/ 131951 h 342167"/>
                  <a:gd name="connsiteX37" fmla="*/ 5015 w 156659"/>
                  <a:gd name="connsiteY37" fmla="*/ 120044 h 342167"/>
                  <a:gd name="connsiteX38" fmla="*/ 3018 w 156659"/>
                  <a:gd name="connsiteY38" fmla="*/ 121283 h 342167"/>
                  <a:gd name="connsiteX39" fmla="*/ 3208 w 156659"/>
                  <a:gd name="connsiteY39" fmla="*/ 122521 h 342167"/>
                  <a:gd name="connsiteX40" fmla="*/ 4254 w 156659"/>
                  <a:gd name="connsiteY40" fmla="*/ 123188 h 342167"/>
                  <a:gd name="connsiteX41" fmla="*/ 61119 w 156659"/>
                  <a:gd name="connsiteY41" fmla="*/ 135189 h 342167"/>
                  <a:gd name="connsiteX42" fmla="*/ 62070 w 156659"/>
                  <a:gd name="connsiteY42" fmla="*/ 135189 h 342167"/>
                  <a:gd name="connsiteX43" fmla="*/ 114085 w 156659"/>
                  <a:gd name="connsiteY43" fmla="*/ 114901 h 342167"/>
                  <a:gd name="connsiteX44" fmla="*/ 115417 w 156659"/>
                  <a:gd name="connsiteY44" fmla="*/ 109281 h 342167"/>
                  <a:gd name="connsiteX45" fmla="*/ 66729 w 156659"/>
                  <a:gd name="connsiteY45" fmla="*/ 9935 h 342167"/>
                  <a:gd name="connsiteX46" fmla="*/ 142518 w 156659"/>
                  <a:gd name="connsiteY46" fmla="*/ 63752 h 342167"/>
                  <a:gd name="connsiteX47" fmla="*/ 115417 w 156659"/>
                  <a:gd name="connsiteY47" fmla="*/ 109281 h 342167"/>
                  <a:gd name="connsiteX48" fmla="*/ 74242 w 156659"/>
                  <a:gd name="connsiteY48" fmla="*/ 18698 h 342167"/>
                  <a:gd name="connsiteX49" fmla="*/ 115702 w 156659"/>
                  <a:gd name="connsiteY49" fmla="*/ 103280 h 342167"/>
                  <a:gd name="connsiteX50" fmla="*/ 138714 w 156659"/>
                  <a:gd name="connsiteY50" fmla="*/ 64514 h 342167"/>
                  <a:gd name="connsiteX51" fmla="*/ 74242 w 156659"/>
                  <a:gd name="connsiteY51" fmla="*/ 18698 h 3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659" h="342167">
                    <a:moveTo>
                      <a:pt x="152217" y="342167"/>
                    </a:moveTo>
                    <a:cubicBezTo>
                      <a:pt x="150030" y="342167"/>
                      <a:pt x="148128" y="340548"/>
                      <a:pt x="147748" y="338357"/>
                    </a:cubicBezTo>
                    <a:lnTo>
                      <a:pt x="111708" y="118901"/>
                    </a:lnTo>
                    <a:lnTo>
                      <a:pt x="63021" y="137856"/>
                    </a:lnTo>
                    <a:cubicBezTo>
                      <a:pt x="62260" y="138142"/>
                      <a:pt x="61309" y="138237"/>
                      <a:pt x="60453" y="138047"/>
                    </a:cubicBezTo>
                    <a:lnTo>
                      <a:pt x="3588" y="126045"/>
                    </a:lnTo>
                    <a:cubicBezTo>
                      <a:pt x="2447" y="125759"/>
                      <a:pt x="1401" y="125093"/>
                      <a:pt x="736" y="124045"/>
                    </a:cubicBezTo>
                    <a:cubicBezTo>
                      <a:pt x="70" y="122997"/>
                      <a:pt x="-120" y="121854"/>
                      <a:pt x="70" y="120616"/>
                    </a:cubicBezTo>
                    <a:cubicBezTo>
                      <a:pt x="545" y="118235"/>
                      <a:pt x="2922" y="116615"/>
                      <a:pt x="5395" y="117092"/>
                    </a:cubicBezTo>
                    <a:lnTo>
                      <a:pt x="60929" y="128807"/>
                    </a:lnTo>
                    <a:lnTo>
                      <a:pt x="108950" y="110043"/>
                    </a:lnTo>
                    <a:lnTo>
                      <a:pt x="58266" y="6506"/>
                    </a:lnTo>
                    <a:cubicBezTo>
                      <a:pt x="57315" y="4697"/>
                      <a:pt x="57791" y="2411"/>
                      <a:pt x="59407" y="1077"/>
                    </a:cubicBezTo>
                    <a:cubicBezTo>
                      <a:pt x="61024" y="-256"/>
                      <a:pt x="63211" y="-352"/>
                      <a:pt x="64923" y="791"/>
                    </a:cubicBezTo>
                    <a:lnTo>
                      <a:pt x="147272" y="59275"/>
                    </a:lnTo>
                    <a:cubicBezTo>
                      <a:pt x="149174" y="60608"/>
                      <a:pt x="149745" y="63275"/>
                      <a:pt x="148509" y="65276"/>
                    </a:cubicBezTo>
                    <a:lnTo>
                      <a:pt x="119886" y="113377"/>
                    </a:lnTo>
                    <a:lnTo>
                      <a:pt x="156591" y="336738"/>
                    </a:lnTo>
                    <a:cubicBezTo>
                      <a:pt x="156782" y="337881"/>
                      <a:pt x="156591" y="339119"/>
                      <a:pt x="155831" y="340072"/>
                    </a:cubicBezTo>
                    <a:cubicBezTo>
                      <a:pt x="155070" y="341024"/>
                      <a:pt x="154119" y="341691"/>
                      <a:pt x="152883" y="341882"/>
                    </a:cubicBezTo>
                    <a:cubicBezTo>
                      <a:pt x="152598" y="341882"/>
                      <a:pt x="152407" y="341882"/>
                      <a:pt x="152122" y="341882"/>
                    </a:cubicBezTo>
                    <a:close/>
                    <a:moveTo>
                      <a:pt x="113990" y="114996"/>
                    </a:moveTo>
                    <a:lnTo>
                      <a:pt x="114275" y="116711"/>
                    </a:lnTo>
                    <a:lnTo>
                      <a:pt x="150601" y="337881"/>
                    </a:lnTo>
                    <a:cubicBezTo>
                      <a:pt x="150791" y="338738"/>
                      <a:pt x="151647" y="339405"/>
                      <a:pt x="152502" y="339215"/>
                    </a:cubicBezTo>
                    <a:cubicBezTo>
                      <a:pt x="152978" y="339215"/>
                      <a:pt x="153358" y="338929"/>
                      <a:pt x="153549" y="338548"/>
                    </a:cubicBezTo>
                    <a:cubicBezTo>
                      <a:pt x="153834" y="338167"/>
                      <a:pt x="153929" y="337786"/>
                      <a:pt x="153834" y="337310"/>
                    </a:cubicBezTo>
                    <a:lnTo>
                      <a:pt x="117033" y="112996"/>
                    </a:lnTo>
                    <a:lnTo>
                      <a:pt x="117319" y="112520"/>
                    </a:lnTo>
                    <a:lnTo>
                      <a:pt x="146226" y="64037"/>
                    </a:lnTo>
                    <a:cubicBezTo>
                      <a:pt x="146702" y="63275"/>
                      <a:pt x="146417" y="62323"/>
                      <a:pt x="145751" y="61847"/>
                    </a:cubicBezTo>
                    <a:lnTo>
                      <a:pt x="63401" y="3363"/>
                    </a:lnTo>
                    <a:cubicBezTo>
                      <a:pt x="62831" y="2887"/>
                      <a:pt x="61975" y="2982"/>
                      <a:pt x="61404" y="3363"/>
                    </a:cubicBezTo>
                    <a:cubicBezTo>
                      <a:pt x="60834" y="3839"/>
                      <a:pt x="60643" y="4697"/>
                      <a:pt x="61024" y="5363"/>
                    </a:cubicBezTo>
                    <a:lnTo>
                      <a:pt x="113134" y="111758"/>
                    </a:lnTo>
                    <a:lnTo>
                      <a:pt x="61404" y="131951"/>
                    </a:lnTo>
                    <a:lnTo>
                      <a:pt x="61024" y="131951"/>
                    </a:lnTo>
                    <a:cubicBezTo>
                      <a:pt x="61024" y="131951"/>
                      <a:pt x="5015" y="120044"/>
                      <a:pt x="5015" y="120044"/>
                    </a:cubicBezTo>
                    <a:cubicBezTo>
                      <a:pt x="4159" y="119854"/>
                      <a:pt x="3208" y="120425"/>
                      <a:pt x="3018" y="121283"/>
                    </a:cubicBezTo>
                    <a:cubicBezTo>
                      <a:pt x="3018" y="121664"/>
                      <a:pt x="3018" y="122140"/>
                      <a:pt x="3208" y="122521"/>
                    </a:cubicBezTo>
                    <a:cubicBezTo>
                      <a:pt x="3493" y="122902"/>
                      <a:pt x="3779" y="123188"/>
                      <a:pt x="4254" y="123188"/>
                    </a:cubicBezTo>
                    <a:lnTo>
                      <a:pt x="61119" y="135189"/>
                    </a:lnTo>
                    <a:cubicBezTo>
                      <a:pt x="61119" y="135189"/>
                      <a:pt x="61784" y="135189"/>
                      <a:pt x="62070" y="135189"/>
                    </a:cubicBezTo>
                    <a:lnTo>
                      <a:pt x="114085" y="114901"/>
                    </a:lnTo>
                    <a:close/>
                    <a:moveTo>
                      <a:pt x="115417" y="109281"/>
                    </a:moveTo>
                    <a:lnTo>
                      <a:pt x="66729" y="9935"/>
                    </a:lnTo>
                    <a:lnTo>
                      <a:pt x="142518" y="63752"/>
                    </a:lnTo>
                    <a:lnTo>
                      <a:pt x="115417" y="109281"/>
                    </a:lnTo>
                    <a:close/>
                    <a:moveTo>
                      <a:pt x="74242" y="18698"/>
                    </a:moveTo>
                    <a:lnTo>
                      <a:pt x="115702" y="103280"/>
                    </a:lnTo>
                    <a:lnTo>
                      <a:pt x="138714" y="64514"/>
                    </a:lnTo>
                    <a:lnTo>
                      <a:pt x="74242" y="18698"/>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109">
                <a:extLst>
                  <a:ext uri="{FF2B5EF4-FFF2-40B4-BE49-F238E27FC236}">
                    <a16:creationId xmlns:a16="http://schemas.microsoft.com/office/drawing/2014/main" id="{F4FF687F-E3D9-4B9F-0871-B47D7D42BBA6}"/>
                  </a:ext>
                </a:extLst>
              </p:cNvPr>
              <p:cNvSpPr/>
              <p:nvPr/>
            </p:nvSpPr>
            <p:spPr>
              <a:xfrm>
                <a:off x="12392606" y="1062442"/>
                <a:ext cx="72913" cy="110621"/>
              </a:xfrm>
              <a:custGeom>
                <a:avLst/>
                <a:gdLst>
                  <a:gd name="connsiteX0" fmla="*/ 34934 w 72913"/>
                  <a:gd name="connsiteY0" fmla="*/ 110621 h 110621"/>
                  <a:gd name="connsiteX1" fmla="*/ 34934 w 72913"/>
                  <a:gd name="connsiteY1" fmla="*/ 110621 h 110621"/>
                  <a:gd name="connsiteX2" fmla="*/ 32082 w 72913"/>
                  <a:gd name="connsiteY2" fmla="*/ 108430 h 110621"/>
                  <a:gd name="connsiteX3" fmla="*/ 131 w 72913"/>
                  <a:gd name="connsiteY3" fmla="*/ 3941 h 110621"/>
                  <a:gd name="connsiteX4" fmla="*/ 2128 w 72913"/>
                  <a:gd name="connsiteY4" fmla="*/ 131 h 110621"/>
                  <a:gd name="connsiteX5" fmla="*/ 5932 w 72913"/>
                  <a:gd name="connsiteY5" fmla="*/ 2131 h 110621"/>
                  <a:gd name="connsiteX6" fmla="*/ 35220 w 72913"/>
                  <a:gd name="connsiteY6" fmla="*/ 97762 h 110621"/>
                  <a:gd name="connsiteX7" fmla="*/ 66980 w 72913"/>
                  <a:gd name="connsiteY7" fmla="*/ 9942 h 110621"/>
                  <a:gd name="connsiteX8" fmla="*/ 70879 w 72913"/>
                  <a:gd name="connsiteY8" fmla="*/ 8132 h 110621"/>
                  <a:gd name="connsiteX9" fmla="*/ 72686 w 72913"/>
                  <a:gd name="connsiteY9" fmla="*/ 12037 h 110621"/>
                  <a:gd name="connsiteX10" fmla="*/ 37787 w 72913"/>
                  <a:gd name="connsiteY10" fmla="*/ 108526 h 110621"/>
                  <a:gd name="connsiteX11" fmla="*/ 34934 w 72913"/>
                  <a:gd name="connsiteY11" fmla="*/ 110526 h 11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3" h="110621">
                    <a:moveTo>
                      <a:pt x="34934" y="110621"/>
                    </a:moveTo>
                    <a:cubicBezTo>
                      <a:pt x="34934" y="110621"/>
                      <a:pt x="34934" y="110621"/>
                      <a:pt x="34934" y="110621"/>
                    </a:cubicBezTo>
                    <a:cubicBezTo>
                      <a:pt x="33603" y="110621"/>
                      <a:pt x="32462" y="109669"/>
                      <a:pt x="32082" y="108430"/>
                    </a:cubicBezTo>
                    <a:lnTo>
                      <a:pt x="131" y="3941"/>
                    </a:lnTo>
                    <a:cubicBezTo>
                      <a:pt x="-345" y="2322"/>
                      <a:pt x="511" y="607"/>
                      <a:pt x="2128" y="131"/>
                    </a:cubicBezTo>
                    <a:cubicBezTo>
                      <a:pt x="3744" y="-345"/>
                      <a:pt x="5456" y="512"/>
                      <a:pt x="5932" y="2131"/>
                    </a:cubicBezTo>
                    <a:lnTo>
                      <a:pt x="35220" y="97762"/>
                    </a:lnTo>
                    <a:lnTo>
                      <a:pt x="66980" y="9942"/>
                    </a:lnTo>
                    <a:cubicBezTo>
                      <a:pt x="67551" y="8323"/>
                      <a:pt x="69358" y="7561"/>
                      <a:pt x="70879" y="8132"/>
                    </a:cubicBezTo>
                    <a:cubicBezTo>
                      <a:pt x="72496" y="8704"/>
                      <a:pt x="73352" y="10513"/>
                      <a:pt x="72686" y="12037"/>
                    </a:cubicBezTo>
                    <a:lnTo>
                      <a:pt x="37787" y="108526"/>
                    </a:lnTo>
                    <a:cubicBezTo>
                      <a:pt x="37312" y="109764"/>
                      <a:pt x="36171" y="110526"/>
                      <a:pt x="34934" y="11052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110">
                <a:extLst>
                  <a:ext uri="{FF2B5EF4-FFF2-40B4-BE49-F238E27FC236}">
                    <a16:creationId xmlns:a16="http://schemas.microsoft.com/office/drawing/2014/main" id="{69F95F6E-1531-2EC6-CB0B-25768C207573}"/>
                  </a:ext>
                </a:extLst>
              </p:cNvPr>
              <p:cNvSpPr/>
              <p:nvPr/>
            </p:nvSpPr>
            <p:spPr>
              <a:xfrm>
                <a:off x="12391096" y="1061025"/>
                <a:ext cx="75856" cy="113466"/>
              </a:xfrm>
              <a:custGeom>
                <a:avLst/>
                <a:gdLst>
                  <a:gd name="connsiteX0" fmla="*/ 36444 w 75856"/>
                  <a:gd name="connsiteY0" fmla="*/ 113467 h 113466"/>
                  <a:gd name="connsiteX1" fmla="*/ 36444 w 75856"/>
                  <a:gd name="connsiteY1" fmla="*/ 113467 h 113466"/>
                  <a:gd name="connsiteX2" fmla="*/ 32165 w 75856"/>
                  <a:gd name="connsiteY2" fmla="*/ 110324 h 113466"/>
                  <a:gd name="connsiteX3" fmla="*/ 214 w 75856"/>
                  <a:gd name="connsiteY3" fmla="*/ 5834 h 113466"/>
                  <a:gd name="connsiteX4" fmla="*/ 3162 w 75856"/>
                  <a:gd name="connsiteY4" fmla="*/ 215 h 113466"/>
                  <a:gd name="connsiteX5" fmla="*/ 8772 w 75856"/>
                  <a:gd name="connsiteY5" fmla="*/ 3167 h 113466"/>
                  <a:gd name="connsiteX6" fmla="*/ 36729 w 75856"/>
                  <a:gd name="connsiteY6" fmla="*/ 94703 h 113466"/>
                  <a:gd name="connsiteX7" fmla="*/ 67064 w 75856"/>
                  <a:gd name="connsiteY7" fmla="*/ 10883 h 113466"/>
                  <a:gd name="connsiteX8" fmla="*/ 72865 w 75856"/>
                  <a:gd name="connsiteY8" fmla="*/ 8216 h 113466"/>
                  <a:gd name="connsiteX9" fmla="*/ 75622 w 75856"/>
                  <a:gd name="connsiteY9" fmla="*/ 14026 h 113466"/>
                  <a:gd name="connsiteX10" fmla="*/ 40723 w 75856"/>
                  <a:gd name="connsiteY10" fmla="*/ 110514 h 113466"/>
                  <a:gd name="connsiteX11" fmla="*/ 36444 w 75856"/>
                  <a:gd name="connsiteY11" fmla="*/ 113467 h 113466"/>
                  <a:gd name="connsiteX12" fmla="*/ 4493 w 75856"/>
                  <a:gd name="connsiteY12" fmla="*/ 2786 h 113466"/>
                  <a:gd name="connsiteX13" fmla="*/ 4018 w 75856"/>
                  <a:gd name="connsiteY13" fmla="*/ 2786 h 113466"/>
                  <a:gd name="connsiteX14" fmla="*/ 2877 w 75856"/>
                  <a:gd name="connsiteY14" fmla="*/ 4882 h 113466"/>
                  <a:gd name="connsiteX15" fmla="*/ 34828 w 75856"/>
                  <a:gd name="connsiteY15" fmla="*/ 109371 h 113466"/>
                  <a:gd name="connsiteX16" fmla="*/ 36349 w 75856"/>
                  <a:gd name="connsiteY16" fmla="*/ 110514 h 113466"/>
                  <a:gd name="connsiteX17" fmla="*/ 36349 w 75856"/>
                  <a:gd name="connsiteY17" fmla="*/ 111943 h 113466"/>
                  <a:gd name="connsiteX18" fmla="*/ 36349 w 75856"/>
                  <a:gd name="connsiteY18" fmla="*/ 110514 h 113466"/>
                  <a:gd name="connsiteX19" fmla="*/ 37871 w 75856"/>
                  <a:gd name="connsiteY19" fmla="*/ 109466 h 113466"/>
                  <a:gd name="connsiteX20" fmla="*/ 72769 w 75856"/>
                  <a:gd name="connsiteY20" fmla="*/ 12978 h 113466"/>
                  <a:gd name="connsiteX21" fmla="*/ 71818 w 75856"/>
                  <a:gd name="connsiteY21" fmla="*/ 10883 h 113466"/>
                  <a:gd name="connsiteX22" fmla="*/ 69726 w 75856"/>
                  <a:gd name="connsiteY22" fmla="*/ 11835 h 113466"/>
                  <a:gd name="connsiteX23" fmla="*/ 36444 w 75856"/>
                  <a:gd name="connsiteY23" fmla="*/ 103656 h 113466"/>
                  <a:gd name="connsiteX24" fmla="*/ 5920 w 75856"/>
                  <a:gd name="connsiteY24" fmla="*/ 3929 h 113466"/>
                  <a:gd name="connsiteX25" fmla="*/ 4303 w 75856"/>
                  <a:gd name="connsiteY25" fmla="*/ 2786 h 1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856" h="113466">
                    <a:moveTo>
                      <a:pt x="36444" y="113467"/>
                    </a:moveTo>
                    <a:lnTo>
                      <a:pt x="36444" y="113467"/>
                    </a:lnTo>
                    <a:cubicBezTo>
                      <a:pt x="34447" y="113467"/>
                      <a:pt x="32831" y="112133"/>
                      <a:pt x="32165" y="110324"/>
                    </a:cubicBezTo>
                    <a:lnTo>
                      <a:pt x="214" y="5834"/>
                    </a:lnTo>
                    <a:cubicBezTo>
                      <a:pt x="-546" y="3453"/>
                      <a:pt x="785" y="881"/>
                      <a:pt x="3162" y="215"/>
                    </a:cubicBezTo>
                    <a:cubicBezTo>
                      <a:pt x="5539" y="-547"/>
                      <a:pt x="8012" y="786"/>
                      <a:pt x="8772" y="3167"/>
                    </a:cubicBezTo>
                    <a:lnTo>
                      <a:pt x="36729" y="94703"/>
                    </a:lnTo>
                    <a:lnTo>
                      <a:pt x="67064" y="10883"/>
                    </a:lnTo>
                    <a:cubicBezTo>
                      <a:pt x="67920" y="8501"/>
                      <a:pt x="70487" y="7358"/>
                      <a:pt x="72865" y="8216"/>
                    </a:cubicBezTo>
                    <a:cubicBezTo>
                      <a:pt x="75242" y="9073"/>
                      <a:pt x="76383" y="11645"/>
                      <a:pt x="75622" y="14026"/>
                    </a:cubicBezTo>
                    <a:lnTo>
                      <a:pt x="40723" y="110514"/>
                    </a:lnTo>
                    <a:cubicBezTo>
                      <a:pt x="40058" y="112324"/>
                      <a:pt x="38346" y="113467"/>
                      <a:pt x="36444" y="113467"/>
                    </a:cubicBezTo>
                    <a:close/>
                    <a:moveTo>
                      <a:pt x="4493" y="2786"/>
                    </a:moveTo>
                    <a:cubicBezTo>
                      <a:pt x="4493" y="2786"/>
                      <a:pt x="4208" y="2786"/>
                      <a:pt x="4018" y="2786"/>
                    </a:cubicBezTo>
                    <a:cubicBezTo>
                      <a:pt x="3162" y="3072"/>
                      <a:pt x="2687" y="4025"/>
                      <a:pt x="2877" y="4882"/>
                    </a:cubicBezTo>
                    <a:lnTo>
                      <a:pt x="34828" y="109371"/>
                    </a:lnTo>
                    <a:cubicBezTo>
                      <a:pt x="35018" y="110038"/>
                      <a:pt x="35684" y="110514"/>
                      <a:pt x="36349" y="110514"/>
                    </a:cubicBezTo>
                    <a:lnTo>
                      <a:pt x="36349" y="111943"/>
                    </a:lnTo>
                    <a:cubicBezTo>
                      <a:pt x="36349" y="111943"/>
                      <a:pt x="36349" y="110514"/>
                      <a:pt x="36349" y="110514"/>
                    </a:cubicBezTo>
                    <a:cubicBezTo>
                      <a:pt x="37015" y="110514"/>
                      <a:pt x="37680" y="110038"/>
                      <a:pt x="37871" y="109466"/>
                    </a:cubicBezTo>
                    <a:lnTo>
                      <a:pt x="72769" y="12978"/>
                    </a:lnTo>
                    <a:cubicBezTo>
                      <a:pt x="73055" y="12121"/>
                      <a:pt x="72674" y="11168"/>
                      <a:pt x="71818" y="10883"/>
                    </a:cubicBezTo>
                    <a:cubicBezTo>
                      <a:pt x="70963" y="10502"/>
                      <a:pt x="70012" y="10978"/>
                      <a:pt x="69726" y="11835"/>
                    </a:cubicBezTo>
                    <a:lnTo>
                      <a:pt x="36444" y="103656"/>
                    </a:lnTo>
                    <a:lnTo>
                      <a:pt x="5920" y="3929"/>
                    </a:lnTo>
                    <a:cubicBezTo>
                      <a:pt x="5730" y="3263"/>
                      <a:pt x="5064" y="2786"/>
                      <a:pt x="4303" y="278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Freeform 111">
                <a:extLst>
                  <a:ext uri="{FF2B5EF4-FFF2-40B4-BE49-F238E27FC236}">
                    <a16:creationId xmlns:a16="http://schemas.microsoft.com/office/drawing/2014/main" id="{CBDCF5EF-AAEA-C8AB-44F1-AA69C58488DA}"/>
                  </a:ext>
                </a:extLst>
              </p:cNvPr>
              <p:cNvSpPr/>
              <p:nvPr/>
            </p:nvSpPr>
            <p:spPr>
              <a:xfrm>
                <a:off x="12206897" y="979504"/>
                <a:ext cx="286708" cy="339196"/>
              </a:xfrm>
              <a:custGeom>
                <a:avLst/>
                <a:gdLst>
                  <a:gd name="connsiteX0" fmla="*/ 113855 w 286708"/>
                  <a:gd name="connsiteY0" fmla="*/ 339101 h 339196"/>
                  <a:gd name="connsiteX1" fmla="*/ 113855 w 286708"/>
                  <a:gd name="connsiteY1" fmla="*/ 339101 h 339196"/>
                  <a:gd name="connsiteX2" fmla="*/ 66499 w 286708"/>
                  <a:gd name="connsiteY2" fmla="*/ 339101 h 339196"/>
                  <a:gd name="connsiteX3" fmla="*/ 63551 w 286708"/>
                  <a:gd name="connsiteY3" fmla="*/ 336910 h 339196"/>
                  <a:gd name="connsiteX4" fmla="*/ 125 w 286708"/>
                  <a:gd name="connsiteY4" fmla="*/ 120979 h 339196"/>
                  <a:gd name="connsiteX5" fmla="*/ 315 w 286708"/>
                  <a:gd name="connsiteY5" fmla="*/ 118693 h 339196"/>
                  <a:gd name="connsiteX6" fmla="*/ 58226 w 286708"/>
                  <a:gd name="connsiteY6" fmla="*/ 1726 h 339196"/>
                  <a:gd name="connsiteX7" fmla="*/ 61745 w 286708"/>
                  <a:gd name="connsiteY7" fmla="*/ 106 h 339196"/>
                  <a:gd name="connsiteX8" fmla="*/ 64122 w 286708"/>
                  <a:gd name="connsiteY8" fmla="*/ 3154 h 339196"/>
                  <a:gd name="connsiteX9" fmla="*/ 63171 w 286708"/>
                  <a:gd name="connsiteY9" fmla="*/ 131742 h 339196"/>
                  <a:gd name="connsiteX10" fmla="*/ 116327 w 286708"/>
                  <a:gd name="connsiteY10" fmla="*/ 333005 h 339196"/>
                  <a:gd name="connsiteX11" fmla="*/ 231674 w 286708"/>
                  <a:gd name="connsiteY11" fmla="*/ 333005 h 339196"/>
                  <a:gd name="connsiteX12" fmla="*/ 279600 w 286708"/>
                  <a:gd name="connsiteY12" fmla="*/ 214895 h 339196"/>
                  <a:gd name="connsiteX13" fmla="*/ 220168 w 286708"/>
                  <a:gd name="connsiteY13" fmla="*/ 193654 h 339196"/>
                  <a:gd name="connsiteX14" fmla="*/ 157692 w 286708"/>
                  <a:gd name="connsiteY14" fmla="*/ 190225 h 339196"/>
                  <a:gd name="connsiteX15" fmla="*/ 155315 w 286708"/>
                  <a:gd name="connsiteY15" fmla="*/ 188892 h 339196"/>
                  <a:gd name="connsiteX16" fmla="*/ 154935 w 286708"/>
                  <a:gd name="connsiteY16" fmla="*/ 186225 h 339196"/>
                  <a:gd name="connsiteX17" fmla="*/ 185840 w 286708"/>
                  <a:gd name="connsiteY17" fmla="*/ 85260 h 339196"/>
                  <a:gd name="connsiteX18" fmla="*/ 189168 w 286708"/>
                  <a:gd name="connsiteY18" fmla="*/ 83069 h 339196"/>
                  <a:gd name="connsiteX19" fmla="*/ 256018 w 286708"/>
                  <a:gd name="connsiteY19" fmla="*/ 91070 h 339196"/>
                  <a:gd name="connsiteX20" fmla="*/ 258680 w 286708"/>
                  <a:gd name="connsiteY20" fmla="*/ 93451 h 339196"/>
                  <a:gd name="connsiteX21" fmla="*/ 286637 w 286708"/>
                  <a:gd name="connsiteY21" fmla="*/ 212419 h 339196"/>
                  <a:gd name="connsiteX22" fmla="*/ 286637 w 286708"/>
                  <a:gd name="connsiteY22" fmla="*/ 214133 h 339196"/>
                  <a:gd name="connsiteX23" fmla="*/ 286637 w 286708"/>
                  <a:gd name="connsiteY23" fmla="*/ 214324 h 339196"/>
                  <a:gd name="connsiteX24" fmla="*/ 286637 w 286708"/>
                  <a:gd name="connsiteY24" fmla="*/ 214324 h 339196"/>
                  <a:gd name="connsiteX25" fmla="*/ 236714 w 286708"/>
                  <a:gd name="connsiteY25" fmla="*/ 337291 h 339196"/>
                  <a:gd name="connsiteX26" fmla="*/ 233861 w 286708"/>
                  <a:gd name="connsiteY26" fmla="*/ 339196 h 339196"/>
                  <a:gd name="connsiteX27" fmla="*/ 114140 w 286708"/>
                  <a:gd name="connsiteY27" fmla="*/ 339196 h 339196"/>
                  <a:gd name="connsiteX28" fmla="*/ 114140 w 286708"/>
                  <a:gd name="connsiteY28" fmla="*/ 339196 h 339196"/>
                  <a:gd name="connsiteX29" fmla="*/ 68781 w 286708"/>
                  <a:gd name="connsiteY29" fmla="*/ 332910 h 339196"/>
                  <a:gd name="connsiteX30" fmla="*/ 109861 w 286708"/>
                  <a:gd name="connsiteY30" fmla="*/ 332910 h 339196"/>
                  <a:gd name="connsiteX31" fmla="*/ 56990 w 286708"/>
                  <a:gd name="connsiteY31" fmla="*/ 132790 h 339196"/>
                  <a:gd name="connsiteX32" fmla="*/ 56895 w 286708"/>
                  <a:gd name="connsiteY32" fmla="*/ 131932 h 339196"/>
                  <a:gd name="connsiteX33" fmla="*/ 57751 w 286708"/>
                  <a:gd name="connsiteY33" fmla="*/ 16394 h 339196"/>
                  <a:gd name="connsiteX34" fmla="*/ 6306 w 286708"/>
                  <a:gd name="connsiteY34" fmla="*/ 120312 h 339196"/>
                  <a:gd name="connsiteX35" fmla="*/ 68686 w 286708"/>
                  <a:gd name="connsiteY35" fmla="*/ 332910 h 339196"/>
                  <a:gd name="connsiteX36" fmla="*/ 161876 w 286708"/>
                  <a:gd name="connsiteY36" fmla="*/ 184129 h 339196"/>
                  <a:gd name="connsiteX37" fmla="*/ 220834 w 286708"/>
                  <a:gd name="connsiteY37" fmla="*/ 187368 h 339196"/>
                  <a:gd name="connsiteX38" fmla="*/ 221689 w 286708"/>
                  <a:gd name="connsiteY38" fmla="*/ 187558 h 339196"/>
                  <a:gd name="connsiteX39" fmla="*/ 279220 w 286708"/>
                  <a:gd name="connsiteY39" fmla="*/ 208132 h 339196"/>
                  <a:gd name="connsiteX40" fmla="*/ 253070 w 286708"/>
                  <a:gd name="connsiteY40" fmla="*/ 96785 h 339196"/>
                  <a:gd name="connsiteX41" fmla="*/ 190879 w 286708"/>
                  <a:gd name="connsiteY41" fmla="*/ 89356 h 339196"/>
                  <a:gd name="connsiteX42" fmla="*/ 161876 w 286708"/>
                  <a:gd name="connsiteY42" fmla="*/ 184129 h 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708" h="339196">
                    <a:moveTo>
                      <a:pt x="113855" y="339101"/>
                    </a:moveTo>
                    <a:cubicBezTo>
                      <a:pt x="113855" y="339101"/>
                      <a:pt x="113855" y="339101"/>
                      <a:pt x="113855" y="339101"/>
                    </a:cubicBezTo>
                    <a:lnTo>
                      <a:pt x="66499" y="339101"/>
                    </a:lnTo>
                    <a:cubicBezTo>
                      <a:pt x="65168" y="339101"/>
                      <a:pt x="63932" y="338244"/>
                      <a:pt x="63551" y="336910"/>
                    </a:cubicBezTo>
                    <a:lnTo>
                      <a:pt x="125" y="120979"/>
                    </a:lnTo>
                    <a:cubicBezTo>
                      <a:pt x="-65" y="120217"/>
                      <a:pt x="-65" y="119455"/>
                      <a:pt x="315" y="118693"/>
                    </a:cubicBezTo>
                    <a:lnTo>
                      <a:pt x="58226" y="1726"/>
                    </a:lnTo>
                    <a:cubicBezTo>
                      <a:pt x="58892" y="392"/>
                      <a:pt x="60318" y="-275"/>
                      <a:pt x="61745" y="106"/>
                    </a:cubicBezTo>
                    <a:cubicBezTo>
                      <a:pt x="63171" y="392"/>
                      <a:pt x="64122" y="1726"/>
                      <a:pt x="64122" y="3154"/>
                    </a:cubicBezTo>
                    <a:lnTo>
                      <a:pt x="63171" y="131742"/>
                    </a:lnTo>
                    <a:lnTo>
                      <a:pt x="116327" y="333005"/>
                    </a:lnTo>
                    <a:lnTo>
                      <a:pt x="231674" y="333005"/>
                    </a:lnTo>
                    <a:lnTo>
                      <a:pt x="279600" y="214895"/>
                    </a:lnTo>
                    <a:lnTo>
                      <a:pt x="220168" y="193654"/>
                    </a:lnTo>
                    <a:lnTo>
                      <a:pt x="157692" y="190225"/>
                    </a:lnTo>
                    <a:cubicBezTo>
                      <a:pt x="156741" y="190225"/>
                      <a:pt x="155886" y="189654"/>
                      <a:pt x="155315" y="188892"/>
                    </a:cubicBezTo>
                    <a:cubicBezTo>
                      <a:pt x="154745" y="188130"/>
                      <a:pt x="154649" y="187082"/>
                      <a:pt x="154935" y="186225"/>
                    </a:cubicBezTo>
                    <a:lnTo>
                      <a:pt x="185840" y="85260"/>
                    </a:lnTo>
                    <a:cubicBezTo>
                      <a:pt x="186315" y="83831"/>
                      <a:pt x="187646" y="82879"/>
                      <a:pt x="189168" y="83069"/>
                    </a:cubicBezTo>
                    <a:lnTo>
                      <a:pt x="256018" y="91070"/>
                    </a:lnTo>
                    <a:cubicBezTo>
                      <a:pt x="257349" y="91261"/>
                      <a:pt x="258395" y="92118"/>
                      <a:pt x="258680" y="93451"/>
                    </a:cubicBezTo>
                    <a:lnTo>
                      <a:pt x="286637" y="212419"/>
                    </a:lnTo>
                    <a:cubicBezTo>
                      <a:pt x="286732" y="212990"/>
                      <a:pt x="286732" y="213562"/>
                      <a:pt x="286637" y="214133"/>
                    </a:cubicBezTo>
                    <a:cubicBezTo>
                      <a:pt x="286637" y="214133"/>
                      <a:pt x="286637" y="214228"/>
                      <a:pt x="286637" y="214324"/>
                    </a:cubicBezTo>
                    <a:cubicBezTo>
                      <a:pt x="286637" y="214324"/>
                      <a:pt x="286637" y="214324"/>
                      <a:pt x="286637" y="214324"/>
                    </a:cubicBezTo>
                    <a:lnTo>
                      <a:pt x="236714" y="337291"/>
                    </a:lnTo>
                    <a:cubicBezTo>
                      <a:pt x="236239" y="338434"/>
                      <a:pt x="235097" y="339196"/>
                      <a:pt x="233861" y="339196"/>
                    </a:cubicBezTo>
                    <a:lnTo>
                      <a:pt x="114140" y="339196"/>
                    </a:lnTo>
                    <a:cubicBezTo>
                      <a:pt x="114140" y="339196"/>
                      <a:pt x="114140" y="339196"/>
                      <a:pt x="114140" y="339196"/>
                    </a:cubicBezTo>
                    <a:close/>
                    <a:moveTo>
                      <a:pt x="68781" y="332910"/>
                    </a:moveTo>
                    <a:lnTo>
                      <a:pt x="109861" y="332910"/>
                    </a:lnTo>
                    <a:lnTo>
                      <a:pt x="56990" y="132790"/>
                    </a:lnTo>
                    <a:cubicBezTo>
                      <a:pt x="56990" y="132790"/>
                      <a:pt x="56895" y="132218"/>
                      <a:pt x="56895" y="131932"/>
                    </a:cubicBezTo>
                    <a:lnTo>
                      <a:pt x="57751" y="16394"/>
                    </a:lnTo>
                    <a:lnTo>
                      <a:pt x="6306" y="120312"/>
                    </a:lnTo>
                    <a:lnTo>
                      <a:pt x="68686" y="332910"/>
                    </a:lnTo>
                    <a:close/>
                    <a:moveTo>
                      <a:pt x="161876" y="184129"/>
                    </a:moveTo>
                    <a:lnTo>
                      <a:pt x="220834" y="187368"/>
                    </a:lnTo>
                    <a:cubicBezTo>
                      <a:pt x="220834" y="187368"/>
                      <a:pt x="221404" y="187368"/>
                      <a:pt x="221689" y="187558"/>
                    </a:cubicBezTo>
                    <a:lnTo>
                      <a:pt x="279220" y="208132"/>
                    </a:lnTo>
                    <a:lnTo>
                      <a:pt x="253070" y="96785"/>
                    </a:lnTo>
                    <a:lnTo>
                      <a:pt x="190879" y="89356"/>
                    </a:lnTo>
                    <a:lnTo>
                      <a:pt x="161876" y="184129"/>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Freeform 112">
                <a:extLst>
                  <a:ext uri="{FF2B5EF4-FFF2-40B4-BE49-F238E27FC236}">
                    <a16:creationId xmlns:a16="http://schemas.microsoft.com/office/drawing/2014/main" id="{EAD0EB39-10AB-058C-9624-58016710BA99}"/>
                  </a:ext>
                </a:extLst>
              </p:cNvPr>
              <p:cNvSpPr/>
              <p:nvPr/>
            </p:nvSpPr>
            <p:spPr>
              <a:xfrm>
                <a:off x="12205529" y="978155"/>
                <a:ext cx="289573" cy="342068"/>
              </a:xfrm>
              <a:custGeom>
                <a:avLst/>
                <a:gdLst>
                  <a:gd name="connsiteX0" fmla="*/ 235038 w 289573"/>
                  <a:gd name="connsiteY0" fmla="*/ 341878 h 342068"/>
                  <a:gd name="connsiteX1" fmla="*/ 67866 w 289573"/>
                  <a:gd name="connsiteY1" fmla="*/ 341878 h 342068"/>
                  <a:gd name="connsiteX2" fmla="*/ 63587 w 289573"/>
                  <a:gd name="connsiteY2" fmla="*/ 338640 h 342068"/>
                  <a:gd name="connsiteX3" fmla="*/ 161 w 289573"/>
                  <a:gd name="connsiteY3" fmla="*/ 122708 h 342068"/>
                  <a:gd name="connsiteX4" fmla="*/ 446 w 289573"/>
                  <a:gd name="connsiteY4" fmla="*/ 119470 h 342068"/>
                  <a:gd name="connsiteX5" fmla="*/ 58357 w 289573"/>
                  <a:gd name="connsiteY5" fmla="*/ 2503 h 342068"/>
                  <a:gd name="connsiteX6" fmla="*/ 63397 w 289573"/>
                  <a:gd name="connsiteY6" fmla="*/ 121 h 342068"/>
                  <a:gd name="connsiteX7" fmla="*/ 66915 w 289573"/>
                  <a:gd name="connsiteY7" fmla="*/ 4503 h 342068"/>
                  <a:gd name="connsiteX8" fmla="*/ 65964 w 289573"/>
                  <a:gd name="connsiteY8" fmla="*/ 132900 h 342068"/>
                  <a:gd name="connsiteX9" fmla="*/ 118835 w 289573"/>
                  <a:gd name="connsiteY9" fmla="*/ 332925 h 342068"/>
                  <a:gd name="connsiteX10" fmla="*/ 232090 w 289573"/>
                  <a:gd name="connsiteY10" fmla="*/ 332925 h 342068"/>
                  <a:gd name="connsiteX11" fmla="*/ 279065 w 289573"/>
                  <a:gd name="connsiteY11" fmla="*/ 217101 h 342068"/>
                  <a:gd name="connsiteX12" fmla="*/ 221250 w 289573"/>
                  <a:gd name="connsiteY12" fmla="*/ 196432 h 342068"/>
                  <a:gd name="connsiteX13" fmla="*/ 159059 w 289573"/>
                  <a:gd name="connsiteY13" fmla="*/ 193003 h 342068"/>
                  <a:gd name="connsiteX14" fmla="*/ 155636 w 289573"/>
                  <a:gd name="connsiteY14" fmla="*/ 191098 h 342068"/>
                  <a:gd name="connsiteX15" fmla="*/ 155065 w 289573"/>
                  <a:gd name="connsiteY15" fmla="*/ 187192 h 342068"/>
                  <a:gd name="connsiteX16" fmla="*/ 185970 w 289573"/>
                  <a:gd name="connsiteY16" fmla="*/ 86227 h 342068"/>
                  <a:gd name="connsiteX17" fmla="*/ 190820 w 289573"/>
                  <a:gd name="connsiteY17" fmla="*/ 83084 h 342068"/>
                  <a:gd name="connsiteX18" fmla="*/ 257670 w 289573"/>
                  <a:gd name="connsiteY18" fmla="*/ 91085 h 342068"/>
                  <a:gd name="connsiteX19" fmla="*/ 261473 w 289573"/>
                  <a:gd name="connsiteY19" fmla="*/ 94514 h 342068"/>
                  <a:gd name="connsiteX20" fmla="*/ 289430 w 289573"/>
                  <a:gd name="connsiteY20" fmla="*/ 213481 h 342068"/>
                  <a:gd name="connsiteX21" fmla="*/ 289430 w 289573"/>
                  <a:gd name="connsiteY21" fmla="*/ 215958 h 342068"/>
                  <a:gd name="connsiteX22" fmla="*/ 289145 w 289573"/>
                  <a:gd name="connsiteY22" fmla="*/ 216529 h 342068"/>
                  <a:gd name="connsiteX23" fmla="*/ 239412 w 289573"/>
                  <a:gd name="connsiteY23" fmla="*/ 339211 h 342068"/>
                  <a:gd name="connsiteX24" fmla="*/ 235228 w 289573"/>
                  <a:gd name="connsiteY24" fmla="*/ 342069 h 342068"/>
                  <a:gd name="connsiteX25" fmla="*/ 62350 w 289573"/>
                  <a:gd name="connsiteY25" fmla="*/ 2788 h 342068"/>
                  <a:gd name="connsiteX26" fmla="*/ 60829 w 289573"/>
                  <a:gd name="connsiteY26" fmla="*/ 3741 h 342068"/>
                  <a:gd name="connsiteX27" fmla="*/ 2918 w 289573"/>
                  <a:gd name="connsiteY27" fmla="*/ 120708 h 342068"/>
                  <a:gd name="connsiteX28" fmla="*/ 2823 w 289573"/>
                  <a:gd name="connsiteY28" fmla="*/ 121946 h 342068"/>
                  <a:gd name="connsiteX29" fmla="*/ 66154 w 289573"/>
                  <a:gd name="connsiteY29" fmla="*/ 337878 h 342068"/>
                  <a:gd name="connsiteX30" fmla="*/ 67771 w 289573"/>
                  <a:gd name="connsiteY30" fmla="*/ 339116 h 342068"/>
                  <a:gd name="connsiteX31" fmla="*/ 234943 w 289573"/>
                  <a:gd name="connsiteY31" fmla="*/ 339116 h 342068"/>
                  <a:gd name="connsiteX32" fmla="*/ 236464 w 289573"/>
                  <a:gd name="connsiteY32" fmla="*/ 338068 h 342068"/>
                  <a:gd name="connsiteX33" fmla="*/ 286388 w 289573"/>
                  <a:gd name="connsiteY33" fmla="*/ 215005 h 342068"/>
                  <a:gd name="connsiteX34" fmla="*/ 286388 w 289573"/>
                  <a:gd name="connsiteY34" fmla="*/ 214053 h 342068"/>
                  <a:gd name="connsiteX35" fmla="*/ 258431 w 289573"/>
                  <a:gd name="connsiteY35" fmla="*/ 95086 h 342068"/>
                  <a:gd name="connsiteX36" fmla="*/ 257004 w 289573"/>
                  <a:gd name="connsiteY36" fmla="*/ 93847 h 342068"/>
                  <a:gd name="connsiteX37" fmla="*/ 190154 w 289573"/>
                  <a:gd name="connsiteY37" fmla="*/ 85846 h 342068"/>
                  <a:gd name="connsiteX38" fmla="*/ 188347 w 289573"/>
                  <a:gd name="connsiteY38" fmla="*/ 86989 h 342068"/>
                  <a:gd name="connsiteX39" fmla="*/ 157443 w 289573"/>
                  <a:gd name="connsiteY39" fmla="*/ 187954 h 342068"/>
                  <a:gd name="connsiteX40" fmla="*/ 157633 w 289573"/>
                  <a:gd name="connsiteY40" fmla="*/ 189383 h 342068"/>
                  <a:gd name="connsiteX41" fmla="*/ 158869 w 289573"/>
                  <a:gd name="connsiteY41" fmla="*/ 190050 h 342068"/>
                  <a:gd name="connsiteX42" fmla="*/ 221725 w 289573"/>
                  <a:gd name="connsiteY42" fmla="*/ 193574 h 342068"/>
                  <a:gd name="connsiteX43" fmla="*/ 282584 w 289573"/>
                  <a:gd name="connsiteY43" fmla="*/ 215386 h 342068"/>
                  <a:gd name="connsiteX44" fmla="*/ 282013 w 289573"/>
                  <a:gd name="connsiteY44" fmla="*/ 216815 h 342068"/>
                  <a:gd name="connsiteX45" fmla="*/ 233707 w 289573"/>
                  <a:gd name="connsiteY45" fmla="*/ 335782 h 342068"/>
                  <a:gd name="connsiteX46" fmla="*/ 116363 w 289573"/>
                  <a:gd name="connsiteY46" fmla="*/ 335782 h 342068"/>
                  <a:gd name="connsiteX47" fmla="*/ 116078 w 289573"/>
                  <a:gd name="connsiteY47" fmla="*/ 334735 h 342068"/>
                  <a:gd name="connsiteX48" fmla="*/ 62826 w 289573"/>
                  <a:gd name="connsiteY48" fmla="*/ 133090 h 342068"/>
                  <a:gd name="connsiteX49" fmla="*/ 63777 w 289573"/>
                  <a:gd name="connsiteY49" fmla="*/ 4503 h 342068"/>
                  <a:gd name="connsiteX50" fmla="*/ 62541 w 289573"/>
                  <a:gd name="connsiteY50" fmla="*/ 2884 h 342068"/>
                  <a:gd name="connsiteX51" fmla="*/ 62160 w 289573"/>
                  <a:gd name="connsiteY51" fmla="*/ 2884 h 342068"/>
                  <a:gd name="connsiteX52" fmla="*/ 113130 w 289573"/>
                  <a:gd name="connsiteY52" fmla="*/ 335687 h 342068"/>
                  <a:gd name="connsiteX53" fmla="*/ 69102 w 289573"/>
                  <a:gd name="connsiteY53" fmla="*/ 335687 h 342068"/>
                  <a:gd name="connsiteX54" fmla="*/ 68817 w 289573"/>
                  <a:gd name="connsiteY54" fmla="*/ 334639 h 342068"/>
                  <a:gd name="connsiteX55" fmla="*/ 6246 w 289573"/>
                  <a:gd name="connsiteY55" fmla="*/ 121565 h 342068"/>
                  <a:gd name="connsiteX56" fmla="*/ 6532 w 289573"/>
                  <a:gd name="connsiteY56" fmla="*/ 121089 h 342068"/>
                  <a:gd name="connsiteX57" fmla="*/ 60734 w 289573"/>
                  <a:gd name="connsiteY57" fmla="*/ 11647 h 342068"/>
                  <a:gd name="connsiteX58" fmla="*/ 59783 w 289573"/>
                  <a:gd name="connsiteY58" fmla="*/ 133376 h 342068"/>
                  <a:gd name="connsiteX59" fmla="*/ 59783 w 289573"/>
                  <a:gd name="connsiteY59" fmla="*/ 133852 h 342068"/>
                  <a:gd name="connsiteX60" fmla="*/ 113130 w 289573"/>
                  <a:gd name="connsiteY60" fmla="*/ 335687 h 342068"/>
                  <a:gd name="connsiteX61" fmla="*/ 71194 w 289573"/>
                  <a:gd name="connsiteY61" fmla="*/ 332830 h 342068"/>
                  <a:gd name="connsiteX62" fmla="*/ 109326 w 289573"/>
                  <a:gd name="connsiteY62" fmla="*/ 332830 h 342068"/>
                  <a:gd name="connsiteX63" fmla="*/ 56930 w 289573"/>
                  <a:gd name="connsiteY63" fmla="*/ 134519 h 342068"/>
                  <a:gd name="connsiteX64" fmla="*/ 56740 w 289573"/>
                  <a:gd name="connsiteY64" fmla="*/ 133376 h 342068"/>
                  <a:gd name="connsiteX65" fmla="*/ 57596 w 289573"/>
                  <a:gd name="connsiteY65" fmla="*/ 24029 h 342068"/>
                  <a:gd name="connsiteX66" fmla="*/ 9194 w 289573"/>
                  <a:gd name="connsiteY66" fmla="*/ 121851 h 342068"/>
                  <a:gd name="connsiteX67" fmla="*/ 71099 w 289573"/>
                  <a:gd name="connsiteY67" fmla="*/ 332830 h 342068"/>
                  <a:gd name="connsiteX68" fmla="*/ 282584 w 289573"/>
                  <a:gd name="connsiteY68" fmla="*/ 211767 h 342068"/>
                  <a:gd name="connsiteX69" fmla="*/ 222581 w 289573"/>
                  <a:gd name="connsiteY69" fmla="*/ 190336 h 342068"/>
                  <a:gd name="connsiteX70" fmla="*/ 222105 w 289573"/>
                  <a:gd name="connsiteY70" fmla="*/ 190336 h 342068"/>
                  <a:gd name="connsiteX71" fmla="*/ 161341 w 289573"/>
                  <a:gd name="connsiteY71" fmla="*/ 187002 h 342068"/>
                  <a:gd name="connsiteX72" fmla="*/ 161912 w 289573"/>
                  <a:gd name="connsiteY72" fmla="*/ 185287 h 342068"/>
                  <a:gd name="connsiteX73" fmla="*/ 191296 w 289573"/>
                  <a:gd name="connsiteY73" fmla="*/ 89371 h 342068"/>
                  <a:gd name="connsiteX74" fmla="*/ 255673 w 289573"/>
                  <a:gd name="connsiteY74" fmla="*/ 97086 h 342068"/>
                  <a:gd name="connsiteX75" fmla="*/ 255863 w 289573"/>
                  <a:gd name="connsiteY75" fmla="*/ 98038 h 342068"/>
                  <a:gd name="connsiteX76" fmla="*/ 282584 w 289573"/>
                  <a:gd name="connsiteY76" fmla="*/ 211957 h 342068"/>
                  <a:gd name="connsiteX77" fmla="*/ 165145 w 289573"/>
                  <a:gd name="connsiteY77" fmla="*/ 184144 h 342068"/>
                  <a:gd name="connsiteX78" fmla="*/ 222295 w 289573"/>
                  <a:gd name="connsiteY78" fmla="*/ 187288 h 342068"/>
                  <a:gd name="connsiteX79" fmla="*/ 223532 w 289573"/>
                  <a:gd name="connsiteY79" fmla="*/ 187573 h 342068"/>
                  <a:gd name="connsiteX80" fmla="*/ 278590 w 289573"/>
                  <a:gd name="connsiteY80" fmla="*/ 207290 h 342068"/>
                  <a:gd name="connsiteX81" fmla="*/ 253295 w 289573"/>
                  <a:gd name="connsiteY81" fmla="*/ 99467 h 342068"/>
                  <a:gd name="connsiteX82" fmla="*/ 193292 w 289573"/>
                  <a:gd name="connsiteY82" fmla="*/ 92323 h 342068"/>
                  <a:gd name="connsiteX83" fmla="*/ 165145 w 289573"/>
                  <a:gd name="connsiteY83" fmla="*/ 184144 h 3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9573" h="342068">
                    <a:moveTo>
                      <a:pt x="235038" y="341878"/>
                    </a:moveTo>
                    <a:lnTo>
                      <a:pt x="67866" y="341878"/>
                    </a:lnTo>
                    <a:cubicBezTo>
                      <a:pt x="65869" y="341878"/>
                      <a:pt x="64157" y="340545"/>
                      <a:pt x="63587" y="338640"/>
                    </a:cubicBezTo>
                    <a:lnTo>
                      <a:pt x="161" y="122708"/>
                    </a:lnTo>
                    <a:cubicBezTo>
                      <a:pt x="-125" y="121565"/>
                      <a:pt x="-30" y="120422"/>
                      <a:pt x="446" y="119470"/>
                    </a:cubicBezTo>
                    <a:lnTo>
                      <a:pt x="58357" y="2503"/>
                    </a:lnTo>
                    <a:cubicBezTo>
                      <a:pt x="59308" y="598"/>
                      <a:pt x="61495" y="-355"/>
                      <a:pt x="63397" y="121"/>
                    </a:cubicBezTo>
                    <a:cubicBezTo>
                      <a:pt x="65489" y="598"/>
                      <a:pt x="66915" y="2407"/>
                      <a:pt x="66915" y="4503"/>
                    </a:cubicBezTo>
                    <a:lnTo>
                      <a:pt x="65964" y="132900"/>
                    </a:lnTo>
                    <a:lnTo>
                      <a:pt x="118835" y="332925"/>
                    </a:lnTo>
                    <a:lnTo>
                      <a:pt x="232090" y="332925"/>
                    </a:lnTo>
                    <a:lnTo>
                      <a:pt x="279065" y="217101"/>
                    </a:lnTo>
                    <a:lnTo>
                      <a:pt x="221250" y="196432"/>
                    </a:lnTo>
                    <a:lnTo>
                      <a:pt x="159059" y="193003"/>
                    </a:lnTo>
                    <a:cubicBezTo>
                      <a:pt x="157728" y="193003"/>
                      <a:pt x="156397" y="192241"/>
                      <a:pt x="155636" y="191098"/>
                    </a:cubicBezTo>
                    <a:cubicBezTo>
                      <a:pt x="154875" y="189955"/>
                      <a:pt x="154590" y="188526"/>
                      <a:pt x="155065" y="187192"/>
                    </a:cubicBezTo>
                    <a:lnTo>
                      <a:pt x="185970" y="86227"/>
                    </a:lnTo>
                    <a:cubicBezTo>
                      <a:pt x="186636" y="84132"/>
                      <a:pt x="188633" y="82798"/>
                      <a:pt x="190820" y="83084"/>
                    </a:cubicBezTo>
                    <a:lnTo>
                      <a:pt x="257670" y="91085"/>
                    </a:lnTo>
                    <a:cubicBezTo>
                      <a:pt x="259572" y="91276"/>
                      <a:pt x="261093" y="92704"/>
                      <a:pt x="261473" y="94514"/>
                    </a:cubicBezTo>
                    <a:lnTo>
                      <a:pt x="289430" y="213481"/>
                    </a:lnTo>
                    <a:cubicBezTo>
                      <a:pt x="289621" y="214243"/>
                      <a:pt x="289621" y="215101"/>
                      <a:pt x="289430" y="215958"/>
                    </a:cubicBezTo>
                    <a:lnTo>
                      <a:pt x="289145" y="216529"/>
                    </a:lnTo>
                    <a:lnTo>
                      <a:pt x="239412" y="339211"/>
                    </a:lnTo>
                    <a:cubicBezTo>
                      <a:pt x="238746" y="340926"/>
                      <a:pt x="237035" y="342069"/>
                      <a:pt x="235228" y="342069"/>
                    </a:cubicBezTo>
                    <a:close/>
                    <a:moveTo>
                      <a:pt x="62350" y="2788"/>
                    </a:moveTo>
                    <a:cubicBezTo>
                      <a:pt x="61780" y="2788"/>
                      <a:pt x="61115" y="3169"/>
                      <a:pt x="60829" y="3741"/>
                    </a:cubicBezTo>
                    <a:lnTo>
                      <a:pt x="2918" y="120708"/>
                    </a:lnTo>
                    <a:cubicBezTo>
                      <a:pt x="2918" y="120708"/>
                      <a:pt x="2728" y="121470"/>
                      <a:pt x="2823" y="121946"/>
                    </a:cubicBezTo>
                    <a:lnTo>
                      <a:pt x="66154" y="337878"/>
                    </a:lnTo>
                    <a:cubicBezTo>
                      <a:pt x="66344" y="338545"/>
                      <a:pt x="67010" y="339116"/>
                      <a:pt x="67771" y="339116"/>
                    </a:cubicBezTo>
                    <a:lnTo>
                      <a:pt x="234943" y="339116"/>
                    </a:lnTo>
                    <a:cubicBezTo>
                      <a:pt x="235608" y="339116"/>
                      <a:pt x="236179" y="338735"/>
                      <a:pt x="236464" y="338068"/>
                    </a:cubicBezTo>
                    <a:lnTo>
                      <a:pt x="286388" y="215005"/>
                    </a:lnTo>
                    <a:cubicBezTo>
                      <a:pt x="286388" y="215005"/>
                      <a:pt x="286483" y="214339"/>
                      <a:pt x="286388" y="214053"/>
                    </a:cubicBezTo>
                    <a:lnTo>
                      <a:pt x="258431" y="95086"/>
                    </a:lnTo>
                    <a:cubicBezTo>
                      <a:pt x="258240" y="94419"/>
                      <a:pt x="257670" y="93943"/>
                      <a:pt x="257004" y="93847"/>
                    </a:cubicBezTo>
                    <a:lnTo>
                      <a:pt x="190154" y="85846"/>
                    </a:lnTo>
                    <a:cubicBezTo>
                      <a:pt x="189394" y="85751"/>
                      <a:pt x="188633" y="86227"/>
                      <a:pt x="188347" y="86989"/>
                    </a:cubicBezTo>
                    <a:lnTo>
                      <a:pt x="157443" y="187954"/>
                    </a:lnTo>
                    <a:cubicBezTo>
                      <a:pt x="157252" y="188431"/>
                      <a:pt x="157443" y="189002"/>
                      <a:pt x="157633" y="189383"/>
                    </a:cubicBezTo>
                    <a:cubicBezTo>
                      <a:pt x="157918" y="189764"/>
                      <a:pt x="158394" y="190050"/>
                      <a:pt x="158869" y="190050"/>
                    </a:cubicBezTo>
                    <a:lnTo>
                      <a:pt x="221725" y="193574"/>
                    </a:lnTo>
                    <a:lnTo>
                      <a:pt x="282584" y="215386"/>
                    </a:lnTo>
                    <a:lnTo>
                      <a:pt x="282013" y="216815"/>
                    </a:lnTo>
                    <a:lnTo>
                      <a:pt x="233707" y="335782"/>
                    </a:lnTo>
                    <a:lnTo>
                      <a:pt x="116363" y="335782"/>
                    </a:lnTo>
                    <a:lnTo>
                      <a:pt x="116078" y="334735"/>
                    </a:lnTo>
                    <a:lnTo>
                      <a:pt x="62826" y="133090"/>
                    </a:lnTo>
                    <a:lnTo>
                      <a:pt x="63777" y="4503"/>
                    </a:lnTo>
                    <a:cubicBezTo>
                      <a:pt x="63777" y="3741"/>
                      <a:pt x="63301" y="3074"/>
                      <a:pt x="62541" y="2884"/>
                    </a:cubicBezTo>
                    <a:cubicBezTo>
                      <a:pt x="62446" y="2884"/>
                      <a:pt x="62256" y="2884"/>
                      <a:pt x="62160" y="2884"/>
                    </a:cubicBezTo>
                    <a:close/>
                    <a:moveTo>
                      <a:pt x="113130" y="335687"/>
                    </a:moveTo>
                    <a:lnTo>
                      <a:pt x="69102" y="335687"/>
                    </a:lnTo>
                    <a:lnTo>
                      <a:pt x="68817" y="334639"/>
                    </a:lnTo>
                    <a:lnTo>
                      <a:pt x="6246" y="121565"/>
                    </a:lnTo>
                    <a:lnTo>
                      <a:pt x="6532" y="121089"/>
                    </a:lnTo>
                    <a:lnTo>
                      <a:pt x="60734" y="11647"/>
                    </a:lnTo>
                    <a:lnTo>
                      <a:pt x="59783" y="133376"/>
                    </a:lnTo>
                    <a:cubicBezTo>
                      <a:pt x="59783" y="133376"/>
                      <a:pt x="59783" y="133662"/>
                      <a:pt x="59783" y="133852"/>
                    </a:cubicBezTo>
                    <a:lnTo>
                      <a:pt x="113130" y="335687"/>
                    </a:lnTo>
                    <a:close/>
                    <a:moveTo>
                      <a:pt x="71194" y="332830"/>
                    </a:moveTo>
                    <a:lnTo>
                      <a:pt x="109326" y="332830"/>
                    </a:lnTo>
                    <a:lnTo>
                      <a:pt x="56930" y="134519"/>
                    </a:lnTo>
                    <a:cubicBezTo>
                      <a:pt x="56930" y="134519"/>
                      <a:pt x="56740" y="133757"/>
                      <a:pt x="56740" y="133376"/>
                    </a:cubicBezTo>
                    <a:lnTo>
                      <a:pt x="57596" y="24029"/>
                    </a:lnTo>
                    <a:lnTo>
                      <a:pt x="9194" y="121851"/>
                    </a:lnTo>
                    <a:lnTo>
                      <a:pt x="71099" y="332830"/>
                    </a:lnTo>
                    <a:close/>
                    <a:moveTo>
                      <a:pt x="282584" y="211767"/>
                    </a:moveTo>
                    <a:lnTo>
                      <a:pt x="222581" y="190336"/>
                    </a:lnTo>
                    <a:cubicBezTo>
                      <a:pt x="222581" y="190336"/>
                      <a:pt x="222295" y="190336"/>
                      <a:pt x="222105" y="190336"/>
                    </a:cubicBezTo>
                    <a:lnTo>
                      <a:pt x="161341" y="187002"/>
                    </a:lnTo>
                    <a:lnTo>
                      <a:pt x="161912" y="185287"/>
                    </a:lnTo>
                    <a:lnTo>
                      <a:pt x="191296" y="89371"/>
                    </a:lnTo>
                    <a:lnTo>
                      <a:pt x="255673" y="97086"/>
                    </a:lnTo>
                    <a:lnTo>
                      <a:pt x="255863" y="98038"/>
                    </a:lnTo>
                    <a:lnTo>
                      <a:pt x="282584" y="211957"/>
                    </a:lnTo>
                    <a:close/>
                    <a:moveTo>
                      <a:pt x="165145" y="184144"/>
                    </a:moveTo>
                    <a:lnTo>
                      <a:pt x="222295" y="187288"/>
                    </a:lnTo>
                    <a:cubicBezTo>
                      <a:pt x="222295" y="187288"/>
                      <a:pt x="223151" y="187383"/>
                      <a:pt x="223532" y="187573"/>
                    </a:cubicBezTo>
                    <a:lnTo>
                      <a:pt x="278590" y="207290"/>
                    </a:lnTo>
                    <a:lnTo>
                      <a:pt x="253295" y="99467"/>
                    </a:lnTo>
                    <a:lnTo>
                      <a:pt x="193292" y="92323"/>
                    </a:lnTo>
                    <a:lnTo>
                      <a:pt x="165145" y="184144"/>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113">
                <a:extLst>
                  <a:ext uri="{FF2B5EF4-FFF2-40B4-BE49-F238E27FC236}">
                    <a16:creationId xmlns:a16="http://schemas.microsoft.com/office/drawing/2014/main" id="{954A2F2F-2552-D0C5-9F80-785328B1F339}"/>
                  </a:ext>
                </a:extLst>
              </p:cNvPr>
              <p:cNvSpPr/>
              <p:nvPr/>
            </p:nvSpPr>
            <p:spPr>
              <a:xfrm>
                <a:off x="12347168" y="1037979"/>
                <a:ext cx="38075" cy="280625"/>
              </a:xfrm>
              <a:custGeom>
                <a:avLst/>
                <a:gdLst>
                  <a:gd name="connsiteX0" fmla="*/ 35013 w 38075"/>
                  <a:gd name="connsiteY0" fmla="*/ 280626 h 280625"/>
                  <a:gd name="connsiteX1" fmla="*/ 31970 w 38075"/>
                  <a:gd name="connsiteY1" fmla="*/ 277864 h 280625"/>
                  <a:gd name="connsiteX2" fmla="*/ 19 w 38075"/>
                  <a:gd name="connsiteY2" fmla="*/ 3448 h 280625"/>
                  <a:gd name="connsiteX3" fmla="*/ 2682 w 38075"/>
                  <a:gd name="connsiteY3" fmla="*/ 19 h 280625"/>
                  <a:gd name="connsiteX4" fmla="*/ 6105 w 38075"/>
                  <a:gd name="connsiteY4" fmla="*/ 2686 h 280625"/>
                  <a:gd name="connsiteX5" fmla="*/ 38056 w 38075"/>
                  <a:gd name="connsiteY5" fmla="*/ 277102 h 280625"/>
                  <a:gd name="connsiteX6" fmla="*/ 35394 w 38075"/>
                  <a:gd name="connsiteY6" fmla="*/ 280531 h 280625"/>
                  <a:gd name="connsiteX7" fmla="*/ 35013 w 38075"/>
                  <a:gd name="connsiteY7" fmla="*/ 280531 h 28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75" h="280625">
                    <a:moveTo>
                      <a:pt x="35013" y="280626"/>
                    </a:moveTo>
                    <a:cubicBezTo>
                      <a:pt x="33492" y="280626"/>
                      <a:pt x="32160" y="279483"/>
                      <a:pt x="31970" y="277864"/>
                    </a:cubicBezTo>
                    <a:lnTo>
                      <a:pt x="19" y="3448"/>
                    </a:lnTo>
                    <a:cubicBezTo>
                      <a:pt x="-171" y="1734"/>
                      <a:pt x="1065" y="210"/>
                      <a:pt x="2682" y="19"/>
                    </a:cubicBezTo>
                    <a:cubicBezTo>
                      <a:pt x="4394" y="-171"/>
                      <a:pt x="5915" y="1067"/>
                      <a:pt x="6105" y="2686"/>
                    </a:cubicBezTo>
                    <a:lnTo>
                      <a:pt x="38056" y="277102"/>
                    </a:lnTo>
                    <a:cubicBezTo>
                      <a:pt x="38246" y="278816"/>
                      <a:pt x="37010" y="280340"/>
                      <a:pt x="35394" y="280531"/>
                    </a:cubicBezTo>
                    <a:cubicBezTo>
                      <a:pt x="35298" y="280531"/>
                      <a:pt x="35108" y="280531"/>
                      <a:pt x="35013" y="280531"/>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Freeform 114">
                <a:extLst>
                  <a:ext uri="{FF2B5EF4-FFF2-40B4-BE49-F238E27FC236}">
                    <a16:creationId xmlns:a16="http://schemas.microsoft.com/office/drawing/2014/main" id="{D9D7D8E5-6431-6B28-43CB-2B3FF9B5B740}"/>
                  </a:ext>
                </a:extLst>
              </p:cNvPr>
              <p:cNvSpPr/>
              <p:nvPr/>
            </p:nvSpPr>
            <p:spPr>
              <a:xfrm>
                <a:off x="12345744" y="1036521"/>
                <a:ext cx="41019" cy="283512"/>
              </a:xfrm>
              <a:custGeom>
                <a:avLst/>
                <a:gdLst>
                  <a:gd name="connsiteX0" fmla="*/ 36438 w 41019"/>
                  <a:gd name="connsiteY0" fmla="*/ 283513 h 283512"/>
                  <a:gd name="connsiteX1" fmla="*/ 31969 w 41019"/>
                  <a:gd name="connsiteY1" fmla="*/ 279512 h 283512"/>
                  <a:gd name="connsiteX2" fmla="*/ 18 w 41019"/>
                  <a:gd name="connsiteY2" fmla="*/ 5097 h 283512"/>
                  <a:gd name="connsiteX3" fmla="*/ 969 w 41019"/>
                  <a:gd name="connsiteY3" fmla="*/ 1763 h 283512"/>
                  <a:gd name="connsiteX4" fmla="*/ 4012 w 41019"/>
                  <a:gd name="connsiteY4" fmla="*/ 49 h 283512"/>
                  <a:gd name="connsiteX5" fmla="*/ 7340 w 41019"/>
                  <a:gd name="connsiteY5" fmla="*/ 1001 h 283512"/>
                  <a:gd name="connsiteX6" fmla="*/ 9051 w 41019"/>
                  <a:gd name="connsiteY6" fmla="*/ 4049 h 283512"/>
                  <a:gd name="connsiteX7" fmla="*/ 41002 w 41019"/>
                  <a:gd name="connsiteY7" fmla="*/ 278464 h 283512"/>
                  <a:gd name="connsiteX8" fmla="*/ 40052 w 41019"/>
                  <a:gd name="connsiteY8" fmla="*/ 281798 h 283512"/>
                  <a:gd name="connsiteX9" fmla="*/ 37009 w 41019"/>
                  <a:gd name="connsiteY9" fmla="*/ 283513 h 283512"/>
                  <a:gd name="connsiteX10" fmla="*/ 36438 w 41019"/>
                  <a:gd name="connsiteY10" fmla="*/ 283513 h 283512"/>
                  <a:gd name="connsiteX11" fmla="*/ 4487 w 41019"/>
                  <a:gd name="connsiteY11" fmla="*/ 2906 h 283512"/>
                  <a:gd name="connsiteX12" fmla="*/ 4297 w 41019"/>
                  <a:gd name="connsiteY12" fmla="*/ 2906 h 283512"/>
                  <a:gd name="connsiteX13" fmla="*/ 3156 w 41019"/>
                  <a:gd name="connsiteY13" fmla="*/ 3478 h 283512"/>
                  <a:gd name="connsiteX14" fmla="*/ 2775 w 41019"/>
                  <a:gd name="connsiteY14" fmla="*/ 4716 h 283512"/>
                  <a:gd name="connsiteX15" fmla="*/ 34726 w 41019"/>
                  <a:gd name="connsiteY15" fmla="*/ 279131 h 283512"/>
                  <a:gd name="connsiteX16" fmla="*/ 36343 w 41019"/>
                  <a:gd name="connsiteY16" fmla="*/ 280560 h 283512"/>
                  <a:gd name="connsiteX17" fmla="*/ 36533 w 41019"/>
                  <a:gd name="connsiteY17" fmla="*/ 280560 h 283512"/>
                  <a:gd name="connsiteX18" fmla="*/ 37674 w 41019"/>
                  <a:gd name="connsiteY18" fmla="*/ 279893 h 283512"/>
                  <a:gd name="connsiteX19" fmla="*/ 38054 w 41019"/>
                  <a:gd name="connsiteY19" fmla="*/ 278655 h 283512"/>
                  <a:gd name="connsiteX20" fmla="*/ 6104 w 41019"/>
                  <a:gd name="connsiteY20" fmla="*/ 4240 h 283512"/>
                  <a:gd name="connsiteX21" fmla="*/ 5533 w 41019"/>
                  <a:gd name="connsiteY21" fmla="*/ 3097 h 283512"/>
                  <a:gd name="connsiteX22" fmla="*/ 4487 w 41019"/>
                  <a:gd name="connsiteY22" fmla="*/ 271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019" h="283512">
                    <a:moveTo>
                      <a:pt x="36438" y="283513"/>
                    </a:moveTo>
                    <a:cubicBezTo>
                      <a:pt x="34156" y="283513"/>
                      <a:pt x="32254" y="281798"/>
                      <a:pt x="31969" y="279512"/>
                    </a:cubicBezTo>
                    <a:lnTo>
                      <a:pt x="18" y="5097"/>
                    </a:lnTo>
                    <a:cubicBezTo>
                      <a:pt x="-77" y="3859"/>
                      <a:pt x="208" y="2716"/>
                      <a:pt x="969" y="1763"/>
                    </a:cubicBezTo>
                    <a:cubicBezTo>
                      <a:pt x="1729" y="811"/>
                      <a:pt x="2775" y="239"/>
                      <a:pt x="4012" y="49"/>
                    </a:cubicBezTo>
                    <a:cubicBezTo>
                      <a:pt x="5248" y="-142"/>
                      <a:pt x="6389" y="239"/>
                      <a:pt x="7340" y="1001"/>
                    </a:cubicBezTo>
                    <a:cubicBezTo>
                      <a:pt x="8291" y="1763"/>
                      <a:pt x="8861" y="2811"/>
                      <a:pt x="9051" y="4049"/>
                    </a:cubicBezTo>
                    <a:lnTo>
                      <a:pt x="41002" y="278464"/>
                    </a:lnTo>
                    <a:cubicBezTo>
                      <a:pt x="41097" y="279607"/>
                      <a:pt x="40812" y="280846"/>
                      <a:pt x="40052" y="281798"/>
                    </a:cubicBezTo>
                    <a:cubicBezTo>
                      <a:pt x="39291" y="282751"/>
                      <a:pt x="38245" y="283322"/>
                      <a:pt x="37009" y="283513"/>
                    </a:cubicBezTo>
                    <a:cubicBezTo>
                      <a:pt x="36818" y="283513"/>
                      <a:pt x="36628" y="283513"/>
                      <a:pt x="36438" y="283513"/>
                    </a:cubicBezTo>
                    <a:close/>
                    <a:moveTo>
                      <a:pt x="4487" y="2906"/>
                    </a:moveTo>
                    <a:cubicBezTo>
                      <a:pt x="4487" y="2906"/>
                      <a:pt x="4392" y="2906"/>
                      <a:pt x="4297" y="2906"/>
                    </a:cubicBezTo>
                    <a:cubicBezTo>
                      <a:pt x="3821" y="2906"/>
                      <a:pt x="3441" y="3192"/>
                      <a:pt x="3156" y="3478"/>
                    </a:cubicBezTo>
                    <a:cubicBezTo>
                      <a:pt x="2871" y="3859"/>
                      <a:pt x="2775" y="4240"/>
                      <a:pt x="2775" y="4716"/>
                    </a:cubicBezTo>
                    <a:lnTo>
                      <a:pt x="34726" y="279131"/>
                    </a:lnTo>
                    <a:cubicBezTo>
                      <a:pt x="34726" y="279988"/>
                      <a:pt x="35487" y="280560"/>
                      <a:pt x="36343" y="280560"/>
                    </a:cubicBezTo>
                    <a:lnTo>
                      <a:pt x="36533" y="280560"/>
                    </a:lnTo>
                    <a:cubicBezTo>
                      <a:pt x="36533" y="280560"/>
                      <a:pt x="37389" y="280274"/>
                      <a:pt x="37674" y="279893"/>
                    </a:cubicBezTo>
                    <a:cubicBezTo>
                      <a:pt x="37960" y="279512"/>
                      <a:pt x="38054" y="279131"/>
                      <a:pt x="38054" y="278655"/>
                    </a:cubicBezTo>
                    <a:lnTo>
                      <a:pt x="6104" y="4240"/>
                    </a:lnTo>
                    <a:cubicBezTo>
                      <a:pt x="6104" y="4240"/>
                      <a:pt x="5818" y="3382"/>
                      <a:pt x="5533" y="3097"/>
                    </a:cubicBezTo>
                    <a:cubicBezTo>
                      <a:pt x="5248" y="2906"/>
                      <a:pt x="4867" y="2716"/>
                      <a:pt x="4487" y="271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Freeform 115">
                <a:extLst>
                  <a:ext uri="{FF2B5EF4-FFF2-40B4-BE49-F238E27FC236}">
                    <a16:creationId xmlns:a16="http://schemas.microsoft.com/office/drawing/2014/main" id="{A9966D7F-D2F1-51B1-F185-856BB88E14D4}"/>
                  </a:ext>
                </a:extLst>
              </p:cNvPr>
              <p:cNvSpPr/>
              <p:nvPr/>
            </p:nvSpPr>
            <p:spPr>
              <a:xfrm>
                <a:off x="12396589" y="1167015"/>
                <a:ext cx="34136" cy="151589"/>
              </a:xfrm>
              <a:custGeom>
                <a:avLst/>
                <a:gdLst>
                  <a:gd name="connsiteX0" fmla="*/ 3090 w 34136"/>
                  <a:gd name="connsiteY0" fmla="*/ 151590 h 151589"/>
                  <a:gd name="connsiteX1" fmla="*/ 2519 w 34136"/>
                  <a:gd name="connsiteY1" fmla="*/ 151590 h 151589"/>
                  <a:gd name="connsiteX2" fmla="*/ 47 w 34136"/>
                  <a:gd name="connsiteY2" fmla="*/ 147970 h 151589"/>
                  <a:gd name="connsiteX3" fmla="*/ 28004 w 34136"/>
                  <a:gd name="connsiteY3" fmla="*/ 2523 h 151589"/>
                  <a:gd name="connsiteX4" fmla="*/ 31617 w 34136"/>
                  <a:gd name="connsiteY4" fmla="*/ 47 h 151589"/>
                  <a:gd name="connsiteX5" fmla="*/ 34090 w 34136"/>
                  <a:gd name="connsiteY5" fmla="*/ 3666 h 151589"/>
                  <a:gd name="connsiteX6" fmla="*/ 6133 w 34136"/>
                  <a:gd name="connsiteY6" fmla="*/ 149113 h 151589"/>
                  <a:gd name="connsiteX7" fmla="*/ 3090 w 34136"/>
                  <a:gd name="connsiteY7" fmla="*/ 151590 h 15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36" h="151589">
                    <a:moveTo>
                      <a:pt x="3090" y="151590"/>
                    </a:moveTo>
                    <a:cubicBezTo>
                      <a:pt x="3090" y="151590"/>
                      <a:pt x="2709" y="151590"/>
                      <a:pt x="2519" y="151590"/>
                    </a:cubicBezTo>
                    <a:cubicBezTo>
                      <a:pt x="808" y="151304"/>
                      <a:pt x="-239" y="149685"/>
                      <a:pt x="47" y="147970"/>
                    </a:cubicBezTo>
                    <a:lnTo>
                      <a:pt x="28004" y="2523"/>
                    </a:lnTo>
                    <a:cubicBezTo>
                      <a:pt x="28289" y="809"/>
                      <a:pt x="29906" y="-239"/>
                      <a:pt x="31617" y="47"/>
                    </a:cubicBezTo>
                    <a:cubicBezTo>
                      <a:pt x="33329" y="333"/>
                      <a:pt x="34375" y="1952"/>
                      <a:pt x="34090" y="3666"/>
                    </a:cubicBezTo>
                    <a:lnTo>
                      <a:pt x="6133" y="149113"/>
                    </a:lnTo>
                    <a:cubicBezTo>
                      <a:pt x="5847" y="150542"/>
                      <a:pt x="4516" y="151590"/>
                      <a:pt x="3090" y="151590"/>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Freeform 116">
                <a:extLst>
                  <a:ext uri="{FF2B5EF4-FFF2-40B4-BE49-F238E27FC236}">
                    <a16:creationId xmlns:a16="http://schemas.microsoft.com/office/drawing/2014/main" id="{CD4B304D-5FD0-94B2-6514-A800DD8C1362}"/>
                  </a:ext>
                </a:extLst>
              </p:cNvPr>
              <p:cNvSpPr/>
              <p:nvPr/>
            </p:nvSpPr>
            <p:spPr>
              <a:xfrm>
                <a:off x="12395151" y="1165714"/>
                <a:ext cx="36968" cy="154415"/>
              </a:xfrm>
              <a:custGeom>
                <a:avLst/>
                <a:gdLst>
                  <a:gd name="connsiteX0" fmla="*/ 4527 w 36968"/>
                  <a:gd name="connsiteY0" fmla="*/ 154320 h 154415"/>
                  <a:gd name="connsiteX1" fmla="*/ 3672 w 36968"/>
                  <a:gd name="connsiteY1" fmla="*/ 154320 h 154415"/>
                  <a:gd name="connsiteX2" fmla="*/ 58 w 36968"/>
                  <a:gd name="connsiteY2" fmla="*/ 149081 h 154415"/>
                  <a:gd name="connsiteX3" fmla="*/ 28015 w 36968"/>
                  <a:gd name="connsiteY3" fmla="*/ 3635 h 154415"/>
                  <a:gd name="connsiteX4" fmla="*/ 29917 w 36968"/>
                  <a:gd name="connsiteY4" fmla="*/ 777 h 154415"/>
                  <a:gd name="connsiteX5" fmla="*/ 33340 w 36968"/>
                  <a:gd name="connsiteY5" fmla="*/ 110 h 154415"/>
                  <a:gd name="connsiteX6" fmla="*/ 36193 w 36968"/>
                  <a:gd name="connsiteY6" fmla="*/ 2015 h 154415"/>
                  <a:gd name="connsiteX7" fmla="*/ 36859 w 36968"/>
                  <a:gd name="connsiteY7" fmla="*/ 5349 h 154415"/>
                  <a:gd name="connsiteX8" fmla="*/ 8902 w 36968"/>
                  <a:gd name="connsiteY8" fmla="*/ 150796 h 154415"/>
                  <a:gd name="connsiteX9" fmla="*/ 4527 w 36968"/>
                  <a:gd name="connsiteY9" fmla="*/ 154415 h 154415"/>
                  <a:gd name="connsiteX10" fmla="*/ 32484 w 36968"/>
                  <a:gd name="connsiteY10" fmla="*/ 2682 h 154415"/>
                  <a:gd name="connsiteX11" fmla="*/ 31534 w 36968"/>
                  <a:gd name="connsiteY11" fmla="*/ 2968 h 154415"/>
                  <a:gd name="connsiteX12" fmla="*/ 30868 w 36968"/>
                  <a:gd name="connsiteY12" fmla="*/ 4016 h 154415"/>
                  <a:gd name="connsiteX13" fmla="*/ 2911 w 36968"/>
                  <a:gd name="connsiteY13" fmla="*/ 149462 h 154415"/>
                  <a:gd name="connsiteX14" fmla="*/ 4242 w 36968"/>
                  <a:gd name="connsiteY14" fmla="*/ 151367 h 154415"/>
                  <a:gd name="connsiteX15" fmla="*/ 4527 w 36968"/>
                  <a:gd name="connsiteY15" fmla="*/ 151367 h 154415"/>
                  <a:gd name="connsiteX16" fmla="*/ 6144 w 36968"/>
                  <a:gd name="connsiteY16" fmla="*/ 150034 h 154415"/>
                  <a:gd name="connsiteX17" fmla="*/ 34101 w 36968"/>
                  <a:gd name="connsiteY17" fmla="*/ 4587 h 154415"/>
                  <a:gd name="connsiteX18" fmla="*/ 33816 w 36968"/>
                  <a:gd name="connsiteY18" fmla="*/ 3349 h 154415"/>
                  <a:gd name="connsiteX19" fmla="*/ 32770 w 36968"/>
                  <a:gd name="connsiteY19" fmla="*/ 2682 h 154415"/>
                  <a:gd name="connsiteX20" fmla="*/ 32484 w 36968"/>
                  <a:gd name="connsiteY20" fmla="*/ 2682 h 1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68" h="154415">
                    <a:moveTo>
                      <a:pt x="4527" y="154320"/>
                    </a:moveTo>
                    <a:cubicBezTo>
                      <a:pt x="4527" y="154320"/>
                      <a:pt x="3957" y="154320"/>
                      <a:pt x="3672" y="154320"/>
                    </a:cubicBezTo>
                    <a:cubicBezTo>
                      <a:pt x="1199" y="153844"/>
                      <a:pt x="-322" y="151463"/>
                      <a:pt x="58" y="149081"/>
                    </a:cubicBezTo>
                    <a:lnTo>
                      <a:pt x="28015" y="3635"/>
                    </a:lnTo>
                    <a:cubicBezTo>
                      <a:pt x="28205" y="2492"/>
                      <a:pt x="28871" y="1444"/>
                      <a:pt x="29917" y="777"/>
                    </a:cubicBezTo>
                    <a:cubicBezTo>
                      <a:pt x="30963" y="110"/>
                      <a:pt x="32104" y="-175"/>
                      <a:pt x="33340" y="110"/>
                    </a:cubicBezTo>
                    <a:cubicBezTo>
                      <a:pt x="34481" y="301"/>
                      <a:pt x="35528" y="968"/>
                      <a:pt x="36193" y="2015"/>
                    </a:cubicBezTo>
                    <a:cubicBezTo>
                      <a:pt x="36859" y="2968"/>
                      <a:pt x="37144" y="4206"/>
                      <a:pt x="36859" y="5349"/>
                    </a:cubicBezTo>
                    <a:lnTo>
                      <a:pt x="8902" y="150796"/>
                    </a:lnTo>
                    <a:cubicBezTo>
                      <a:pt x="8521" y="152891"/>
                      <a:pt x="6619" y="154415"/>
                      <a:pt x="4527" y="154415"/>
                    </a:cubicBezTo>
                    <a:close/>
                    <a:moveTo>
                      <a:pt x="32484" y="2682"/>
                    </a:moveTo>
                    <a:cubicBezTo>
                      <a:pt x="32484" y="2682"/>
                      <a:pt x="31819" y="2682"/>
                      <a:pt x="31534" y="2968"/>
                    </a:cubicBezTo>
                    <a:cubicBezTo>
                      <a:pt x="31153" y="3254"/>
                      <a:pt x="30963" y="3635"/>
                      <a:pt x="30868" y="4016"/>
                    </a:cubicBezTo>
                    <a:lnTo>
                      <a:pt x="2911" y="149462"/>
                    </a:lnTo>
                    <a:cubicBezTo>
                      <a:pt x="2721" y="150320"/>
                      <a:pt x="3291" y="151272"/>
                      <a:pt x="4242" y="151367"/>
                    </a:cubicBezTo>
                    <a:lnTo>
                      <a:pt x="4527" y="151367"/>
                    </a:lnTo>
                    <a:cubicBezTo>
                      <a:pt x="5288" y="151367"/>
                      <a:pt x="5954" y="150796"/>
                      <a:pt x="6144" y="150034"/>
                    </a:cubicBezTo>
                    <a:lnTo>
                      <a:pt x="34101" y="4587"/>
                    </a:lnTo>
                    <a:cubicBezTo>
                      <a:pt x="34101" y="4587"/>
                      <a:pt x="34101" y="3730"/>
                      <a:pt x="33816" y="3349"/>
                    </a:cubicBezTo>
                    <a:cubicBezTo>
                      <a:pt x="33530" y="2968"/>
                      <a:pt x="33150" y="2777"/>
                      <a:pt x="32770" y="2682"/>
                    </a:cubicBezTo>
                    <a:cubicBezTo>
                      <a:pt x="32675" y="2682"/>
                      <a:pt x="32580" y="2682"/>
                      <a:pt x="32484" y="2682"/>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 name="Hexagon 4">
              <a:extLst>
                <a:ext uri="{FF2B5EF4-FFF2-40B4-BE49-F238E27FC236}">
                  <a16:creationId xmlns:a16="http://schemas.microsoft.com/office/drawing/2014/main" id="{6CA30280-F375-2AAE-5640-C4F182A98354}"/>
                </a:ext>
              </a:extLst>
            </p:cNvPr>
            <p:cNvSpPr txBox="1"/>
            <p:nvPr/>
          </p:nvSpPr>
          <p:spPr>
            <a:xfrm>
              <a:off x="2269608" y="4877841"/>
              <a:ext cx="432771" cy="1511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b"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rystal Engineering</a:t>
              </a:r>
            </a:p>
          </p:txBody>
        </p:sp>
      </p:grpSp>
      <p:grpSp>
        <p:nvGrpSpPr>
          <p:cNvPr id="54" name="Group 53">
            <a:extLst>
              <a:ext uri="{FF2B5EF4-FFF2-40B4-BE49-F238E27FC236}">
                <a16:creationId xmlns:a16="http://schemas.microsoft.com/office/drawing/2014/main" id="{186C7D91-9DD9-A9DA-3A4A-A9966E84F967}"/>
              </a:ext>
            </a:extLst>
          </p:cNvPr>
          <p:cNvGrpSpPr/>
          <p:nvPr/>
        </p:nvGrpSpPr>
        <p:grpSpPr>
          <a:xfrm>
            <a:off x="1357560" y="2661497"/>
            <a:ext cx="772368" cy="834898"/>
            <a:chOff x="2908894" y="4390088"/>
            <a:chExt cx="702914" cy="742058"/>
          </a:xfrm>
        </p:grpSpPr>
        <p:sp>
          <p:nvSpPr>
            <p:cNvPr id="20" name="Hexagon 19">
              <a:extLst>
                <a:ext uri="{FF2B5EF4-FFF2-40B4-BE49-F238E27FC236}">
                  <a16:creationId xmlns:a16="http://schemas.microsoft.com/office/drawing/2014/main" id="{3B5FE9B9-962D-A9D7-0863-BC8BAAD1A53C}"/>
                </a:ext>
              </a:extLst>
            </p:cNvPr>
            <p:cNvSpPr/>
            <p:nvPr/>
          </p:nvSpPr>
          <p:spPr>
            <a:xfrm rot="5400000">
              <a:off x="2889322" y="4409660"/>
              <a:ext cx="742058" cy="702914"/>
            </a:xfrm>
            <a:prstGeom prst="hexagon">
              <a:avLst>
                <a:gd name="adj" fmla="val 25000"/>
                <a:gd name="vf" fmla="val 115470"/>
              </a:avLst>
            </a:prstGeom>
            <a:solidFill>
              <a:srgbClr val="13224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2" name="Hexagon 51">
              <a:extLst>
                <a:ext uri="{FF2B5EF4-FFF2-40B4-BE49-F238E27FC236}">
                  <a16:creationId xmlns:a16="http://schemas.microsoft.com/office/drawing/2014/main" id="{CD4C5C62-BB22-BAE1-2C3B-38CB98935571}"/>
                </a:ext>
              </a:extLst>
            </p:cNvPr>
            <p:cNvSpPr/>
            <p:nvPr/>
          </p:nvSpPr>
          <p:spPr>
            <a:xfrm rot="5400000">
              <a:off x="2912100" y="4450944"/>
              <a:ext cx="692707" cy="656167"/>
            </a:xfrm>
            <a:prstGeom prst="hexagon">
              <a:avLst>
                <a:gd name="adj" fmla="val 25000"/>
                <a:gd name="vf" fmla="val 115470"/>
              </a:avLst>
            </a:prstGeom>
            <a:solidFill>
              <a:srgbClr val="00305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74" name="Group 73">
              <a:extLst>
                <a:ext uri="{FF2B5EF4-FFF2-40B4-BE49-F238E27FC236}">
                  <a16:creationId xmlns:a16="http://schemas.microsoft.com/office/drawing/2014/main" id="{F7A5FD56-8A63-C532-8DC6-8F4C45E23D72}"/>
                </a:ext>
              </a:extLst>
            </p:cNvPr>
            <p:cNvGrpSpPr/>
            <p:nvPr/>
          </p:nvGrpSpPr>
          <p:grpSpPr>
            <a:xfrm>
              <a:off x="3043490" y="4509557"/>
              <a:ext cx="433724" cy="369914"/>
              <a:chOff x="6338071" y="2686629"/>
              <a:chExt cx="1011037" cy="946100"/>
            </a:xfrm>
          </p:grpSpPr>
          <p:grpSp>
            <p:nvGrpSpPr>
              <p:cNvPr id="75" name="Group 74">
                <a:extLst>
                  <a:ext uri="{FF2B5EF4-FFF2-40B4-BE49-F238E27FC236}">
                    <a16:creationId xmlns:a16="http://schemas.microsoft.com/office/drawing/2014/main" id="{6F2D4478-C879-010F-B272-C0497A9C1EF3}"/>
                  </a:ext>
                </a:extLst>
              </p:cNvPr>
              <p:cNvGrpSpPr/>
              <p:nvPr/>
            </p:nvGrpSpPr>
            <p:grpSpPr>
              <a:xfrm>
                <a:off x="6431700" y="2686629"/>
                <a:ext cx="917408" cy="946100"/>
                <a:chOff x="10982019" y="4174036"/>
                <a:chExt cx="328067" cy="338327"/>
              </a:xfrm>
              <a:solidFill>
                <a:schemeClr val="bg1"/>
              </a:solidFill>
            </p:grpSpPr>
            <p:sp>
              <p:nvSpPr>
                <p:cNvPr id="79" name="Freeform 97">
                  <a:extLst>
                    <a:ext uri="{FF2B5EF4-FFF2-40B4-BE49-F238E27FC236}">
                      <a16:creationId xmlns:a16="http://schemas.microsoft.com/office/drawing/2014/main" id="{A4359C29-119C-4EF5-7912-D639342B0A82}"/>
                    </a:ext>
                  </a:extLst>
                </p:cNvPr>
                <p:cNvSpPr/>
                <p:nvPr/>
              </p:nvSpPr>
              <p:spPr>
                <a:xfrm>
                  <a:off x="10982019" y="4174036"/>
                  <a:ext cx="135981" cy="133730"/>
                </a:xfrm>
                <a:custGeom>
                  <a:avLst/>
                  <a:gdLst>
                    <a:gd name="connsiteX0" fmla="*/ 67991 w 135981"/>
                    <a:gd name="connsiteY0" fmla="*/ 133731 h 133730"/>
                    <a:gd name="connsiteX1" fmla="*/ 0 w 135981"/>
                    <a:gd name="connsiteY1" fmla="*/ 66865 h 133730"/>
                    <a:gd name="connsiteX2" fmla="*/ 67991 w 135981"/>
                    <a:gd name="connsiteY2" fmla="*/ 0 h 133730"/>
                    <a:gd name="connsiteX3" fmla="*/ 135982 w 135981"/>
                    <a:gd name="connsiteY3" fmla="*/ 66865 h 133730"/>
                    <a:gd name="connsiteX4" fmla="*/ 67991 w 135981"/>
                    <a:gd name="connsiteY4" fmla="*/ 133731 h 133730"/>
                    <a:gd name="connsiteX5" fmla="*/ 67991 w 135981"/>
                    <a:gd name="connsiteY5" fmla="*/ 9525 h 133730"/>
                    <a:gd name="connsiteX6" fmla="*/ 9509 w 135981"/>
                    <a:gd name="connsiteY6" fmla="*/ 66865 h 133730"/>
                    <a:gd name="connsiteX7" fmla="*/ 67991 w 135981"/>
                    <a:gd name="connsiteY7" fmla="*/ 124206 h 133730"/>
                    <a:gd name="connsiteX8" fmla="*/ 126472 w 135981"/>
                    <a:gd name="connsiteY8" fmla="*/ 66865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4" y="133731"/>
                        <a:pt x="0" y="103727"/>
                        <a:pt x="0" y="66865"/>
                      </a:cubicBezTo>
                      <a:cubicBezTo>
                        <a:pt x="0" y="30004"/>
                        <a:pt x="30524" y="0"/>
                        <a:pt x="67991" y="0"/>
                      </a:cubicBezTo>
                      <a:cubicBezTo>
                        <a:pt x="105457" y="0"/>
                        <a:pt x="135982" y="30004"/>
                        <a:pt x="135982" y="66865"/>
                      </a:cubicBezTo>
                      <a:cubicBezTo>
                        <a:pt x="135982" y="103727"/>
                        <a:pt x="105457" y="133731"/>
                        <a:pt x="67991" y="133731"/>
                      </a:cubicBezTo>
                      <a:close/>
                      <a:moveTo>
                        <a:pt x="67991" y="9525"/>
                      </a:moveTo>
                      <a:cubicBezTo>
                        <a:pt x="35754" y="9525"/>
                        <a:pt x="9509" y="35242"/>
                        <a:pt x="9509" y="66865"/>
                      </a:cubicBezTo>
                      <a:cubicBezTo>
                        <a:pt x="9509" y="98488"/>
                        <a:pt x="35754" y="124206"/>
                        <a:pt x="67991" y="124206"/>
                      </a:cubicBezTo>
                      <a:cubicBezTo>
                        <a:pt x="100227" y="124206"/>
                        <a:pt x="126472" y="98488"/>
                        <a:pt x="126472" y="66865"/>
                      </a:cubicBezTo>
                      <a:cubicBezTo>
                        <a:pt x="126472" y="35242"/>
                        <a:pt x="100227" y="9525"/>
                        <a:pt x="67991"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98">
                  <a:extLst>
                    <a:ext uri="{FF2B5EF4-FFF2-40B4-BE49-F238E27FC236}">
                      <a16:creationId xmlns:a16="http://schemas.microsoft.com/office/drawing/2014/main" id="{117E7603-CE56-59BE-17C2-62FF200D6454}"/>
                    </a:ext>
                  </a:extLst>
                </p:cNvPr>
                <p:cNvSpPr/>
                <p:nvPr/>
              </p:nvSpPr>
              <p:spPr>
                <a:xfrm>
                  <a:off x="11088998" y="4283668"/>
                  <a:ext cx="87294" cy="87439"/>
                </a:xfrm>
                <a:custGeom>
                  <a:avLst/>
                  <a:gdLst>
                    <a:gd name="connsiteX0" fmla="*/ 43647 w 87294"/>
                    <a:gd name="connsiteY0" fmla="*/ 87440 h 87439"/>
                    <a:gd name="connsiteX1" fmla="*/ 0 w 87294"/>
                    <a:gd name="connsiteY1" fmla="*/ 43720 h 87439"/>
                    <a:gd name="connsiteX2" fmla="*/ 43647 w 87294"/>
                    <a:gd name="connsiteY2" fmla="*/ 0 h 87439"/>
                    <a:gd name="connsiteX3" fmla="*/ 87294 w 87294"/>
                    <a:gd name="connsiteY3" fmla="*/ 43720 h 87439"/>
                    <a:gd name="connsiteX4" fmla="*/ 43647 w 87294"/>
                    <a:gd name="connsiteY4" fmla="*/ 87440 h 87439"/>
                    <a:gd name="connsiteX5" fmla="*/ 43647 w 87294"/>
                    <a:gd name="connsiteY5" fmla="*/ 9525 h 87439"/>
                    <a:gd name="connsiteX6" fmla="*/ 9509 w 87294"/>
                    <a:gd name="connsiteY6" fmla="*/ 43720 h 87439"/>
                    <a:gd name="connsiteX7" fmla="*/ 43647 w 87294"/>
                    <a:gd name="connsiteY7" fmla="*/ 77915 h 87439"/>
                    <a:gd name="connsiteX8" fmla="*/ 77785 w 87294"/>
                    <a:gd name="connsiteY8" fmla="*/ 43720 h 87439"/>
                    <a:gd name="connsiteX9" fmla="*/ 43647 w 87294"/>
                    <a:gd name="connsiteY9" fmla="*/ 9525 h 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94" h="87439">
                      <a:moveTo>
                        <a:pt x="43647" y="87440"/>
                      </a:moveTo>
                      <a:cubicBezTo>
                        <a:pt x="19589" y="87440"/>
                        <a:pt x="0" y="67818"/>
                        <a:pt x="0" y="43720"/>
                      </a:cubicBezTo>
                      <a:cubicBezTo>
                        <a:pt x="0" y="19621"/>
                        <a:pt x="19589" y="0"/>
                        <a:pt x="43647" y="0"/>
                      </a:cubicBezTo>
                      <a:cubicBezTo>
                        <a:pt x="67705" y="0"/>
                        <a:pt x="87294" y="19621"/>
                        <a:pt x="87294" y="43720"/>
                      </a:cubicBezTo>
                      <a:cubicBezTo>
                        <a:pt x="87294" y="67818"/>
                        <a:pt x="67705" y="87440"/>
                        <a:pt x="43647" y="87440"/>
                      </a:cubicBezTo>
                      <a:close/>
                      <a:moveTo>
                        <a:pt x="43647" y="9525"/>
                      </a:moveTo>
                      <a:cubicBezTo>
                        <a:pt x="24819" y="9525"/>
                        <a:pt x="9509" y="24860"/>
                        <a:pt x="9509" y="43720"/>
                      </a:cubicBezTo>
                      <a:cubicBezTo>
                        <a:pt x="9509" y="62579"/>
                        <a:pt x="24819" y="77915"/>
                        <a:pt x="43647" y="77915"/>
                      </a:cubicBezTo>
                      <a:cubicBezTo>
                        <a:pt x="62475" y="77915"/>
                        <a:pt x="77785" y="62579"/>
                        <a:pt x="77785" y="43720"/>
                      </a:cubicBezTo>
                      <a:cubicBezTo>
                        <a:pt x="77785" y="24860"/>
                        <a:pt x="62475" y="9525"/>
                        <a:pt x="43647"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Freeform 99">
                  <a:extLst>
                    <a:ext uri="{FF2B5EF4-FFF2-40B4-BE49-F238E27FC236}">
                      <a16:creationId xmlns:a16="http://schemas.microsoft.com/office/drawing/2014/main" id="{4F908DDC-76C6-55A8-4FD6-5BF1300E759C}"/>
                    </a:ext>
                  </a:extLst>
                </p:cNvPr>
                <p:cNvSpPr/>
                <p:nvPr/>
              </p:nvSpPr>
              <p:spPr>
                <a:xfrm>
                  <a:off x="11174105" y="4210516"/>
                  <a:ext cx="135981" cy="133730"/>
                </a:xfrm>
                <a:custGeom>
                  <a:avLst/>
                  <a:gdLst>
                    <a:gd name="connsiteX0" fmla="*/ 67991 w 135981"/>
                    <a:gd name="connsiteY0" fmla="*/ 133731 h 133730"/>
                    <a:gd name="connsiteX1" fmla="*/ 0 w 135981"/>
                    <a:gd name="connsiteY1" fmla="*/ 66866 h 133730"/>
                    <a:gd name="connsiteX2" fmla="*/ 67991 w 135981"/>
                    <a:gd name="connsiteY2" fmla="*/ 0 h 133730"/>
                    <a:gd name="connsiteX3" fmla="*/ 135982 w 135981"/>
                    <a:gd name="connsiteY3" fmla="*/ 66866 h 133730"/>
                    <a:gd name="connsiteX4" fmla="*/ 67991 w 135981"/>
                    <a:gd name="connsiteY4" fmla="*/ 133731 h 133730"/>
                    <a:gd name="connsiteX5" fmla="*/ 67991 w 135981"/>
                    <a:gd name="connsiteY5" fmla="*/ 9525 h 133730"/>
                    <a:gd name="connsiteX6" fmla="*/ 9509 w 135981"/>
                    <a:gd name="connsiteY6" fmla="*/ 66866 h 133730"/>
                    <a:gd name="connsiteX7" fmla="*/ 67991 w 135981"/>
                    <a:gd name="connsiteY7" fmla="*/ 124206 h 133730"/>
                    <a:gd name="connsiteX8" fmla="*/ 126473 w 135981"/>
                    <a:gd name="connsiteY8" fmla="*/ 66866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5" y="133731"/>
                        <a:pt x="0" y="103727"/>
                        <a:pt x="0" y="66866"/>
                      </a:cubicBezTo>
                      <a:cubicBezTo>
                        <a:pt x="0" y="30004"/>
                        <a:pt x="30525" y="0"/>
                        <a:pt x="67991" y="0"/>
                      </a:cubicBezTo>
                      <a:cubicBezTo>
                        <a:pt x="105457" y="0"/>
                        <a:pt x="135982" y="30004"/>
                        <a:pt x="135982" y="66866"/>
                      </a:cubicBezTo>
                      <a:cubicBezTo>
                        <a:pt x="135982" y="103727"/>
                        <a:pt x="105457" y="133731"/>
                        <a:pt x="67991" y="133731"/>
                      </a:cubicBezTo>
                      <a:close/>
                      <a:moveTo>
                        <a:pt x="67991" y="9525"/>
                      </a:moveTo>
                      <a:cubicBezTo>
                        <a:pt x="35755" y="9525"/>
                        <a:pt x="9509" y="35242"/>
                        <a:pt x="9509" y="66866"/>
                      </a:cubicBezTo>
                      <a:cubicBezTo>
                        <a:pt x="9509" y="98488"/>
                        <a:pt x="35755" y="124206"/>
                        <a:pt x="67991" y="124206"/>
                      </a:cubicBezTo>
                      <a:cubicBezTo>
                        <a:pt x="100227" y="124206"/>
                        <a:pt x="126473" y="98488"/>
                        <a:pt x="126473" y="66866"/>
                      </a:cubicBezTo>
                      <a:cubicBezTo>
                        <a:pt x="126473" y="35242"/>
                        <a:pt x="100227" y="9525"/>
                        <a:pt x="67991"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 name="Freeform 101">
                  <a:extLst>
                    <a:ext uri="{FF2B5EF4-FFF2-40B4-BE49-F238E27FC236}">
                      <a16:creationId xmlns:a16="http://schemas.microsoft.com/office/drawing/2014/main" id="{FC48CAF1-0D1A-CDB0-617A-4F1031F3AAB5}"/>
                    </a:ext>
                  </a:extLst>
                </p:cNvPr>
                <p:cNvSpPr/>
                <p:nvPr/>
              </p:nvSpPr>
              <p:spPr>
                <a:xfrm>
                  <a:off x="11059804" y="4376156"/>
                  <a:ext cx="133509" cy="136207"/>
                </a:xfrm>
                <a:custGeom>
                  <a:avLst/>
                  <a:gdLst>
                    <a:gd name="connsiteX0" fmla="*/ 66755 w 133509"/>
                    <a:gd name="connsiteY0" fmla="*/ 136208 h 136207"/>
                    <a:gd name="connsiteX1" fmla="*/ 0 w 133509"/>
                    <a:gd name="connsiteY1" fmla="*/ 68104 h 136207"/>
                    <a:gd name="connsiteX2" fmla="*/ 66755 w 133509"/>
                    <a:gd name="connsiteY2" fmla="*/ 0 h 136207"/>
                    <a:gd name="connsiteX3" fmla="*/ 133509 w 133509"/>
                    <a:gd name="connsiteY3" fmla="*/ 68104 h 136207"/>
                    <a:gd name="connsiteX4" fmla="*/ 66755 w 133509"/>
                    <a:gd name="connsiteY4" fmla="*/ 136208 h 136207"/>
                    <a:gd name="connsiteX5" fmla="*/ 66755 w 133509"/>
                    <a:gd name="connsiteY5" fmla="*/ 9525 h 136207"/>
                    <a:gd name="connsiteX6" fmla="*/ 9509 w 133509"/>
                    <a:gd name="connsiteY6" fmla="*/ 68104 h 136207"/>
                    <a:gd name="connsiteX7" fmla="*/ 66755 w 133509"/>
                    <a:gd name="connsiteY7" fmla="*/ 126683 h 136207"/>
                    <a:gd name="connsiteX8" fmla="*/ 124000 w 133509"/>
                    <a:gd name="connsiteY8" fmla="*/ 68104 h 136207"/>
                    <a:gd name="connsiteX9" fmla="*/ 66755 w 133509"/>
                    <a:gd name="connsiteY9" fmla="*/ 952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509" h="136207">
                      <a:moveTo>
                        <a:pt x="66755" y="136208"/>
                      </a:moveTo>
                      <a:cubicBezTo>
                        <a:pt x="29954" y="136208"/>
                        <a:pt x="0" y="105632"/>
                        <a:pt x="0" y="68104"/>
                      </a:cubicBezTo>
                      <a:cubicBezTo>
                        <a:pt x="0" y="30575"/>
                        <a:pt x="29954" y="0"/>
                        <a:pt x="66755" y="0"/>
                      </a:cubicBezTo>
                      <a:cubicBezTo>
                        <a:pt x="103555" y="0"/>
                        <a:pt x="133509" y="30575"/>
                        <a:pt x="133509" y="68104"/>
                      </a:cubicBezTo>
                      <a:cubicBezTo>
                        <a:pt x="133509" y="105632"/>
                        <a:pt x="103555" y="136208"/>
                        <a:pt x="66755" y="136208"/>
                      </a:cubicBezTo>
                      <a:close/>
                      <a:moveTo>
                        <a:pt x="66755" y="9525"/>
                      </a:moveTo>
                      <a:cubicBezTo>
                        <a:pt x="35184" y="9525"/>
                        <a:pt x="9509" y="35814"/>
                        <a:pt x="9509" y="68104"/>
                      </a:cubicBezTo>
                      <a:cubicBezTo>
                        <a:pt x="9509" y="100393"/>
                        <a:pt x="35184" y="126683"/>
                        <a:pt x="66755" y="126683"/>
                      </a:cubicBezTo>
                      <a:cubicBezTo>
                        <a:pt x="98325" y="126683"/>
                        <a:pt x="124000" y="100393"/>
                        <a:pt x="124000" y="68104"/>
                      </a:cubicBezTo>
                      <a:cubicBezTo>
                        <a:pt x="124000" y="35814"/>
                        <a:pt x="98325" y="9525"/>
                        <a:pt x="66755"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Freeform 103">
                  <a:extLst>
                    <a:ext uri="{FF2B5EF4-FFF2-40B4-BE49-F238E27FC236}">
                      <a16:creationId xmlns:a16="http://schemas.microsoft.com/office/drawing/2014/main" id="{A3093A4D-66C9-2448-D812-CD9E1AFE1950}"/>
                    </a:ext>
                  </a:extLst>
                </p:cNvPr>
                <p:cNvSpPr/>
                <p:nvPr/>
              </p:nvSpPr>
              <p:spPr>
                <a:xfrm>
                  <a:off x="11023289" y="4315386"/>
                  <a:ext cx="60668" cy="63055"/>
                </a:xfrm>
                <a:custGeom>
                  <a:avLst/>
                  <a:gdLst>
                    <a:gd name="connsiteX0" fmla="*/ 30334 w 60668"/>
                    <a:gd name="connsiteY0" fmla="*/ 63055 h 63055"/>
                    <a:gd name="connsiteX1" fmla="*/ 0 w 60668"/>
                    <a:gd name="connsiteY1" fmla="*/ 31528 h 63055"/>
                    <a:gd name="connsiteX2" fmla="*/ 30334 w 60668"/>
                    <a:gd name="connsiteY2" fmla="*/ 0 h 63055"/>
                    <a:gd name="connsiteX3" fmla="*/ 60669 w 60668"/>
                    <a:gd name="connsiteY3" fmla="*/ 31528 h 63055"/>
                    <a:gd name="connsiteX4" fmla="*/ 30334 w 60668"/>
                    <a:gd name="connsiteY4" fmla="*/ 63055 h 63055"/>
                    <a:gd name="connsiteX5" fmla="*/ 30334 w 60668"/>
                    <a:gd name="connsiteY5" fmla="*/ 9430 h 63055"/>
                    <a:gd name="connsiteX6" fmla="*/ 9509 w 60668"/>
                    <a:gd name="connsiteY6" fmla="*/ 31433 h 63055"/>
                    <a:gd name="connsiteX7" fmla="*/ 30334 w 60668"/>
                    <a:gd name="connsiteY7" fmla="*/ 53435 h 63055"/>
                    <a:gd name="connsiteX8" fmla="*/ 51160 w 60668"/>
                    <a:gd name="connsiteY8" fmla="*/ 31433 h 63055"/>
                    <a:gd name="connsiteX9" fmla="*/ 30334 w 60668"/>
                    <a:gd name="connsiteY9" fmla="*/ 9430 h 6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68" h="63055">
                      <a:moveTo>
                        <a:pt x="30334" y="63055"/>
                      </a:moveTo>
                      <a:cubicBezTo>
                        <a:pt x="13598" y="63055"/>
                        <a:pt x="0" y="48863"/>
                        <a:pt x="0" y="31528"/>
                      </a:cubicBezTo>
                      <a:cubicBezTo>
                        <a:pt x="0" y="14192"/>
                        <a:pt x="13598" y="0"/>
                        <a:pt x="30334" y="0"/>
                      </a:cubicBezTo>
                      <a:cubicBezTo>
                        <a:pt x="47070" y="0"/>
                        <a:pt x="60669" y="14192"/>
                        <a:pt x="60669" y="31528"/>
                      </a:cubicBezTo>
                      <a:cubicBezTo>
                        <a:pt x="60669" y="48863"/>
                        <a:pt x="47070" y="63055"/>
                        <a:pt x="30334" y="63055"/>
                      </a:cubicBezTo>
                      <a:close/>
                      <a:moveTo>
                        <a:pt x="30334" y="9430"/>
                      </a:moveTo>
                      <a:cubicBezTo>
                        <a:pt x="18828" y="9430"/>
                        <a:pt x="9509" y="19336"/>
                        <a:pt x="9509" y="31433"/>
                      </a:cubicBezTo>
                      <a:cubicBezTo>
                        <a:pt x="9509" y="43529"/>
                        <a:pt x="18828" y="53435"/>
                        <a:pt x="30334" y="53435"/>
                      </a:cubicBezTo>
                      <a:cubicBezTo>
                        <a:pt x="41840" y="53435"/>
                        <a:pt x="51160" y="43529"/>
                        <a:pt x="51160" y="31433"/>
                      </a:cubicBezTo>
                      <a:cubicBezTo>
                        <a:pt x="51160" y="19336"/>
                        <a:pt x="41840" y="9430"/>
                        <a:pt x="30334" y="9430"/>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76" name="Oval 75">
                <a:extLst>
                  <a:ext uri="{FF2B5EF4-FFF2-40B4-BE49-F238E27FC236}">
                    <a16:creationId xmlns:a16="http://schemas.microsoft.com/office/drawing/2014/main" id="{2DFAF622-F407-19C6-7F35-B2676ECC5149}"/>
                  </a:ext>
                </a:extLst>
              </p:cNvPr>
              <p:cNvSpPr/>
              <p:nvPr/>
            </p:nvSpPr>
            <p:spPr>
              <a:xfrm>
                <a:off x="6826066" y="2779187"/>
                <a:ext cx="142799" cy="14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7" name="Oval 76">
                <a:extLst>
                  <a:ext uri="{FF2B5EF4-FFF2-40B4-BE49-F238E27FC236}">
                    <a16:creationId xmlns:a16="http://schemas.microsoft.com/office/drawing/2014/main" id="{0AD97186-EB15-8959-7975-7C29DAD52F0B}"/>
                  </a:ext>
                </a:extLst>
              </p:cNvPr>
              <p:cNvSpPr/>
              <p:nvPr/>
            </p:nvSpPr>
            <p:spPr>
              <a:xfrm>
                <a:off x="6338071" y="3223873"/>
                <a:ext cx="282188" cy="2821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id="{1D376932-66D1-688C-8DDB-A944B55ECDD3}"/>
                  </a:ext>
                </a:extLst>
              </p:cNvPr>
              <p:cNvSpPr/>
              <p:nvPr/>
            </p:nvSpPr>
            <p:spPr>
              <a:xfrm>
                <a:off x="6998664" y="3186811"/>
                <a:ext cx="142799" cy="14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7" name="Hexagon 4">
              <a:extLst>
                <a:ext uri="{FF2B5EF4-FFF2-40B4-BE49-F238E27FC236}">
                  <a16:creationId xmlns:a16="http://schemas.microsoft.com/office/drawing/2014/main" id="{65B2F550-42AA-F706-4300-27E7B28C73D9}"/>
                </a:ext>
              </a:extLst>
            </p:cNvPr>
            <p:cNvSpPr txBox="1"/>
            <p:nvPr/>
          </p:nvSpPr>
          <p:spPr>
            <a:xfrm>
              <a:off x="3037857" y="4909632"/>
              <a:ext cx="432771" cy="1511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b"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ngineered Blends</a:t>
              </a:r>
            </a:p>
          </p:txBody>
        </p:sp>
      </p:grpSp>
      <p:sp>
        <p:nvSpPr>
          <p:cNvPr id="23" name="Hexagon 22">
            <a:extLst>
              <a:ext uri="{FF2B5EF4-FFF2-40B4-BE49-F238E27FC236}">
                <a16:creationId xmlns:a16="http://schemas.microsoft.com/office/drawing/2014/main" id="{A256C883-48F9-0C62-7C1F-1D80B71BF3A6}"/>
              </a:ext>
            </a:extLst>
          </p:cNvPr>
          <p:cNvSpPr/>
          <p:nvPr/>
        </p:nvSpPr>
        <p:spPr>
          <a:xfrm rot="5400000">
            <a:off x="2202874" y="2705299"/>
            <a:ext cx="834898" cy="772368"/>
          </a:xfrm>
          <a:prstGeom prst="hexagon">
            <a:avLst>
              <a:gd name="adj" fmla="val 25000"/>
              <a:gd name="vf" fmla="val 115470"/>
            </a:avLst>
          </a:prstGeom>
          <a:solidFill>
            <a:srgbClr val="00305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87" name="Group 86">
            <a:extLst>
              <a:ext uri="{FF2B5EF4-FFF2-40B4-BE49-F238E27FC236}">
                <a16:creationId xmlns:a16="http://schemas.microsoft.com/office/drawing/2014/main" id="{7BA08D90-A529-9091-F23E-2B66B0128B46}"/>
              </a:ext>
            </a:extLst>
          </p:cNvPr>
          <p:cNvGrpSpPr/>
          <p:nvPr/>
        </p:nvGrpSpPr>
        <p:grpSpPr>
          <a:xfrm>
            <a:off x="2394105" y="2793898"/>
            <a:ext cx="448723" cy="419509"/>
            <a:chOff x="11066099" y="2493490"/>
            <a:chExt cx="329258" cy="339090"/>
          </a:xfrm>
          <a:solidFill>
            <a:schemeClr val="bg1"/>
          </a:solidFill>
        </p:grpSpPr>
        <p:sp>
          <p:nvSpPr>
            <p:cNvPr id="88" name="Freeform 84">
              <a:extLst>
                <a:ext uri="{FF2B5EF4-FFF2-40B4-BE49-F238E27FC236}">
                  <a16:creationId xmlns:a16="http://schemas.microsoft.com/office/drawing/2014/main" id="{2BF080FB-C464-4A46-2D6D-1A3D23627D08}"/>
                </a:ext>
              </a:extLst>
            </p:cNvPr>
            <p:cNvSpPr/>
            <p:nvPr/>
          </p:nvSpPr>
          <p:spPr>
            <a:xfrm>
              <a:off x="11140372" y="2572547"/>
              <a:ext cx="180674" cy="180975"/>
            </a:xfrm>
            <a:custGeom>
              <a:avLst/>
              <a:gdLst>
                <a:gd name="connsiteX0" fmla="*/ 90337 w 180674"/>
                <a:gd name="connsiteY0" fmla="*/ 180975 h 180975"/>
                <a:gd name="connsiteX1" fmla="*/ 0 w 180674"/>
                <a:gd name="connsiteY1" fmla="*/ 90488 h 180975"/>
                <a:gd name="connsiteX2" fmla="*/ 90337 w 180674"/>
                <a:gd name="connsiteY2" fmla="*/ 0 h 180975"/>
                <a:gd name="connsiteX3" fmla="*/ 180675 w 180674"/>
                <a:gd name="connsiteY3" fmla="*/ 90488 h 180975"/>
                <a:gd name="connsiteX4" fmla="*/ 90337 w 180674"/>
                <a:gd name="connsiteY4" fmla="*/ 180975 h 180975"/>
                <a:gd name="connsiteX5" fmla="*/ 90337 w 180674"/>
                <a:gd name="connsiteY5" fmla="*/ 9525 h 180975"/>
                <a:gd name="connsiteX6" fmla="*/ 9509 w 180674"/>
                <a:gd name="connsiteY6" fmla="*/ 90488 h 180975"/>
                <a:gd name="connsiteX7" fmla="*/ 90337 w 180674"/>
                <a:gd name="connsiteY7" fmla="*/ 171450 h 180975"/>
                <a:gd name="connsiteX8" fmla="*/ 171166 w 180674"/>
                <a:gd name="connsiteY8" fmla="*/ 90488 h 180975"/>
                <a:gd name="connsiteX9" fmla="*/ 90337 w 180674"/>
                <a:gd name="connsiteY9" fmla="*/ 952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674" h="180975">
                  <a:moveTo>
                    <a:pt x="90337" y="180975"/>
                  </a:moveTo>
                  <a:cubicBezTo>
                    <a:pt x="40509" y="180975"/>
                    <a:pt x="0" y="140399"/>
                    <a:pt x="0" y="90488"/>
                  </a:cubicBezTo>
                  <a:cubicBezTo>
                    <a:pt x="0" y="40577"/>
                    <a:pt x="40509" y="0"/>
                    <a:pt x="90337" y="0"/>
                  </a:cubicBezTo>
                  <a:cubicBezTo>
                    <a:pt x="140166" y="0"/>
                    <a:pt x="180675" y="40577"/>
                    <a:pt x="180675" y="90488"/>
                  </a:cubicBezTo>
                  <a:cubicBezTo>
                    <a:pt x="180675" y="140399"/>
                    <a:pt x="140166" y="180975"/>
                    <a:pt x="90337" y="180975"/>
                  </a:cubicBezTo>
                  <a:close/>
                  <a:moveTo>
                    <a:pt x="90337" y="9525"/>
                  </a:moveTo>
                  <a:cubicBezTo>
                    <a:pt x="45739" y="9525"/>
                    <a:pt x="9509" y="45815"/>
                    <a:pt x="9509" y="90488"/>
                  </a:cubicBezTo>
                  <a:cubicBezTo>
                    <a:pt x="9509" y="135160"/>
                    <a:pt x="45739" y="171450"/>
                    <a:pt x="90337" y="171450"/>
                  </a:cubicBezTo>
                  <a:cubicBezTo>
                    <a:pt x="134936" y="171450"/>
                    <a:pt x="171166" y="135160"/>
                    <a:pt x="171166" y="90488"/>
                  </a:cubicBezTo>
                  <a:cubicBezTo>
                    <a:pt x="171166" y="45815"/>
                    <a:pt x="134936" y="9525"/>
                    <a:pt x="90337"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 name="Freeform 85">
              <a:extLst>
                <a:ext uri="{FF2B5EF4-FFF2-40B4-BE49-F238E27FC236}">
                  <a16:creationId xmlns:a16="http://schemas.microsoft.com/office/drawing/2014/main" id="{98A70038-6E36-E463-86CF-C10D7641545B}"/>
                </a:ext>
              </a:extLst>
            </p:cNvPr>
            <p:cNvSpPr/>
            <p:nvPr/>
          </p:nvSpPr>
          <p:spPr>
            <a:xfrm>
              <a:off x="11188584" y="2493490"/>
              <a:ext cx="84251" cy="84391"/>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 name="Freeform 86">
              <a:extLst>
                <a:ext uri="{FF2B5EF4-FFF2-40B4-BE49-F238E27FC236}">
                  <a16:creationId xmlns:a16="http://schemas.microsoft.com/office/drawing/2014/main" id="{3EF173F1-9DF4-09E3-1ABF-FD030421E36F}"/>
                </a:ext>
              </a:extLst>
            </p:cNvPr>
            <p:cNvSpPr/>
            <p:nvPr/>
          </p:nvSpPr>
          <p:spPr>
            <a:xfrm>
              <a:off x="11188584" y="2748189"/>
              <a:ext cx="84251" cy="84391"/>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 name="Freeform 87">
              <a:extLst>
                <a:ext uri="{FF2B5EF4-FFF2-40B4-BE49-F238E27FC236}">
                  <a16:creationId xmlns:a16="http://schemas.microsoft.com/office/drawing/2014/main" id="{E00F9BD9-6C72-F690-8C5B-CAC11A11C54D}"/>
                </a:ext>
              </a:extLst>
            </p:cNvPr>
            <p:cNvSpPr/>
            <p:nvPr/>
          </p:nvSpPr>
          <p:spPr>
            <a:xfrm>
              <a:off x="11264732" y="2519024"/>
              <a:ext cx="84238" cy="84384"/>
            </a:xfrm>
            <a:custGeom>
              <a:avLst/>
              <a:gdLst>
                <a:gd name="connsiteX0" fmla="*/ 42051 w 84238"/>
                <a:gd name="connsiteY0" fmla="*/ 84289 h 84384"/>
                <a:gd name="connsiteX1" fmla="*/ 16852 w 84238"/>
                <a:gd name="connsiteY1" fmla="*/ 75907 h 84384"/>
                <a:gd name="connsiteX2" fmla="*/ 8389 w 84238"/>
                <a:gd name="connsiteY2" fmla="*/ 16852 h 84384"/>
                <a:gd name="connsiteX3" fmla="*/ 67346 w 84238"/>
                <a:gd name="connsiteY3" fmla="*/ 8375 h 84384"/>
                <a:gd name="connsiteX4" fmla="*/ 83797 w 84238"/>
                <a:gd name="connsiteY4" fmla="*/ 36188 h 84384"/>
                <a:gd name="connsiteX5" fmla="*/ 75809 w 84238"/>
                <a:gd name="connsiteY5" fmla="*/ 67430 h 84384"/>
                <a:gd name="connsiteX6" fmla="*/ 75809 w 84238"/>
                <a:gd name="connsiteY6" fmla="*/ 67430 h 84384"/>
                <a:gd name="connsiteX7" fmla="*/ 48042 w 84238"/>
                <a:gd name="connsiteY7" fmla="*/ 83908 h 84384"/>
                <a:gd name="connsiteX8" fmla="*/ 41956 w 84238"/>
                <a:gd name="connsiteY8" fmla="*/ 84384 h 84384"/>
                <a:gd name="connsiteX9" fmla="*/ 42147 w 84238"/>
                <a:gd name="connsiteY9" fmla="*/ 9423 h 84384"/>
                <a:gd name="connsiteX10" fmla="*/ 15996 w 84238"/>
                <a:gd name="connsiteY10" fmla="*/ 22472 h 84384"/>
                <a:gd name="connsiteX11" fmla="*/ 22558 w 84238"/>
                <a:gd name="connsiteY11" fmla="*/ 68192 h 84384"/>
                <a:gd name="connsiteX12" fmla="*/ 46711 w 84238"/>
                <a:gd name="connsiteY12" fmla="*/ 74383 h 84384"/>
                <a:gd name="connsiteX13" fmla="*/ 68202 w 84238"/>
                <a:gd name="connsiteY13" fmla="*/ 61620 h 84384"/>
                <a:gd name="connsiteX14" fmla="*/ 68202 w 84238"/>
                <a:gd name="connsiteY14" fmla="*/ 61620 h 84384"/>
                <a:gd name="connsiteX15" fmla="*/ 74383 w 84238"/>
                <a:gd name="connsiteY15" fmla="*/ 37426 h 84384"/>
                <a:gd name="connsiteX16" fmla="*/ 61640 w 84238"/>
                <a:gd name="connsiteY16" fmla="*/ 15900 h 84384"/>
                <a:gd name="connsiteX17" fmla="*/ 42147 w 84238"/>
                <a:gd name="connsiteY17" fmla="*/ 9423 h 8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38" h="84384">
                  <a:moveTo>
                    <a:pt x="42051" y="84289"/>
                  </a:moveTo>
                  <a:cubicBezTo>
                    <a:pt x="33018" y="84289"/>
                    <a:pt x="24269" y="81432"/>
                    <a:pt x="16852" y="75907"/>
                  </a:cubicBezTo>
                  <a:cubicBezTo>
                    <a:pt x="-1786" y="62000"/>
                    <a:pt x="-5495" y="35521"/>
                    <a:pt x="8389" y="16852"/>
                  </a:cubicBezTo>
                  <a:cubicBezTo>
                    <a:pt x="22272" y="-1722"/>
                    <a:pt x="48708" y="-5532"/>
                    <a:pt x="67346" y="8375"/>
                  </a:cubicBezTo>
                  <a:cubicBezTo>
                    <a:pt x="76380" y="15138"/>
                    <a:pt x="82180" y="24948"/>
                    <a:pt x="83797" y="36188"/>
                  </a:cubicBezTo>
                  <a:cubicBezTo>
                    <a:pt x="85413" y="47332"/>
                    <a:pt x="82561" y="58476"/>
                    <a:pt x="75809" y="67430"/>
                  </a:cubicBezTo>
                  <a:lnTo>
                    <a:pt x="75809" y="67430"/>
                  </a:lnTo>
                  <a:cubicBezTo>
                    <a:pt x="69057" y="76479"/>
                    <a:pt x="59263" y="82289"/>
                    <a:pt x="48042" y="83908"/>
                  </a:cubicBezTo>
                  <a:cubicBezTo>
                    <a:pt x="46045" y="84194"/>
                    <a:pt x="43953" y="84384"/>
                    <a:pt x="41956" y="84384"/>
                  </a:cubicBezTo>
                  <a:close/>
                  <a:moveTo>
                    <a:pt x="42147" y="9423"/>
                  </a:moveTo>
                  <a:cubicBezTo>
                    <a:pt x="32257" y="9423"/>
                    <a:pt x="22368" y="13899"/>
                    <a:pt x="15996" y="22472"/>
                  </a:cubicBezTo>
                  <a:cubicBezTo>
                    <a:pt x="5251" y="36854"/>
                    <a:pt x="8199" y="57429"/>
                    <a:pt x="22558" y="68192"/>
                  </a:cubicBezTo>
                  <a:cubicBezTo>
                    <a:pt x="29499" y="73431"/>
                    <a:pt x="38058" y="75621"/>
                    <a:pt x="46711" y="74383"/>
                  </a:cubicBezTo>
                  <a:cubicBezTo>
                    <a:pt x="55364" y="73145"/>
                    <a:pt x="62972" y="68573"/>
                    <a:pt x="68202" y="61620"/>
                  </a:cubicBezTo>
                  <a:lnTo>
                    <a:pt x="68202" y="61620"/>
                  </a:lnTo>
                  <a:cubicBezTo>
                    <a:pt x="73432" y="54666"/>
                    <a:pt x="75619" y="45998"/>
                    <a:pt x="74383" y="37426"/>
                  </a:cubicBezTo>
                  <a:cubicBezTo>
                    <a:pt x="73147" y="28758"/>
                    <a:pt x="68582" y="21138"/>
                    <a:pt x="61640" y="15900"/>
                  </a:cubicBezTo>
                  <a:cubicBezTo>
                    <a:pt x="55745" y="11518"/>
                    <a:pt x="48898" y="9423"/>
                    <a:pt x="42147" y="9423"/>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Freeform 88">
              <a:extLst>
                <a:ext uri="{FF2B5EF4-FFF2-40B4-BE49-F238E27FC236}">
                  <a16:creationId xmlns:a16="http://schemas.microsoft.com/office/drawing/2014/main" id="{8512CE62-EBD6-9FB4-6C2B-1A2BD6BA1D1A}"/>
                </a:ext>
              </a:extLst>
            </p:cNvPr>
            <p:cNvSpPr/>
            <p:nvPr/>
          </p:nvSpPr>
          <p:spPr>
            <a:xfrm>
              <a:off x="11112354" y="2722790"/>
              <a:ext cx="84210" cy="84453"/>
            </a:xfrm>
            <a:custGeom>
              <a:avLst/>
              <a:gdLst>
                <a:gd name="connsiteX0" fmla="*/ 42092 w 84210"/>
                <a:gd name="connsiteY0" fmla="*/ 84358 h 84453"/>
                <a:gd name="connsiteX1" fmla="*/ 16893 w 84210"/>
                <a:gd name="connsiteY1" fmla="*/ 75976 h 84453"/>
                <a:gd name="connsiteX2" fmla="*/ 442 w 84210"/>
                <a:gd name="connsiteY2" fmla="*/ 48163 h 84453"/>
                <a:gd name="connsiteX3" fmla="*/ 8430 w 84210"/>
                <a:gd name="connsiteY3" fmla="*/ 16921 h 84453"/>
                <a:gd name="connsiteX4" fmla="*/ 36197 w 84210"/>
                <a:gd name="connsiteY4" fmla="*/ 443 h 84453"/>
                <a:gd name="connsiteX5" fmla="*/ 67387 w 84210"/>
                <a:gd name="connsiteY5" fmla="*/ 8444 h 84453"/>
                <a:gd name="connsiteX6" fmla="*/ 75850 w 84210"/>
                <a:gd name="connsiteY6" fmla="*/ 67499 h 84453"/>
                <a:gd name="connsiteX7" fmla="*/ 75850 w 84210"/>
                <a:gd name="connsiteY7" fmla="*/ 67499 h 84453"/>
                <a:gd name="connsiteX8" fmla="*/ 48083 w 84210"/>
                <a:gd name="connsiteY8" fmla="*/ 83977 h 84453"/>
                <a:gd name="connsiteX9" fmla="*/ 41997 w 84210"/>
                <a:gd name="connsiteY9" fmla="*/ 84453 h 84453"/>
                <a:gd name="connsiteX10" fmla="*/ 42282 w 84210"/>
                <a:gd name="connsiteY10" fmla="*/ 9491 h 84453"/>
                <a:gd name="connsiteX11" fmla="*/ 37528 w 84210"/>
                <a:gd name="connsiteY11" fmla="*/ 9872 h 84453"/>
                <a:gd name="connsiteX12" fmla="*/ 16037 w 84210"/>
                <a:gd name="connsiteY12" fmla="*/ 22636 h 84453"/>
                <a:gd name="connsiteX13" fmla="*/ 9856 w 84210"/>
                <a:gd name="connsiteY13" fmla="*/ 46829 h 84453"/>
                <a:gd name="connsiteX14" fmla="*/ 22599 w 84210"/>
                <a:gd name="connsiteY14" fmla="*/ 68356 h 84453"/>
                <a:gd name="connsiteX15" fmla="*/ 46752 w 84210"/>
                <a:gd name="connsiteY15" fmla="*/ 74547 h 84453"/>
                <a:gd name="connsiteX16" fmla="*/ 68243 w 84210"/>
                <a:gd name="connsiteY16" fmla="*/ 61784 h 84453"/>
                <a:gd name="connsiteX17" fmla="*/ 61681 w 84210"/>
                <a:gd name="connsiteY17" fmla="*/ 16064 h 84453"/>
                <a:gd name="connsiteX18" fmla="*/ 42187 w 84210"/>
                <a:gd name="connsiteY18" fmla="*/ 9587 h 84453"/>
                <a:gd name="connsiteX19" fmla="*/ 72141 w 84210"/>
                <a:gd name="connsiteY19" fmla="*/ 64546 h 84453"/>
                <a:gd name="connsiteX20" fmla="*/ 72141 w 84210"/>
                <a:gd name="connsiteY20" fmla="*/ 64546 h 84453"/>
                <a:gd name="connsiteX21" fmla="*/ 72141 w 84210"/>
                <a:gd name="connsiteY21" fmla="*/ 64546 h 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210" h="84453">
                  <a:moveTo>
                    <a:pt x="42092" y="84358"/>
                  </a:moveTo>
                  <a:cubicBezTo>
                    <a:pt x="33058" y="84358"/>
                    <a:pt x="24310" y="81500"/>
                    <a:pt x="16893" y="75976"/>
                  </a:cubicBezTo>
                  <a:cubicBezTo>
                    <a:pt x="7859" y="69213"/>
                    <a:pt x="2059" y="59402"/>
                    <a:pt x="442" y="48163"/>
                  </a:cubicBezTo>
                  <a:cubicBezTo>
                    <a:pt x="-1174" y="37019"/>
                    <a:pt x="1678" y="25875"/>
                    <a:pt x="8430" y="16921"/>
                  </a:cubicBezTo>
                  <a:cubicBezTo>
                    <a:pt x="15181" y="7967"/>
                    <a:pt x="24976" y="2062"/>
                    <a:pt x="36197" y="443"/>
                  </a:cubicBezTo>
                  <a:cubicBezTo>
                    <a:pt x="47322" y="-1177"/>
                    <a:pt x="58448" y="1681"/>
                    <a:pt x="67387" y="8444"/>
                  </a:cubicBezTo>
                  <a:cubicBezTo>
                    <a:pt x="85930" y="22350"/>
                    <a:pt x="89733" y="48925"/>
                    <a:pt x="75850" y="67499"/>
                  </a:cubicBezTo>
                  <a:lnTo>
                    <a:pt x="75850" y="67499"/>
                  </a:lnTo>
                  <a:cubicBezTo>
                    <a:pt x="69098" y="76548"/>
                    <a:pt x="59209" y="82358"/>
                    <a:pt x="48083" y="83977"/>
                  </a:cubicBezTo>
                  <a:cubicBezTo>
                    <a:pt x="46086" y="84263"/>
                    <a:pt x="43994" y="84453"/>
                    <a:pt x="41997" y="84453"/>
                  </a:cubicBezTo>
                  <a:close/>
                  <a:moveTo>
                    <a:pt x="42282" y="9491"/>
                  </a:moveTo>
                  <a:cubicBezTo>
                    <a:pt x="40761" y="9491"/>
                    <a:pt x="39144" y="9587"/>
                    <a:pt x="37528" y="9872"/>
                  </a:cubicBezTo>
                  <a:cubicBezTo>
                    <a:pt x="28874" y="11111"/>
                    <a:pt x="21267" y="15683"/>
                    <a:pt x="16037" y="22636"/>
                  </a:cubicBezTo>
                  <a:cubicBezTo>
                    <a:pt x="10807" y="29589"/>
                    <a:pt x="8620" y="38257"/>
                    <a:pt x="9856" y="46829"/>
                  </a:cubicBezTo>
                  <a:cubicBezTo>
                    <a:pt x="11092" y="55497"/>
                    <a:pt x="15657" y="63117"/>
                    <a:pt x="22599" y="68356"/>
                  </a:cubicBezTo>
                  <a:cubicBezTo>
                    <a:pt x="29540" y="73595"/>
                    <a:pt x="38193" y="75881"/>
                    <a:pt x="46752" y="74547"/>
                  </a:cubicBezTo>
                  <a:cubicBezTo>
                    <a:pt x="55405" y="73309"/>
                    <a:pt x="63013" y="68737"/>
                    <a:pt x="68243" y="61784"/>
                  </a:cubicBezTo>
                  <a:cubicBezTo>
                    <a:pt x="78988" y="47401"/>
                    <a:pt x="76040" y="26827"/>
                    <a:pt x="61681" y="16064"/>
                  </a:cubicBezTo>
                  <a:cubicBezTo>
                    <a:pt x="55976" y="11777"/>
                    <a:pt x="49224" y="9587"/>
                    <a:pt x="42187" y="9587"/>
                  </a:cubicBezTo>
                  <a:close/>
                  <a:moveTo>
                    <a:pt x="72141" y="64546"/>
                  </a:moveTo>
                  <a:lnTo>
                    <a:pt x="72141" y="64546"/>
                  </a:lnTo>
                  <a:lnTo>
                    <a:pt x="72141" y="6454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 name="Freeform 89">
              <a:extLst>
                <a:ext uri="{FF2B5EF4-FFF2-40B4-BE49-F238E27FC236}">
                  <a16:creationId xmlns:a16="http://schemas.microsoft.com/office/drawing/2014/main" id="{ABAA81FA-DDCE-81B8-9E08-0C48FC01EDF8}"/>
                </a:ext>
              </a:extLst>
            </p:cNvPr>
            <p:cNvSpPr/>
            <p:nvPr/>
          </p:nvSpPr>
          <p:spPr>
            <a:xfrm>
              <a:off x="11311156" y="2587024"/>
              <a:ext cx="84201" cy="84297"/>
            </a:xfrm>
            <a:custGeom>
              <a:avLst/>
              <a:gdLst>
                <a:gd name="connsiteX0" fmla="*/ 42032 w 84201"/>
                <a:gd name="connsiteY0" fmla="*/ 84298 h 84297"/>
                <a:gd name="connsiteX1" fmla="*/ 21302 w 84201"/>
                <a:gd name="connsiteY1" fmla="*/ 78773 h 84297"/>
                <a:gd name="connsiteX2" fmla="*/ 1523 w 84201"/>
                <a:gd name="connsiteY2" fmla="*/ 53342 h 84297"/>
                <a:gd name="connsiteX3" fmla="*/ 5517 w 84201"/>
                <a:gd name="connsiteY3" fmla="*/ 21338 h 84297"/>
                <a:gd name="connsiteX4" fmla="*/ 30907 w 84201"/>
                <a:gd name="connsiteY4" fmla="*/ 1526 h 84297"/>
                <a:gd name="connsiteX5" fmla="*/ 62857 w 84201"/>
                <a:gd name="connsiteY5" fmla="*/ 5526 h 84297"/>
                <a:gd name="connsiteX6" fmla="*/ 82637 w 84201"/>
                <a:gd name="connsiteY6" fmla="*/ 30958 h 84297"/>
                <a:gd name="connsiteX7" fmla="*/ 78643 w 84201"/>
                <a:gd name="connsiteY7" fmla="*/ 62962 h 84297"/>
                <a:gd name="connsiteX8" fmla="*/ 53253 w 84201"/>
                <a:gd name="connsiteY8" fmla="*/ 82774 h 84297"/>
                <a:gd name="connsiteX9" fmla="*/ 53253 w 84201"/>
                <a:gd name="connsiteY9" fmla="*/ 82774 h 84297"/>
                <a:gd name="connsiteX10" fmla="*/ 41937 w 84201"/>
                <a:gd name="connsiteY10" fmla="*/ 84298 h 84297"/>
                <a:gd name="connsiteX11" fmla="*/ 52017 w 84201"/>
                <a:gd name="connsiteY11" fmla="*/ 78202 h 84297"/>
                <a:gd name="connsiteX12" fmla="*/ 52017 w 84201"/>
                <a:gd name="connsiteY12" fmla="*/ 78202 h 84297"/>
                <a:gd name="connsiteX13" fmla="*/ 52017 w 84201"/>
                <a:gd name="connsiteY13" fmla="*/ 78202 h 84297"/>
                <a:gd name="connsiteX14" fmla="*/ 42127 w 84201"/>
                <a:gd name="connsiteY14" fmla="*/ 9431 h 84297"/>
                <a:gd name="connsiteX15" fmla="*/ 33379 w 84201"/>
                <a:gd name="connsiteY15" fmla="*/ 10670 h 84297"/>
                <a:gd name="connsiteX16" fmla="*/ 13695 w 84201"/>
                <a:gd name="connsiteY16" fmla="*/ 26005 h 84297"/>
                <a:gd name="connsiteX17" fmla="*/ 10652 w 84201"/>
                <a:gd name="connsiteY17" fmla="*/ 50770 h 84297"/>
                <a:gd name="connsiteX18" fmla="*/ 25962 w 84201"/>
                <a:gd name="connsiteY18" fmla="*/ 70487 h 84297"/>
                <a:gd name="connsiteX19" fmla="*/ 50781 w 84201"/>
                <a:gd name="connsiteY19" fmla="*/ 73535 h 84297"/>
                <a:gd name="connsiteX20" fmla="*/ 50781 w 84201"/>
                <a:gd name="connsiteY20" fmla="*/ 73535 h 84297"/>
                <a:gd name="connsiteX21" fmla="*/ 73508 w 84201"/>
                <a:gd name="connsiteY21" fmla="*/ 33339 h 84297"/>
                <a:gd name="connsiteX22" fmla="*/ 58198 w 84201"/>
                <a:gd name="connsiteY22" fmla="*/ 13622 h 84297"/>
                <a:gd name="connsiteX23" fmla="*/ 42127 w 84201"/>
                <a:gd name="connsiteY23" fmla="*/ 9336 h 8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201" h="84297">
                  <a:moveTo>
                    <a:pt x="42032" y="84298"/>
                  </a:moveTo>
                  <a:cubicBezTo>
                    <a:pt x="34805" y="84298"/>
                    <a:pt x="27768" y="82488"/>
                    <a:pt x="21302" y="78773"/>
                  </a:cubicBezTo>
                  <a:cubicBezTo>
                    <a:pt x="11508" y="73249"/>
                    <a:pt x="4471" y="64200"/>
                    <a:pt x="1523" y="53342"/>
                  </a:cubicBezTo>
                  <a:cubicBezTo>
                    <a:pt x="-1425" y="42483"/>
                    <a:pt x="-93" y="31148"/>
                    <a:pt x="5517" y="21338"/>
                  </a:cubicBezTo>
                  <a:cubicBezTo>
                    <a:pt x="11032" y="11527"/>
                    <a:pt x="20066" y="4478"/>
                    <a:pt x="30907" y="1526"/>
                  </a:cubicBezTo>
                  <a:cubicBezTo>
                    <a:pt x="41747" y="-1427"/>
                    <a:pt x="53063" y="-94"/>
                    <a:pt x="62857" y="5526"/>
                  </a:cubicBezTo>
                  <a:cubicBezTo>
                    <a:pt x="72652" y="11051"/>
                    <a:pt x="79689" y="20099"/>
                    <a:pt x="82637" y="30958"/>
                  </a:cubicBezTo>
                  <a:cubicBezTo>
                    <a:pt x="85679" y="41816"/>
                    <a:pt x="84253" y="53151"/>
                    <a:pt x="78643" y="62962"/>
                  </a:cubicBezTo>
                  <a:cubicBezTo>
                    <a:pt x="73128" y="72773"/>
                    <a:pt x="64094" y="79821"/>
                    <a:pt x="53253" y="82774"/>
                  </a:cubicBezTo>
                  <a:lnTo>
                    <a:pt x="53253" y="82774"/>
                  </a:lnTo>
                  <a:cubicBezTo>
                    <a:pt x="49545" y="83822"/>
                    <a:pt x="45741" y="84298"/>
                    <a:pt x="41937" y="84298"/>
                  </a:cubicBezTo>
                  <a:close/>
                  <a:moveTo>
                    <a:pt x="52017" y="78202"/>
                  </a:moveTo>
                  <a:lnTo>
                    <a:pt x="52017" y="78202"/>
                  </a:lnTo>
                  <a:lnTo>
                    <a:pt x="52017" y="78202"/>
                  </a:lnTo>
                  <a:close/>
                  <a:moveTo>
                    <a:pt x="42127" y="9431"/>
                  </a:moveTo>
                  <a:cubicBezTo>
                    <a:pt x="39180" y="9431"/>
                    <a:pt x="36232" y="9812"/>
                    <a:pt x="33379" y="10670"/>
                  </a:cubicBezTo>
                  <a:cubicBezTo>
                    <a:pt x="25011" y="12956"/>
                    <a:pt x="17974" y="18480"/>
                    <a:pt x="13695" y="26005"/>
                  </a:cubicBezTo>
                  <a:cubicBezTo>
                    <a:pt x="9416" y="33625"/>
                    <a:pt x="8275" y="42388"/>
                    <a:pt x="10652" y="50770"/>
                  </a:cubicBezTo>
                  <a:cubicBezTo>
                    <a:pt x="12934" y="59152"/>
                    <a:pt x="18450" y="66200"/>
                    <a:pt x="25962" y="70487"/>
                  </a:cubicBezTo>
                  <a:cubicBezTo>
                    <a:pt x="33569" y="74773"/>
                    <a:pt x="42317" y="75821"/>
                    <a:pt x="50781" y="73535"/>
                  </a:cubicBezTo>
                  <a:lnTo>
                    <a:pt x="50781" y="73535"/>
                  </a:lnTo>
                  <a:cubicBezTo>
                    <a:pt x="68088" y="68772"/>
                    <a:pt x="78262" y="50675"/>
                    <a:pt x="73508" y="33339"/>
                  </a:cubicBezTo>
                  <a:cubicBezTo>
                    <a:pt x="71226" y="24957"/>
                    <a:pt x="65710" y="17909"/>
                    <a:pt x="58198" y="13622"/>
                  </a:cubicBezTo>
                  <a:cubicBezTo>
                    <a:pt x="53253" y="10765"/>
                    <a:pt x="47738" y="9336"/>
                    <a:pt x="42127" y="933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 name="Freeform 90">
              <a:extLst>
                <a:ext uri="{FF2B5EF4-FFF2-40B4-BE49-F238E27FC236}">
                  <a16:creationId xmlns:a16="http://schemas.microsoft.com/office/drawing/2014/main" id="{E7910AC3-5BB4-483A-9668-FBFAC80F874C}"/>
                </a:ext>
              </a:extLst>
            </p:cNvPr>
            <p:cNvSpPr/>
            <p:nvPr/>
          </p:nvSpPr>
          <p:spPr>
            <a:xfrm>
              <a:off x="11066099" y="2654748"/>
              <a:ext cx="84259" cy="84391"/>
            </a:xfrm>
            <a:custGeom>
              <a:avLst/>
              <a:gdLst>
                <a:gd name="connsiteX0" fmla="*/ 42133 w 84259"/>
                <a:gd name="connsiteY0" fmla="*/ 84392 h 84391"/>
                <a:gd name="connsiteX1" fmla="*/ 1528 w 84259"/>
                <a:gd name="connsiteY1" fmla="*/ 53435 h 84391"/>
                <a:gd name="connsiteX2" fmla="*/ 30911 w 84259"/>
                <a:gd name="connsiteY2" fmla="*/ 1524 h 84391"/>
                <a:gd name="connsiteX3" fmla="*/ 82737 w 84259"/>
                <a:gd name="connsiteY3" fmla="*/ 30956 h 84391"/>
                <a:gd name="connsiteX4" fmla="*/ 78743 w 84259"/>
                <a:gd name="connsiteY4" fmla="*/ 62960 h 84391"/>
                <a:gd name="connsiteX5" fmla="*/ 53353 w 84259"/>
                <a:gd name="connsiteY5" fmla="*/ 82772 h 84391"/>
                <a:gd name="connsiteX6" fmla="*/ 53353 w 84259"/>
                <a:gd name="connsiteY6" fmla="*/ 82772 h 84391"/>
                <a:gd name="connsiteX7" fmla="*/ 42133 w 84259"/>
                <a:gd name="connsiteY7" fmla="*/ 84296 h 84391"/>
                <a:gd name="connsiteX8" fmla="*/ 52022 w 84259"/>
                <a:gd name="connsiteY8" fmla="*/ 78296 h 84391"/>
                <a:gd name="connsiteX9" fmla="*/ 52022 w 84259"/>
                <a:gd name="connsiteY9" fmla="*/ 78296 h 84391"/>
                <a:gd name="connsiteX10" fmla="*/ 52022 w 84259"/>
                <a:gd name="connsiteY10" fmla="*/ 78296 h 84391"/>
                <a:gd name="connsiteX11" fmla="*/ 42037 w 84259"/>
                <a:gd name="connsiteY11" fmla="*/ 9525 h 84391"/>
                <a:gd name="connsiteX12" fmla="*/ 33384 w 84259"/>
                <a:gd name="connsiteY12" fmla="*/ 10668 h 84391"/>
                <a:gd name="connsiteX13" fmla="*/ 10657 w 84259"/>
                <a:gd name="connsiteY13" fmla="*/ 50864 h 84391"/>
                <a:gd name="connsiteX14" fmla="*/ 50786 w 84259"/>
                <a:gd name="connsiteY14" fmla="*/ 73628 h 84391"/>
                <a:gd name="connsiteX15" fmla="*/ 70470 w 84259"/>
                <a:gd name="connsiteY15" fmla="*/ 58293 h 84391"/>
                <a:gd name="connsiteX16" fmla="*/ 73513 w 84259"/>
                <a:gd name="connsiteY16" fmla="*/ 33528 h 84391"/>
                <a:gd name="connsiteX17" fmla="*/ 42037 w 84259"/>
                <a:gd name="connsiteY17"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59" h="84391">
                  <a:moveTo>
                    <a:pt x="42133" y="84392"/>
                  </a:moveTo>
                  <a:cubicBezTo>
                    <a:pt x="23685" y="84392"/>
                    <a:pt x="6663" y="72104"/>
                    <a:pt x="1528" y="53435"/>
                  </a:cubicBezTo>
                  <a:cubicBezTo>
                    <a:pt x="-4653" y="31051"/>
                    <a:pt x="8470" y="7715"/>
                    <a:pt x="30911" y="1524"/>
                  </a:cubicBezTo>
                  <a:cubicBezTo>
                    <a:pt x="53353" y="-4667"/>
                    <a:pt x="76556" y="8572"/>
                    <a:pt x="82737" y="30956"/>
                  </a:cubicBezTo>
                  <a:cubicBezTo>
                    <a:pt x="85685" y="41815"/>
                    <a:pt x="84353" y="53149"/>
                    <a:pt x="78743" y="62960"/>
                  </a:cubicBezTo>
                  <a:cubicBezTo>
                    <a:pt x="73228" y="72771"/>
                    <a:pt x="64194" y="79820"/>
                    <a:pt x="53353" y="82772"/>
                  </a:cubicBezTo>
                  <a:lnTo>
                    <a:pt x="53353" y="82772"/>
                  </a:lnTo>
                  <a:cubicBezTo>
                    <a:pt x="49645" y="83820"/>
                    <a:pt x="45841" y="84296"/>
                    <a:pt x="42133" y="84296"/>
                  </a:cubicBezTo>
                  <a:close/>
                  <a:moveTo>
                    <a:pt x="52022" y="78296"/>
                  </a:moveTo>
                  <a:lnTo>
                    <a:pt x="52022" y="78296"/>
                  </a:lnTo>
                  <a:lnTo>
                    <a:pt x="52022" y="78296"/>
                  </a:lnTo>
                  <a:close/>
                  <a:moveTo>
                    <a:pt x="42037" y="9525"/>
                  </a:moveTo>
                  <a:cubicBezTo>
                    <a:pt x="39184" y="9525"/>
                    <a:pt x="36237" y="9906"/>
                    <a:pt x="33384" y="10668"/>
                  </a:cubicBezTo>
                  <a:cubicBezTo>
                    <a:pt x="16077" y="15430"/>
                    <a:pt x="5902" y="33528"/>
                    <a:pt x="10657" y="50864"/>
                  </a:cubicBezTo>
                  <a:cubicBezTo>
                    <a:pt x="15411" y="68199"/>
                    <a:pt x="33479" y="78391"/>
                    <a:pt x="50786" y="73628"/>
                  </a:cubicBezTo>
                  <a:cubicBezTo>
                    <a:pt x="59154" y="71342"/>
                    <a:pt x="66191" y="65818"/>
                    <a:pt x="70470" y="58293"/>
                  </a:cubicBezTo>
                  <a:cubicBezTo>
                    <a:pt x="74749" y="50673"/>
                    <a:pt x="75890" y="41910"/>
                    <a:pt x="73513" y="33528"/>
                  </a:cubicBezTo>
                  <a:cubicBezTo>
                    <a:pt x="69519" y="19050"/>
                    <a:pt x="56396" y="9525"/>
                    <a:pt x="42037"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5" name="Freeform 91">
              <a:extLst>
                <a:ext uri="{FF2B5EF4-FFF2-40B4-BE49-F238E27FC236}">
                  <a16:creationId xmlns:a16="http://schemas.microsoft.com/office/drawing/2014/main" id="{67F7A153-5298-F2AE-4011-FD78BC6E258D}"/>
                </a:ext>
              </a:extLst>
            </p:cNvPr>
            <p:cNvSpPr/>
            <p:nvPr/>
          </p:nvSpPr>
          <p:spPr>
            <a:xfrm>
              <a:off x="11306940" y="2667376"/>
              <a:ext cx="84223" cy="84336"/>
            </a:xfrm>
            <a:custGeom>
              <a:avLst/>
              <a:gdLst>
                <a:gd name="connsiteX0" fmla="*/ 42064 w 84223"/>
                <a:gd name="connsiteY0" fmla="*/ 84337 h 84336"/>
                <a:gd name="connsiteX1" fmla="*/ 26755 w 84223"/>
                <a:gd name="connsiteY1" fmla="*/ 81479 h 84336"/>
                <a:gd name="connsiteX2" fmla="*/ 26755 w 84223"/>
                <a:gd name="connsiteY2" fmla="*/ 81479 h 84336"/>
                <a:gd name="connsiteX3" fmla="*/ 3552 w 84223"/>
                <a:gd name="connsiteY3" fmla="*/ 59096 h 84336"/>
                <a:gd name="connsiteX4" fmla="*/ 2886 w 84223"/>
                <a:gd name="connsiteY4" fmla="*/ 26806 h 84336"/>
                <a:gd name="connsiteX5" fmla="*/ 57469 w 84223"/>
                <a:gd name="connsiteY5" fmla="*/ 2898 h 84336"/>
                <a:gd name="connsiteX6" fmla="*/ 80672 w 84223"/>
                <a:gd name="connsiteY6" fmla="*/ 25282 h 84336"/>
                <a:gd name="connsiteX7" fmla="*/ 81337 w 84223"/>
                <a:gd name="connsiteY7" fmla="*/ 57572 h 84336"/>
                <a:gd name="connsiteX8" fmla="*/ 42064 w 84223"/>
                <a:gd name="connsiteY8" fmla="*/ 84337 h 84336"/>
                <a:gd name="connsiteX9" fmla="*/ 30273 w 84223"/>
                <a:gd name="connsiteY9" fmla="*/ 72526 h 84336"/>
                <a:gd name="connsiteX10" fmla="*/ 72494 w 84223"/>
                <a:gd name="connsiteY10" fmla="*/ 54047 h 84336"/>
                <a:gd name="connsiteX11" fmla="*/ 54046 w 84223"/>
                <a:gd name="connsiteY11" fmla="*/ 11756 h 84336"/>
                <a:gd name="connsiteX12" fmla="*/ 11825 w 84223"/>
                <a:gd name="connsiteY12" fmla="*/ 30235 h 84336"/>
                <a:gd name="connsiteX13" fmla="*/ 30273 w 84223"/>
                <a:gd name="connsiteY13" fmla="*/ 72526 h 84336"/>
                <a:gd name="connsiteX14" fmla="*/ 30273 w 84223"/>
                <a:gd name="connsiteY14" fmla="*/ 72526 h 8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23" h="84336">
                  <a:moveTo>
                    <a:pt x="42064" y="84337"/>
                  </a:moveTo>
                  <a:cubicBezTo>
                    <a:pt x="36929" y="84337"/>
                    <a:pt x="31794" y="83384"/>
                    <a:pt x="26755" y="81479"/>
                  </a:cubicBezTo>
                  <a:lnTo>
                    <a:pt x="26755" y="81479"/>
                  </a:lnTo>
                  <a:cubicBezTo>
                    <a:pt x="16294" y="77384"/>
                    <a:pt x="8021" y="69383"/>
                    <a:pt x="3552" y="59096"/>
                  </a:cubicBezTo>
                  <a:cubicBezTo>
                    <a:pt x="-917" y="48809"/>
                    <a:pt x="-1203" y="37283"/>
                    <a:pt x="2886" y="26806"/>
                  </a:cubicBezTo>
                  <a:cubicBezTo>
                    <a:pt x="11350" y="5184"/>
                    <a:pt x="35788" y="-5579"/>
                    <a:pt x="57469" y="2898"/>
                  </a:cubicBezTo>
                  <a:cubicBezTo>
                    <a:pt x="67929" y="6994"/>
                    <a:pt x="76202" y="14995"/>
                    <a:pt x="80672" y="25282"/>
                  </a:cubicBezTo>
                  <a:cubicBezTo>
                    <a:pt x="85141" y="35569"/>
                    <a:pt x="85426" y="47094"/>
                    <a:pt x="81337" y="57572"/>
                  </a:cubicBezTo>
                  <a:cubicBezTo>
                    <a:pt x="74871" y="74145"/>
                    <a:pt x="58896" y="84337"/>
                    <a:pt x="42064" y="84337"/>
                  </a:cubicBezTo>
                  <a:close/>
                  <a:moveTo>
                    <a:pt x="30273" y="72526"/>
                  </a:moveTo>
                  <a:cubicBezTo>
                    <a:pt x="47009" y="79098"/>
                    <a:pt x="65932" y="70811"/>
                    <a:pt x="72494" y="54047"/>
                  </a:cubicBezTo>
                  <a:cubicBezTo>
                    <a:pt x="79055" y="37283"/>
                    <a:pt x="70782" y="18329"/>
                    <a:pt x="54046" y="11756"/>
                  </a:cubicBezTo>
                  <a:cubicBezTo>
                    <a:pt x="37310" y="5184"/>
                    <a:pt x="18386" y="13471"/>
                    <a:pt x="11825" y="30235"/>
                  </a:cubicBezTo>
                  <a:cubicBezTo>
                    <a:pt x="5264" y="46999"/>
                    <a:pt x="13537" y="65954"/>
                    <a:pt x="30273" y="72526"/>
                  </a:cubicBezTo>
                  <a:lnTo>
                    <a:pt x="30273" y="7252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6" name="Freeform 92">
              <a:extLst>
                <a:ext uri="{FF2B5EF4-FFF2-40B4-BE49-F238E27FC236}">
                  <a16:creationId xmlns:a16="http://schemas.microsoft.com/office/drawing/2014/main" id="{D752286B-FB52-2A29-0477-A1807EE598BC}"/>
                </a:ext>
              </a:extLst>
            </p:cNvPr>
            <p:cNvSpPr/>
            <p:nvPr/>
          </p:nvSpPr>
          <p:spPr>
            <a:xfrm>
              <a:off x="11070256" y="2574412"/>
              <a:ext cx="84223" cy="84432"/>
            </a:xfrm>
            <a:custGeom>
              <a:avLst/>
              <a:gdLst>
                <a:gd name="connsiteX0" fmla="*/ 42159 w 84223"/>
                <a:gd name="connsiteY0" fmla="*/ 84432 h 84432"/>
                <a:gd name="connsiteX1" fmla="*/ 26755 w 84223"/>
                <a:gd name="connsiteY1" fmla="*/ 81479 h 84432"/>
                <a:gd name="connsiteX2" fmla="*/ 26755 w 84223"/>
                <a:gd name="connsiteY2" fmla="*/ 81479 h 84432"/>
                <a:gd name="connsiteX3" fmla="*/ 3552 w 84223"/>
                <a:gd name="connsiteY3" fmla="*/ 59096 h 84432"/>
                <a:gd name="connsiteX4" fmla="*/ 2887 w 84223"/>
                <a:gd name="connsiteY4" fmla="*/ 26806 h 84432"/>
                <a:gd name="connsiteX5" fmla="*/ 57469 w 84223"/>
                <a:gd name="connsiteY5" fmla="*/ 2898 h 84432"/>
                <a:gd name="connsiteX6" fmla="*/ 80672 w 84223"/>
                <a:gd name="connsiteY6" fmla="*/ 25282 h 84432"/>
                <a:gd name="connsiteX7" fmla="*/ 81338 w 84223"/>
                <a:gd name="connsiteY7" fmla="*/ 57572 h 84432"/>
                <a:gd name="connsiteX8" fmla="*/ 58991 w 84223"/>
                <a:gd name="connsiteY8" fmla="*/ 80813 h 84432"/>
                <a:gd name="connsiteX9" fmla="*/ 42159 w 84223"/>
                <a:gd name="connsiteY9" fmla="*/ 84337 h 84432"/>
                <a:gd name="connsiteX10" fmla="*/ 42159 w 84223"/>
                <a:gd name="connsiteY10" fmla="*/ 9566 h 84432"/>
                <a:gd name="connsiteX11" fmla="*/ 11730 w 84223"/>
                <a:gd name="connsiteY11" fmla="*/ 30330 h 84432"/>
                <a:gd name="connsiteX12" fmla="*/ 12205 w 84223"/>
                <a:gd name="connsiteY12" fmla="*/ 55286 h 84432"/>
                <a:gd name="connsiteX13" fmla="*/ 30178 w 84223"/>
                <a:gd name="connsiteY13" fmla="*/ 72621 h 84432"/>
                <a:gd name="connsiteX14" fmla="*/ 30178 w 84223"/>
                <a:gd name="connsiteY14" fmla="*/ 72621 h 84432"/>
                <a:gd name="connsiteX15" fmla="*/ 55092 w 84223"/>
                <a:gd name="connsiteY15" fmla="*/ 72145 h 84432"/>
                <a:gd name="connsiteX16" fmla="*/ 72399 w 84223"/>
                <a:gd name="connsiteY16" fmla="*/ 54143 h 84432"/>
                <a:gd name="connsiteX17" fmla="*/ 71923 w 84223"/>
                <a:gd name="connsiteY17" fmla="*/ 29187 h 84432"/>
                <a:gd name="connsiteX18" fmla="*/ 53951 w 84223"/>
                <a:gd name="connsiteY18" fmla="*/ 11852 h 84432"/>
                <a:gd name="connsiteX19" fmla="*/ 42065 w 84223"/>
                <a:gd name="connsiteY19" fmla="*/ 9566 h 8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223" h="84432">
                  <a:moveTo>
                    <a:pt x="42159" y="84432"/>
                  </a:moveTo>
                  <a:cubicBezTo>
                    <a:pt x="36929" y="84432"/>
                    <a:pt x="31794" y="83480"/>
                    <a:pt x="26755" y="81479"/>
                  </a:cubicBezTo>
                  <a:lnTo>
                    <a:pt x="26755" y="81479"/>
                  </a:lnTo>
                  <a:cubicBezTo>
                    <a:pt x="16294" y="77384"/>
                    <a:pt x="8021" y="69383"/>
                    <a:pt x="3552" y="59096"/>
                  </a:cubicBezTo>
                  <a:cubicBezTo>
                    <a:pt x="-917" y="48809"/>
                    <a:pt x="-1203" y="37283"/>
                    <a:pt x="2887" y="26806"/>
                  </a:cubicBezTo>
                  <a:cubicBezTo>
                    <a:pt x="11350" y="5184"/>
                    <a:pt x="35788" y="-5579"/>
                    <a:pt x="57469" y="2898"/>
                  </a:cubicBezTo>
                  <a:cubicBezTo>
                    <a:pt x="67930" y="6994"/>
                    <a:pt x="76203" y="14995"/>
                    <a:pt x="80672" y="25282"/>
                  </a:cubicBezTo>
                  <a:cubicBezTo>
                    <a:pt x="85141" y="35569"/>
                    <a:pt x="85426" y="47094"/>
                    <a:pt x="81338" y="57572"/>
                  </a:cubicBezTo>
                  <a:cubicBezTo>
                    <a:pt x="77248" y="68049"/>
                    <a:pt x="69261" y="76336"/>
                    <a:pt x="58991" y="80813"/>
                  </a:cubicBezTo>
                  <a:cubicBezTo>
                    <a:pt x="53571" y="83194"/>
                    <a:pt x="47865" y="84337"/>
                    <a:pt x="42159" y="84337"/>
                  </a:cubicBezTo>
                  <a:close/>
                  <a:moveTo>
                    <a:pt x="42159" y="9566"/>
                  </a:moveTo>
                  <a:cubicBezTo>
                    <a:pt x="29132" y="9566"/>
                    <a:pt x="16770" y="17471"/>
                    <a:pt x="11730" y="30330"/>
                  </a:cubicBezTo>
                  <a:cubicBezTo>
                    <a:pt x="8592" y="38426"/>
                    <a:pt x="8687" y="47285"/>
                    <a:pt x="12205" y="55286"/>
                  </a:cubicBezTo>
                  <a:cubicBezTo>
                    <a:pt x="15724" y="63287"/>
                    <a:pt x="22095" y="69383"/>
                    <a:pt x="30178" y="72621"/>
                  </a:cubicBezTo>
                  <a:lnTo>
                    <a:pt x="30178" y="72621"/>
                  </a:lnTo>
                  <a:cubicBezTo>
                    <a:pt x="38261" y="75764"/>
                    <a:pt x="47104" y="75669"/>
                    <a:pt x="55092" y="72145"/>
                  </a:cubicBezTo>
                  <a:cubicBezTo>
                    <a:pt x="63080" y="68621"/>
                    <a:pt x="69166" y="62239"/>
                    <a:pt x="72399" y="54143"/>
                  </a:cubicBezTo>
                  <a:cubicBezTo>
                    <a:pt x="75537" y="46046"/>
                    <a:pt x="75442" y="37188"/>
                    <a:pt x="71923" y="29187"/>
                  </a:cubicBezTo>
                  <a:cubicBezTo>
                    <a:pt x="68405" y="21186"/>
                    <a:pt x="62034" y="14995"/>
                    <a:pt x="53951" y="11852"/>
                  </a:cubicBezTo>
                  <a:cubicBezTo>
                    <a:pt x="50052" y="10328"/>
                    <a:pt x="46058" y="9566"/>
                    <a:pt x="42065" y="9566"/>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7" name="Freeform 93">
              <a:extLst>
                <a:ext uri="{FF2B5EF4-FFF2-40B4-BE49-F238E27FC236}">
                  <a16:creationId xmlns:a16="http://schemas.microsoft.com/office/drawing/2014/main" id="{9DEE85DB-9D5E-925A-A138-8D4222D9EE75}"/>
                </a:ext>
              </a:extLst>
            </p:cNvPr>
            <p:cNvSpPr/>
            <p:nvPr/>
          </p:nvSpPr>
          <p:spPr>
            <a:xfrm>
              <a:off x="11260099" y="2726192"/>
              <a:ext cx="84238" cy="84385"/>
            </a:xfrm>
            <a:custGeom>
              <a:avLst/>
              <a:gdLst>
                <a:gd name="connsiteX0" fmla="*/ 42214 w 84238"/>
                <a:gd name="connsiteY0" fmla="*/ 84290 h 84385"/>
                <a:gd name="connsiteX1" fmla="*/ 7316 w 84238"/>
                <a:gd name="connsiteY1" fmla="*/ 65907 h 84385"/>
                <a:gd name="connsiteX2" fmla="*/ 7316 w 84238"/>
                <a:gd name="connsiteY2" fmla="*/ 65907 h 84385"/>
                <a:gd name="connsiteX3" fmla="*/ 754 w 84238"/>
                <a:gd name="connsiteY3" fmla="*/ 34284 h 84385"/>
                <a:gd name="connsiteX4" fmla="*/ 18441 w 84238"/>
                <a:gd name="connsiteY4" fmla="*/ 7328 h 84385"/>
                <a:gd name="connsiteX5" fmla="*/ 50012 w 84238"/>
                <a:gd name="connsiteY5" fmla="*/ 756 h 84385"/>
                <a:gd name="connsiteX6" fmla="*/ 76923 w 84238"/>
                <a:gd name="connsiteY6" fmla="*/ 18472 h 84385"/>
                <a:gd name="connsiteX7" fmla="*/ 83485 w 84238"/>
                <a:gd name="connsiteY7" fmla="*/ 50095 h 84385"/>
                <a:gd name="connsiteX8" fmla="*/ 65797 w 84238"/>
                <a:gd name="connsiteY8" fmla="*/ 77051 h 84385"/>
                <a:gd name="connsiteX9" fmla="*/ 42119 w 84238"/>
                <a:gd name="connsiteY9" fmla="*/ 84385 h 84385"/>
                <a:gd name="connsiteX10" fmla="*/ 15208 w 84238"/>
                <a:gd name="connsiteY10" fmla="*/ 60477 h 84385"/>
                <a:gd name="connsiteX11" fmla="*/ 36129 w 84238"/>
                <a:gd name="connsiteY11" fmla="*/ 74193 h 84385"/>
                <a:gd name="connsiteX12" fmla="*/ 60567 w 84238"/>
                <a:gd name="connsiteY12" fmla="*/ 69145 h 84385"/>
                <a:gd name="connsiteX13" fmla="*/ 74261 w 84238"/>
                <a:gd name="connsiteY13" fmla="*/ 48285 h 84385"/>
                <a:gd name="connsiteX14" fmla="*/ 69221 w 84238"/>
                <a:gd name="connsiteY14" fmla="*/ 23806 h 84385"/>
                <a:gd name="connsiteX15" fmla="*/ 48396 w 84238"/>
                <a:gd name="connsiteY15" fmla="*/ 10090 h 84385"/>
                <a:gd name="connsiteX16" fmla="*/ 23957 w 84238"/>
                <a:gd name="connsiteY16" fmla="*/ 15138 h 84385"/>
                <a:gd name="connsiteX17" fmla="*/ 15303 w 84238"/>
                <a:gd name="connsiteY17" fmla="*/ 60477 h 84385"/>
                <a:gd name="connsiteX18" fmla="*/ 15303 w 84238"/>
                <a:gd name="connsiteY18" fmla="*/ 60477 h 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38" h="84385">
                  <a:moveTo>
                    <a:pt x="42214" y="84290"/>
                  </a:moveTo>
                  <a:cubicBezTo>
                    <a:pt x="28711" y="84290"/>
                    <a:pt x="15494" y="77813"/>
                    <a:pt x="7316" y="65907"/>
                  </a:cubicBezTo>
                  <a:lnTo>
                    <a:pt x="7316" y="65907"/>
                  </a:lnTo>
                  <a:cubicBezTo>
                    <a:pt x="944" y="56572"/>
                    <a:pt x="-1338" y="45333"/>
                    <a:pt x="754" y="34284"/>
                  </a:cubicBezTo>
                  <a:cubicBezTo>
                    <a:pt x="2846" y="23235"/>
                    <a:pt x="9123" y="13614"/>
                    <a:pt x="18441" y="7328"/>
                  </a:cubicBezTo>
                  <a:cubicBezTo>
                    <a:pt x="27760" y="946"/>
                    <a:pt x="38981" y="-1340"/>
                    <a:pt x="50012" y="756"/>
                  </a:cubicBezTo>
                  <a:cubicBezTo>
                    <a:pt x="61043" y="2851"/>
                    <a:pt x="70647" y="9138"/>
                    <a:pt x="76923" y="18472"/>
                  </a:cubicBezTo>
                  <a:cubicBezTo>
                    <a:pt x="83294" y="27807"/>
                    <a:pt x="85576" y="39046"/>
                    <a:pt x="83485" y="50095"/>
                  </a:cubicBezTo>
                  <a:cubicBezTo>
                    <a:pt x="81393" y="61144"/>
                    <a:pt x="75116" y="70764"/>
                    <a:pt x="65797" y="77051"/>
                  </a:cubicBezTo>
                  <a:cubicBezTo>
                    <a:pt x="58570" y="82004"/>
                    <a:pt x="50297" y="84385"/>
                    <a:pt x="42119" y="84385"/>
                  </a:cubicBezTo>
                  <a:close/>
                  <a:moveTo>
                    <a:pt x="15208" y="60477"/>
                  </a:moveTo>
                  <a:cubicBezTo>
                    <a:pt x="20153" y="67716"/>
                    <a:pt x="27570" y="72574"/>
                    <a:pt x="36129" y="74193"/>
                  </a:cubicBezTo>
                  <a:cubicBezTo>
                    <a:pt x="44687" y="75813"/>
                    <a:pt x="53340" y="74003"/>
                    <a:pt x="60567" y="69145"/>
                  </a:cubicBezTo>
                  <a:cubicBezTo>
                    <a:pt x="67794" y="64192"/>
                    <a:pt x="72644" y="56858"/>
                    <a:pt x="74261" y="48285"/>
                  </a:cubicBezTo>
                  <a:cubicBezTo>
                    <a:pt x="75877" y="39713"/>
                    <a:pt x="74070" y="31045"/>
                    <a:pt x="69221" y="23806"/>
                  </a:cubicBezTo>
                  <a:cubicBezTo>
                    <a:pt x="64276" y="16567"/>
                    <a:pt x="56954" y="11709"/>
                    <a:pt x="48396" y="10090"/>
                  </a:cubicBezTo>
                  <a:cubicBezTo>
                    <a:pt x="39837" y="8471"/>
                    <a:pt x="31184" y="10281"/>
                    <a:pt x="23957" y="15138"/>
                  </a:cubicBezTo>
                  <a:cubicBezTo>
                    <a:pt x="9123" y="25235"/>
                    <a:pt x="5224" y="45618"/>
                    <a:pt x="15303" y="60477"/>
                  </a:cubicBezTo>
                  <a:lnTo>
                    <a:pt x="15303" y="60477"/>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8" name="Freeform 94">
              <a:extLst>
                <a:ext uri="{FF2B5EF4-FFF2-40B4-BE49-F238E27FC236}">
                  <a16:creationId xmlns:a16="http://schemas.microsoft.com/office/drawing/2014/main" id="{51C75F41-44C7-9B09-2D65-2B5E77E7A7DF}"/>
                </a:ext>
              </a:extLst>
            </p:cNvPr>
            <p:cNvSpPr/>
            <p:nvPr/>
          </p:nvSpPr>
          <p:spPr>
            <a:xfrm>
              <a:off x="11117081" y="2515599"/>
              <a:ext cx="84192" cy="84380"/>
            </a:xfrm>
            <a:custGeom>
              <a:avLst/>
              <a:gdLst>
                <a:gd name="connsiteX0" fmla="*/ 42215 w 84192"/>
                <a:gd name="connsiteY0" fmla="*/ 84381 h 84380"/>
                <a:gd name="connsiteX1" fmla="*/ 34227 w 84192"/>
                <a:gd name="connsiteY1" fmla="*/ 83619 h 84380"/>
                <a:gd name="connsiteX2" fmla="*/ 7316 w 84192"/>
                <a:gd name="connsiteY2" fmla="*/ 65902 h 84380"/>
                <a:gd name="connsiteX3" fmla="*/ 7316 w 84192"/>
                <a:gd name="connsiteY3" fmla="*/ 65902 h 84380"/>
                <a:gd name="connsiteX4" fmla="*/ 754 w 84192"/>
                <a:gd name="connsiteY4" fmla="*/ 34279 h 84380"/>
                <a:gd name="connsiteX5" fmla="*/ 18442 w 84192"/>
                <a:gd name="connsiteY5" fmla="*/ 7324 h 84380"/>
                <a:gd name="connsiteX6" fmla="*/ 76923 w 84192"/>
                <a:gd name="connsiteY6" fmla="*/ 18468 h 84380"/>
                <a:gd name="connsiteX7" fmla="*/ 65797 w 84192"/>
                <a:gd name="connsiteY7" fmla="*/ 77047 h 84380"/>
                <a:gd name="connsiteX8" fmla="*/ 42215 w 84192"/>
                <a:gd name="connsiteY8" fmla="*/ 84381 h 84380"/>
                <a:gd name="connsiteX9" fmla="*/ 42119 w 84192"/>
                <a:gd name="connsiteY9" fmla="*/ 9514 h 84380"/>
                <a:gd name="connsiteX10" fmla="*/ 23862 w 84192"/>
                <a:gd name="connsiteY10" fmla="*/ 15134 h 84380"/>
                <a:gd name="connsiteX11" fmla="*/ 10169 w 84192"/>
                <a:gd name="connsiteY11" fmla="*/ 35994 h 84380"/>
                <a:gd name="connsiteX12" fmla="*/ 15209 w 84192"/>
                <a:gd name="connsiteY12" fmla="*/ 60473 h 84380"/>
                <a:gd name="connsiteX13" fmla="*/ 15209 w 84192"/>
                <a:gd name="connsiteY13" fmla="*/ 60473 h 84380"/>
                <a:gd name="connsiteX14" fmla="*/ 36033 w 84192"/>
                <a:gd name="connsiteY14" fmla="*/ 74189 h 84380"/>
                <a:gd name="connsiteX15" fmla="*/ 60472 w 84192"/>
                <a:gd name="connsiteY15" fmla="*/ 69141 h 84380"/>
                <a:gd name="connsiteX16" fmla="*/ 69126 w 84192"/>
                <a:gd name="connsiteY16" fmla="*/ 23802 h 84380"/>
                <a:gd name="connsiteX17" fmla="*/ 42119 w 84192"/>
                <a:gd name="connsiteY17" fmla="*/ 9514 h 8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2" h="84380">
                  <a:moveTo>
                    <a:pt x="42215" y="84381"/>
                  </a:moveTo>
                  <a:cubicBezTo>
                    <a:pt x="39552" y="84381"/>
                    <a:pt x="36889" y="84095"/>
                    <a:pt x="34227" y="83619"/>
                  </a:cubicBezTo>
                  <a:cubicBezTo>
                    <a:pt x="23196" y="81523"/>
                    <a:pt x="13592" y="75237"/>
                    <a:pt x="7316" y="65902"/>
                  </a:cubicBezTo>
                  <a:lnTo>
                    <a:pt x="7316" y="65902"/>
                  </a:lnTo>
                  <a:cubicBezTo>
                    <a:pt x="945" y="56568"/>
                    <a:pt x="-1338" y="45328"/>
                    <a:pt x="754" y="34279"/>
                  </a:cubicBezTo>
                  <a:cubicBezTo>
                    <a:pt x="2846" y="23230"/>
                    <a:pt x="9122" y="13610"/>
                    <a:pt x="18442" y="7324"/>
                  </a:cubicBezTo>
                  <a:cubicBezTo>
                    <a:pt x="37650" y="-5821"/>
                    <a:pt x="63896" y="-773"/>
                    <a:pt x="76923" y="18468"/>
                  </a:cubicBezTo>
                  <a:cubicBezTo>
                    <a:pt x="89951" y="37708"/>
                    <a:pt x="85006" y="63997"/>
                    <a:pt x="65797" y="77047"/>
                  </a:cubicBezTo>
                  <a:cubicBezTo>
                    <a:pt x="58761" y="81904"/>
                    <a:pt x="50583" y="84381"/>
                    <a:pt x="42215" y="84381"/>
                  </a:cubicBezTo>
                  <a:close/>
                  <a:moveTo>
                    <a:pt x="42119" y="9514"/>
                  </a:moveTo>
                  <a:cubicBezTo>
                    <a:pt x="35748" y="9514"/>
                    <a:pt x="29377" y="11324"/>
                    <a:pt x="23862" y="15134"/>
                  </a:cubicBezTo>
                  <a:cubicBezTo>
                    <a:pt x="16635" y="20087"/>
                    <a:pt x="11785" y="27421"/>
                    <a:pt x="10169" y="35994"/>
                  </a:cubicBezTo>
                  <a:cubicBezTo>
                    <a:pt x="8552" y="44566"/>
                    <a:pt x="10359" y="53234"/>
                    <a:pt x="15209" y="60473"/>
                  </a:cubicBezTo>
                  <a:lnTo>
                    <a:pt x="15209" y="60473"/>
                  </a:lnTo>
                  <a:cubicBezTo>
                    <a:pt x="20153" y="67712"/>
                    <a:pt x="27475" y="72570"/>
                    <a:pt x="36033" y="74189"/>
                  </a:cubicBezTo>
                  <a:cubicBezTo>
                    <a:pt x="44592" y="75808"/>
                    <a:pt x="53245" y="73999"/>
                    <a:pt x="60472" y="69141"/>
                  </a:cubicBezTo>
                  <a:cubicBezTo>
                    <a:pt x="75306" y="59044"/>
                    <a:pt x="79205" y="38661"/>
                    <a:pt x="69126" y="23802"/>
                  </a:cubicBezTo>
                  <a:cubicBezTo>
                    <a:pt x="62849" y="14563"/>
                    <a:pt x="52580" y="9514"/>
                    <a:pt x="42119" y="9514"/>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9" name="Hexagon 4">
            <a:extLst>
              <a:ext uri="{FF2B5EF4-FFF2-40B4-BE49-F238E27FC236}">
                <a16:creationId xmlns:a16="http://schemas.microsoft.com/office/drawing/2014/main" id="{389F3E9D-2F6F-F5D9-1164-8B76ED7F40C9}"/>
              </a:ext>
            </a:extLst>
          </p:cNvPr>
          <p:cNvSpPr txBox="1"/>
          <p:nvPr/>
        </p:nvSpPr>
        <p:spPr>
          <a:xfrm>
            <a:off x="2307282" y="3237150"/>
            <a:ext cx="630630" cy="1700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b"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article Surface </a:t>
            </a:r>
          </a:p>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odification</a:t>
            </a:r>
          </a:p>
        </p:txBody>
      </p:sp>
      <p:grpSp>
        <p:nvGrpSpPr>
          <p:cNvPr id="53" name="Group 52">
            <a:extLst>
              <a:ext uri="{FF2B5EF4-FFF2-40B4-BE49-F238E27FC236}">
                <a16:creationId xmlns:a16="http://schemas.microsoft.com/office/drawing/2014/main" id="{0E8D17F0-6188-6974-9D29-47D5E52EEB0C}"/>
              </a:ext>
            </a:extLst>
          </p:cNvPr>
          <p:cNvGrpSpPr/>
          <p:nvPr/>
        </p:nvGrpSpPr>
        <p:grpSpPr>
          <a:xfrm>
            <a:off x="2245226" y="1739904"/>
            <a:ext cx="772368" cy="834898"/>
            <a:chOff x="465855" y="4398505"/>
            <a:chExt cx="702914" cy="742058"/>
          </a:xfrm>
        </p:grpSpPr>
        <p:sp>
          <p:nvSpPr>
            <p:cNvPr id="26" name="Hexagon 25">
              <a:extLst>
                <a:ext uri="{FF2B5EF4-FFF2-40B4-BE49-F238E27FC236}">
                  <a16:creationId xmlns:a16="http://schemas.microsoft.com/office/drawing/2014/main" id="{53E1D92C-CAEB-834E-B9D9-9D6101AA12DB}"/>
                </a:ext>
              </a:extLst>
            </p:cNvPr>
            <p:cNvSpPr/>
            <p:nvPr/>
          </p:nvSpPr>
          <p:spPr>
            <a:xfrm rot="5400000">
              <a:off x="446283" y="4418077"/>
              <a:ext cx="742058" cy="702914"/>
            </a:xfrm>
            <a:prstGeom prst="hexagon">
              <a:avLst>
                <a:gd name="adj" fmla="val 25000"/>
                <a:gd name="vf" fmla="val 115470"/>
              </a:avLst>
            </a:prstGeom>
            <a:solidFill>
              <a:srgbClr val="00305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0" name="Group 39">
              <a:extLst>
                <a:ext uri="{FF2B5EF4-FFF2-40B4-BE49-F238E27FC236}">
                  <a16:creationId xmlns:a16="http://schemas.microsoft.com/office/drawing/2014/main" id="{FDCA0830-F032-9DB8-36E4-67BECC2FAC9C}"/>
                </a:ext>
              </a:extLst>
            </p:cNvPr>
            <p:cNvGrpSpPr/>
            <p:nvPr/>
          </p:nvGrpSpPr>
          <p:grpSpPr>
            <a:xfrm>
              <a:off x="621163" y="4561208"/>
              <a:ext cx="337272" cy="300917"/>
              <a:chOff x="13232446" y="2717643"/>
              <a:chExt cx="386720" cy="345010"/>
            </a:xfrm>
            <a:solidFill>
              <a:schemeClr val="bg1"/>
            </a:solidFill>
          </p:grpSpPr>
          <p:sp>
            <p:nvSpPr>
              <p:cNvPr id="41" name="Freeform 91">
                <a:extLst>
                  <a:ext uri="{FF2B5EF4-FFF2-40B4-BE49-F238E27FC236}">
                    <a16:creationId xmlns:a16="http://schemas.microsoft.com/office/drawing/2014/main" id="{1F16EC65-C10A-89C9-DDCA-29386323B70E}"/>
                  </a:ext>
                </a:extLst>
              </p:cNvPr>
              <p:cNvSpPr/>
              <p:nvPr/>
            </p:nvSpPr>
            <p:spPr>
              <a:xfrm>
                <a:off x="13494807" y="2755396"/>
                <a:ext cx="59300" cy="79977"/>
              </a:xfrm>
              <a:custGeom>
                <a:avLst/>
                <a:gdLst>
                  <a:gd name="connsiteX0" fmla="*/ 54516 w 59300"/>
                  <a:gd name="connsiteY0" fmla="*/ 79978 h 79977"/>
                  <a:gd name="connsiteX1" fmla="*/ 50617 w 59300"/>
                  <a:gd name="connsiteY1" fmla="*/ 77979 h 79977"/>
                  <a:gd name="connsiteX2" fmla="*/ 886 w 59300"/>
                  <a:gd name="connsiteY2" fmla="*/ 7549 h 79977"/>
                  <a:gd name="connsiteX3" fmla="*/ 2027 w 59300"/>
                  <a:gd name="connsiteY3" fmla="*/ 887 h 79977"/>
                  <a:gd name="connsiteX4" fmla="*/ 8683 w 59300"/>
                  <a:gd name="connsiteY4" fmla="*/ 2029 h 79977"/>
                  <a:gd name="connsiteX5" fmla="*/ 58415 w 59300"/>
                  <a:gd name="connsiteY5" fmla="*/ 72459 h 79977"/>
                  <a:gd name="connsiteX6" fmla="*/ 57273 w 59300"/>
                  <a:gd name="connsiteY6" fmla="*/ 79121 h 79977"/>
                  <a:gd name="connsiteX7" fmla="*/ 54516 w 59300"/>
                  <a:gd name="connsiteY7" fmla="*/ 79978 h 7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0" h="79977">
                    <a:moveTo>
                      <a:pt x="54516" y="79978"/>
                    </a:moveTo>
                    <a:cubicBezTo>
                      <a:pt x="52995" y="79978"/>
                      <a:pt x="51568" y="79311"/>
                      <a:pt x="50617" y="77979"/>
                    </a:cubicBezTo>
                    <a:lnTo>
                      <a:pt x="886" y="7549"/>
                    </a:lnTo>
                    <a:cubicBezTo>
                      <a:pt x="-636" y="5360"/>
                      <a:pt x="-160" y="2409"/>
                      <a:pt x="2027" y="887"/>
                    </a:cubicBezTo>
                    <a:cubicBezTo>
                      <a:pt x="4119" y="-636"/>
                      <a:pt x="7162" y="-160"/>
                      <a:pt x="8683" y="2029"/>
                    </a:cubicBezTo>
                    <a:lnTo>
                      <a:pt x="58415" y="72459"/>
                    </a:lnTo>
                    <a:cubicBezTo>
                      <a:pt x="59936" y="74648"/>
                      <a:pt x="59461" y="77598"/>
                      <a:pt x="57273" y="79121"/>
                    </a:cubicBezTo>
                    <a:cubicBezTo>
                      <a:pt x="56418" y="79692"/>
                      <a:pt x="55467" y="79978"/>
                      <a:pt x="54516" y="79978"/>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Freeform 92">
                <a:extLst>
                  <a:ext uri="{FF2B5EF4-FFF2-40B4-BE49-F238E27FC236}">
                    <a16:creationId xmlns:a16="http://schemas.microsoft.com/office/drawing/2014/main" id="{C9C12200-4BCB-51DE-4AA8-B176E7D00D52}"/>
                  </a:ext>
                </a:extLst>
              </p:cNvPr>
              <p:cNvSpPr/>
              <p:nvPr/>
            </p:nvSpPr>
            <p:spPr>
              <a:xfrm>
                <a:off x="13321366" y="2773256"/>
                <a:ext cx="219904" cy="168048"/>
              </a:xfrm>
              <a:custGeom>
                <a:avLst/>
                <a:gdLst>
                  <a:gd name="connsiteX0" fmla="*/ 4784 w 219904"/>
                  <a:gd name="connsiteY0" fmla="*/ 168048 h 168048"/>
                  <a:gd name="connsiteX1" fmla="*/ 790 w 219904"/>
                  <a:gd name="connsiteY1" fmla="*/ 165954 h 168048"/>
                  <a:gd name="connsiteX2" fmla="*/ 1075 w 219904"/>
                  <a:gd name="connsiteY2" fmla="*/ 160244 h 168048"/>
                  <a:gd name="connsiteX3" fmla="*/ 54420 w 219904"/>
                  <a:gd name="connsiteY3" fmla="*/ 96952 h 168048"/>
                  <a:gd name="connsiteX4" fmla="*/ 55276 w 219904"/>
                  <a:gd name="connsiteY4" fmla="*/ 96191 h 168048"/>
                  <a:gd name="connsiteX5" fmla="*/ 185357 w 219904"/>
                  <a:gd name="connsiteY5" fmla="*/ 920 h 168048"/>
                  <a:gd name="connsiteX6" fmla="*/ 192014 w 219904"/>
                  <a:gd name="connsiteY6" fmla="*/ 1967 h 168048"/>
                  <a:gd name="connsiteX7" fmla="*/ 190968 w 219904"/>
                  <a:gd name="connsiteY7" fmla="*/ 8629 h 168048"/>
                  <a:gd name="connsiteX8" fmla="*/ 61361 w 219904"/>
                  <a:gd name="connsiteY8" fmla="*/ 103614 h 168048"/>
                  <a:gd name="connsiteX9" fmla="*/ 19047 w 219904"/>
                  <a:gd name="connsiteY9" fmla="*/ 153772 h 168048"/>
                  <a:gd name="connsiteX10" fmla="*/ 82186 w 219904"/>
                  <a:gd name="connsiteY10" fmla="*/ 133499 h 168048"/>
                  <a:gd name="connsiteX11" fmla="*/ 212363 w 219904"/>
                  <a:gd name="connsiteY11" fmla="*/ 40037 h 168048"/>
                  <a:gd name="connsiteX12" fmla="*/ 219019 w 219904"/>
                  <a:gd name="connsiteY12" fmla="*/ 41084 h 168048"/>
                  <a:gd name="connsiteX13" fmla="*/ 217878 w 219904"/>
                  <a:gd name="connsiteY13" fmla="*/ 47746 h 168048"/>
                  <a:gd name="connsiteX14" fmla="*/ 87131 w 219904"/>
                  <a:gd name="connsiteY14" fmla="*/ 141589 h 168048"/>
                  <a:gd name="connsiteX15" fmla="*/ 85799 w 219904"/>
                  <a:gd name="connsiteY15" fmla="*/ 142256 h 168048"/>
                  <a:gd name="connsiteX16" fmla="*/ 6210 w 219904"/>
                  <a:gd name="connsiteY16" fmla="*/ 167858 h 168048"/>
                  <a:gd name="connsiteX17" fmla="*/ 4784 w 219904"/>
                  <a:gd name="connsiteY17" fmla="*/ 168048 h 16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904" h="168048">
                    <a:moveTo>
                      <a:pt x="4784" y="168048"/>
                    </a:moveTo>
                    <a:cubicBezTo>
                      <a:pt x="3262" y="168048"/>
                      <a:pt x="1741" y="167287"/>
                      <a:pt x="790" y="165954"/>
                    </a:cubicBezTo>
                    <a:cubicBezTo>
                      <a:pt x="-351" y="164146"/>
                      <a:pt x="-256" y="161862"/>
                      <a:pt x="1075" y="160244"/>
                    </a:cubicBezTo>
                    <a:lnTo>
                      <a:pt x="54420" y="96952"/>
                    </a:lnTo>
                    <a:cubicBezTo>
                      <a:pt x="54420" y="96952"/>
                      <a:pt x="54991" y="96381"/>
                      <a:pt x="55276" y="96191"/>
                    </a:cubicBezTo>
                    <a:lnTo>
                      <a:pt x="185357" y="920"/>
                    </a:lnTo>
                    <a:cubicBezTo>
                      <a:pt x="187449" y="-603"/>
                      <a:pt x="190492" y="-222"/>
                      <a:pt x="192014" y="1967"/>
                    </a:cubicBezTo>
                    <a:cubicBezTo>
                      <a:pt x="193535" y="4061"/>
                      <a:pt x="193155" y="7106"/>
                      <a:pt x="190968" y="8629"/>
                    </a:cubicBezTo>
                    <a:lnTo>
                      <a:pt x="61361" y="103614"/>
                    </a:lnTo>
                    <a:lnTo>
                      <a:pt x="19047" y="153772"/>
                    </a:lnTo>
                    <a:lnTo>
                      <a:pt x="82186" y="133499"/>
                    </a:lnTo>
                    <a:lnTo>
                      <a:pt x="212363" y="40037"/>
                    </a:lnTo>
                    <a:cubicBezTo>
                      <a:pt x="214455" y="38514"/>
                      <a:pt x="217497" y="38990"/>
                      <a:pt x="219019" y="41084"/>
                    </a:cubicBezTo>
                    <a:cubicBezTo>
                      <a:pt x="220540" y="43178"/>
                      <a:pt x="220065" y="46224"/>
                      <a:pt x="217878" y="47746"/>
                    </a:cubicBezTo>
                    <a:lnTo>
                      <a:pt x="87131" y="141589"/>
                    </a:lnTo>
                    <a:cubicBezTo>
                      <a:pt x="87131" y="141589"/>
                      <a:pt x="86275" y="142065"/>
                      <a:pt x="85799" y="142256"/>
                    </a:cubicBezTo>
                    <a:lnTo>
                      <a:pt x="6210" y="167858"/>
                    </a:lnTo>
                    <a:cubicBezTo>
                      <a:pt x="5735" y="168048"/>
                      <a:pt x="5259" y="168048"/>
                      <a:pt x="4784" y="168048"/>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93">
                <a:extLst>
                  <a:ext uri="{FF2B5EF4-FFF2-40B4-BE49-F238E27FC236}">
                    <a16:creationId xmlns:a16="http://schemas.microsoft.com/office/drawing/2014/main" id="{00A139D6-ED08-9DA6-F36F-DC5DABB63EB0}"/>
                  </a:ext>
                </a:extLst>
              </p:cNvPr>
              <p:cNvSpPr/>
              <p:nvPr/>
            </p:nvSpPr>
            <p:spPr>
              <a:xfrm>
                <a:off x="13501870" y="2717643"/>
                <a:ext cx="117296" cy="106405"/>
              </a:xfrm>
              <a:custGeom>
                <a:avLst/>
                <a:gdLst>
                  <a:gd name="connsiteX0" fmla="*/ 40321 w 117296"/>
                  <a:gd name="connsiteY0" fmla="*/ 106310 h 106405"/>
                  <a:gd name="connsiteX1" fmla="*/ 36423 w 117296"/>
                  <a:gd name="connsiteY1" fmla="*/ 104311 h 106405"/>
                  <a:gd name="connsiteX2" fmla="*/ 37564 w 117296"/>
                  <a:gd name="connsiteY2" fmla="*/ 97649 h 106405"/>
                  <a:gd name="connsiteX3" fmla="*/ 103175 w 117296"/>
                  <a:gd name="connsiteY3" fmla="*/ 50823 h 106405"/>
                  <a:gd name="connsiteX4" fmla="*/ 103936 w 117296"/>
                  <a:gd name="connsiteY4" fmla="*/ 16940 h 106405"/>
                  <a:gd name="connsiteX5" fmla="*/ 73412 w 117296"/>
                  <a:gd name="connsiteY5" fmla="*/ 10087 h 106405"/>
                  <a:gd name="connsiteX6" fmla="*/ 7516 w 117296"/>
                  <a:gd name="connsiteY6" fmla="*/ 56438 h 106405"/>
                  <a:gd name="connsiteX7" fmla="*/ 860 w 117296"/>
                  <a:gd name="connsiteY7" fmla="*/ 55296 h 106405"/>
                  <a:gd name="connsiteX8" fmla="*/ 2001 w 117296"/>
                  <a:gd name="connsiteY8" fmla="*/ 48634 h 106405"/>
                  <a:gd name="connsiteX9" fmla="*/ 68753 w 117296"/>
                  <a:gd name="connsiteY9" fmla="*/ 1712 h 106405"/>
                  <a:gd name="connsiteX10" fmla="*/ 70560 w 117296"/>
                  <a:gd name="connsiteY10" fmla="*/ 951 h 106405"/>
                  <a:gd name="connsiteX11" fmla="*/ 111162 w 117296"/>
                  <a:gd name="connsiteY11" fmla="*/ 10944 h 106405"/>
                  <a:gd name="connsiteX12" fmla="*/ 111448 w 117296"/>
                  <a:gd name="connsiteY12" fmla="*/ 55772 h 106405"/>
                  <a:gd name="connsiteX13" fmla="*/ 109736 w 117296"/>
                  <a:gd name="connsiteY13" fmla="*/ 57866 h 106405"/>
                  <a:gd name="connsiteX14" fmla="*/ 42984 w 117296"/>
                  <a:gd name="connsiteY14" fmla="*/ 105549 h 106405"/>
                  <a:gd name="connsiteX15" fmla="*/ 40226 w 117296"/>
                  <a:gd name="connsiteY15" fmla="*/ 106405 h 10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296" h="106405">
                    <a:moveTo>
                      <a:pt x="40321" y="106310"/>
                    </a:moveTo>
                    <a:cubicBezTo>
                      <a:pt x="38800" y="106310"/>
                      <a:pt x="37374" y="105644"/>
                      <a:pt x="36423" y="104311"/>
                    </a:cubicBezTo>
                    <a:cubicBezTo>
                      <a:pt x="34901" y="102217"/>
                      <a:pt x="35377" y="99172"/>
                      <a:pt x="37564" y="97649"/>
                    </a:cubicBezTo>
                    <a:lnTo>
                      <a:pt x="103175" y="50823"/>
                    </a:lnTo>
                    <a:cubicBezTo>
                      <a:pt x="107454" y="39592"/>
                      <a:pt x="110687" y="25030"/>
                      <a:pt x="103936" y="16940"/>
                    </a:cubicBezTo>
                    <a:cubicBezTo>
                      <a:pt x="96804" y="8279"/>
                      <a:pt x="80354" y="8945"/>
                      <a:pt x="73412" y="10087"/>
                    </a:cubicBezTo>
                    <a:lnTo>
                      <a:pt x="7516" y="56438"/>
                    </a:lnTo>
                    <a:cubicBezTo>
                      <a:pt x="5424" y="57961"/>
                      <a:pt x="2381" y="57390"/>
                      <a:pt x="860" y="55296"/>
                    </a:cubicBezTo>
                    <a:cubicBezTo>
                      <a:pt x="-662" y="53107"/>
                      <a:pt x="-91" y="50156"/>
                      <a:pt x="2001" y="48634"/>
                    </a:cubicBezTo>
                    <a:lnTo>
                      <a:pt x="68753" y="1712"/>
                    </a:lnTo>
                    <a:cubicBezTo>
                      <a:pt x="69323" y="1331"/>
                      <a:pt x="69894" y="1046"/>
                      <a:pt x="70560" y="951"/>
                    </a:cubicBezTo>
                    <a:cubicBezTo>
                      <a:pt x="71701" y="760"/>
                      <a:pt x="98516" y="-4284"/>
                      <a:pt x="111162" y="10944"/>
                    </a:cubicBezTo>
                    <a:cubicBezTo>
                      <a:pt x="119245" y="20652"/>
                      <a:pt x="119340" y="35690"/>
                      <a:pt x="111448" y="55772"/>
                    </a:cubicBezTo>
                    <a:cubicBezTo>
                      <a:pt x="111068" y="56628"/>
                      <a:pt x="110497" y="57390"/>
                      <a:pt x="109736" y="57866"/>
                    </a:cubicBezTo>
                    <a:lnTo>
                      <a:pt x="42984" y="105549"/>
                    </a:lnTo>
                    <a:cubicBezTo>
                      <a:pt x="42128" y="106120"/>
                      <a:pt x="41177" y="106405"/>
                      <a:pt x="40226" y="10640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94">
                <a:extLst>
                  <a:ext uri="{FF2B5EF4-FFF2-40B4-BE49-F238E27FC236}">
                    <a16:creationId xmlns:a16="http://schemas.microsoft.com/office/drawing/2014/main" id="{B3F2C511-0137-D48C-352F-5DB927AF0531}"/>
                  </a:ext>
                </a:extLst>
              </p:cNvPr>
              <p:cNvSpPr/>
              <p:nvPr/>
            </p:nvSpPr>
            <p:spPr>
              <a:xfrm>
                <a:off x="13232446" y="2950822"/>
                <a:ext cx="197873" cy="111831"/>
              </a:xfrm>
              <a:custGeom>
                <a:avLst/>
                <a:gdLst>
                  <a:gd name="connsiteX0" fmla="*/ 178999 w 197873"/>
                  <a:gd name="connsiteY0" fmla="*/ 111831 h 111831"/>
                  <a:gd name="connsiteX1" fmla="*/ 16207 w 197873"/>
                  <a:gd name="connsiteY1" fmla="*/ 111831 h 111831"/>
                  <a:gd name="connsiteX2" fmla="*/ 11452 w 197873"/>
                  <a:gd name="connsiteY2" fmla="*/ 107644 h 111831"/>
                  <a:gd name="connsiteX3" fmla="*/ 42 w 197873"/>
                  <a:gd name="connsiteY3" fmla="*/ 5330 h 111831"/>
                  <a:gd name="connsiteX4" fmla="*/ 1183 w 197873"/>
                  <a:gd name="connsiteY4" fmla="*/ 1618 h 111831"/>
                  <a:gd name="connsiteX5" fmla="*/ 4701 w 197873"/>
                  <a:gd name="connsiteY5" fmla="*/ 0 h 111831"/>
                  <a:gd name="connsiteX6" fmla="*/ 193072 w 197873"/>
                  <a:gd name="connsiteY6" fmla="*/ 0 h 111831"/>
                  <a:gd name="connsiteX7" fmla="*/ 196685 w 197873"/>
                  <a:gd name="connsiteY7" fmla="*/ 1618 h 111831"/>
                  <a:gd name="connsiteX8" fmla="*/ 197826 w 197873"/>
                  <a:gd name="connsiteY8" fmla="*/ 5425 h 111831"/>
                  <a:gd name="connsiteX9" fmla="*/ 183658 w 197873"/>
                  <a:gd name="connsiteY9" fmla="*/ 107739 h 111831"/>
                  <a:gd name="connsiteX10" fmla="*/ 178904 w 197873"/>
                  <a:gd name="connsiteY10" fmla="*/ 111831 h 111831"/>
                  <a:gd name="connsiteX11" fmla="*/ 20486 w 197873"/>
                  <a:gd name="connsiteY11" fmla="*/ 102314 h 111831"/>
                  <a:gd name="connsiteX12" fmla="*/ 174910 w 197873"/>
                  <a:gd name="connsiteY12" fmla="*/ 102314 h 111831"/>
                  <a:gd name="connsiteX13" fmla="*/ 187747 w 197873"/>
                  <a:gd name="connsiteY13" fmla="*/ 9518 h 111831"/>
                  <a:gd name="connsiteX14" fmla="*/ 10121 w 197873"/>
                  <a:gd name="connsiteY14" fmla="*/ 9518 h 111831"/>
                  <a:gd name="connsiteX15" fmla="*/ 20486 w 197873"/>
                  <a:gd name="connsiteY15" fmla="*/ 102314 h 11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873" h="111831">
                    <a:moveTo>
                      <a:pt x="178999" y="111831"/>
                    </a:moveTo>
                    <a:lnTo>
                      <a:pt x="16207" y="111831"/>
                    </a:lnTo>
                    <a:cubicBezTo>
                      <a:pt x="13830" y="111831"/>
                      <a:pt x="11738" y="110023"/>
                      <a:pt x="11452" y="107644"/>
                    </a:cubicBezTo>
                    <a:lnTo>
                      <a:pt x="42" y="5330"/>
                    </a:lnTo>
                    <a:cubicBezTo>
                      <a:pt x="-148" y="3998"/>
                      <a:pt x="327" y="2665"/>
                      <a:pt x="1183" y="1618"/>
                    </a:cubicBezTo>
                    <a:cubicBezTo>
                      <a:pt x="2038" y="571"/>
                      <a:pt x="3370" y="0"/>
                      <a:pt x="4701" y="0"/>
                    </a:cubicBezTo>
                    <a:lnTo>
                      <a:pt x="193072" y="0"/>
                    </a:lnTo>
                    <a:cubicBezTo>
                      <a:pt x="194403" y="0"/>
                      <a:pt x="195734" y="571"/>
                      <a:pt x="196685" y="1618"/>
                    </a:cubicBezTo>
                    <a:cubicBezTo>
                      <a:pt x="197636" y="2665"/>
                      <a:pt x="198017" y="3998"/>
                      <a:pt x="197826" y="5425"/>
                    </a:cubicBezTo>
                    <a:lnTo>
                      <a:pt x="183658" y="107739"/>
                    </a:lnTo>
                    <a:cubicBezTo>
                      <a:pt x="183373" y="110118"/>
                      <a:pt x="181281" y="111831"/>
                      <a:pt x="178904" y="111831"/>
                    </a:cubicBezTo>
                    <a:close/>
                    <a:moveTo>
                      <a:pt x="20486" y="102314"/>
                    </a:moveTo>
                    <a:lnTo>
                      <a:pt x="174910" y="102314"/>
                    </a:lnTo>
                    <a:lnTo>
                      <a:pt x="187747" y="9518"/>
                    </a:lnTo>
                    <a:lnTo>
                      <a:pt x="10121" y="9518"/>
                    </a:lnTo>
                    <a:lnTo>
                      <a:pt x="20486" y="102314"/>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95">
                <a:extLst>
                  <a:ext uri="{FF2B5EF4-FFF2-40B4-BE49-F238E27FC236}">
                    <a16:creationId xmlns:a16="http://schemas.microsoft.com/office/drawing/2014/main" id="{3532B262-EA3B-FFCF-07FE-4789DE6FD5C4}"/>
                  </a:ext>
                </a:extLst>
              </p:cNvPr>
              <p:cNvSpPr/>
              <p:nvPr/>
            </p:nvSpPr>
            <p:spPr>
              <a:xfrm>
                <a:off x="13301712" y="2963575"/>
                <a:ext cx="51157" cy="78900"/>
              </a:xfrm>
              <a:custGeom>
                <a:avLst/>
                <a:gdLst>
                  <a:gd name="connsiteX0" fmla="*/ 25579 w 51157"/>
                  <a:gd name="connsiteY0" fmla="*/ 78901 h 78900"/>
                  <a:gd name="connsiteX1" fmla="*/ 0 w 51157"/>
                  <a:gd name="connsiteY1" fmla="*/ 53298 h 78900"/>
                  <a:gd name="connsiteX2" fmla="*/ 1712 w 51157"/>
                  <a:gd name="connsiteY2" fmla="*/ 44162 h 78900"/>
                  <a:gd name="connsiteX3" fmla="*/ 2282 w 51157"/>
                  <a:gd name="connsiteY3" fmla="*/ 43020 h 78900"/>
                  <a:gd name="connsiteX4" fmla="*/ 21300 w 51157"/>
                  <a:gd name="connsiteY4" fmla="*/ 2760 h 78900"/>
                  <a:gd name="connsiteX5" fmla="*/ 25579 w 51157"/>
                  <a:gd name="connsiteY5" fmla="*/ 0 h 78900"/>
                  <a:gd name="connsiteX6" fmla="*/ 25579 w 51157"/>
                  <a:gd name="connsiteY6" fmla="*/ 0 h 78900"/>
                  <a:gd name="connsiteX7" fmla="*/ 29858 w 51157"/>
                  <a:gd name="connsiteY7" fmla="*/ 2760 h 78900"/>
                  <a:gd name="connsiteX8" fmla="*/ 49351 w 51157"/>
                  <a:gd name="connsiteY8" fmla="*/ 43876 h 78900"/>
                  <a:gd name="connsiteX9" fmla="*/ 49732 w 51157"/>
                  <a:gd name="connsiteY9" fmla="*/ 44828 h 78900"/>
                  <a:gd name="connsiteX10" fmla="*/ 51158 w 51157"/>
                  <a:gd name="connsiteY10" fmla="*/ 53298 h 78900"/>
                  <a:gd name="connsiteX11" fmla="*/ 25579 w 51157"/>
                  <a:gd name="connsiteY11" fmla="*/ 78901 h 78900"/>
                  <a:gd name="connsiteX12" fmla="*/ 10269 w 51157"/>
                  <a:gd name="connsiteY12" fmla="*/ 48254 h 78900"/>
                  <a:gd name="connsiteX13" fmla="*/ 9509 w 51157"/>
                  <a:gd name="connsiteY13" fmla="*/ 53203 h 78900"/>
                  <a:gd name="connsiteX14" fmla="*/ 25579 w 51157"/>
                  <a:gd name="connsiteY14" fmla="*/ 69288 h 78900"/>
                  <a:gd name="connsiteX15" fmla="*/ 41649 w 51157"/>
                  <a:gd name="connsiteY15" fmla="*/ 53203 h 78900"/>
                  <a:gd name="connsiteX16" fmla="*/ 40603 w 51157"/>
                  <a:gd name="connsiteY16" fmla="*/ 47493 h 78900"/>
                  <a:gd name="connsiteX17" fmla="*/ 40603 w 51157"/>
                  <a:gd name="connsiteY17" fmla="*/ 47302 h 78900"/>
                  <a:gd name="connsiteX18" fmla="*/ 25579 w 51157"/>
                  <a:gd name="connsiteY18" fmla="*/ 15799 h 78900"/>
                  <a:gd name="connsiteX19" fmla="*/ 10460 w 51157"/>
                  <a:gd name="connsiteY19" fmla="*/ 47778 h 78900"/>
                  <a:gd name="connsiteX20" fmla="*/ 10269 w 51157"/>
                  <a:gd name="connsiteY20" fmla="*/ 48159 h 7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157" h="78900">
                    <a:moveTo>
                      <a:pt x="25579" y="78901"/>
                    </a:moveTo>
                    <a:cubicBezTo>
                      <a:pt x="11506" y="78901"/>
                      <a:pt x="0" y="67385"/>
                      <a:pt x="0" y="53298"/>
                    </a:cubicBezTo>
                    <a:cubicBezTo>
                      <a:pt x="0" y="50253"/>
                      <a:pt x="571" y="47112"/>
                      <a:pt x="1712" y="44162"/>
                    </a:cubicBezTo>
                    <a:cubicBezTo>
                      <a:pt x="1902" y="43781"/>
                      <a:pt x="2092" y="43400"/>
                      <a:pt x="2282" y="43020"/>
                    </a:cubicBezTo>
                    <a:lnTo>
                      <a:pt x="21300" y="2760"/>
                    </a:lnTo>
                    <a:cubicBezTo>
                      <a:pt x="22061" y="1142"/>
                      <a:pt x="23772" y="0"/>
                      <a:pt x="25579" y="0"/>
                    </a:cubicBezTo>
                    <a:lnTo>
                      <a:pt x="25579" y="0"/>
                    </a:lnTo>
                    <a:cubicBezTo>
                      <a:pt x="27386" y="0"/>
                      <a:pt x="29097" y="1047"/>
                      <a:pt x="29858" y="2760"/>
                    </a:cubicBezTo>
                    <a:lnTo>
                      <a:pt x="49351" y="43876"/>
                    </a:lnTo>
                    <a:cubicBezTo>
                      <a:pt x="49351" y="43876"/>
                      <a:pt x="49636" y="44542"/>
                      <a:pt x="49732" y="44828"/>
                    </a:cubicBezTo>
                    <a:cubicBezTo>
                      <a:pt x="50682" y="47588"/>
                      <a:pt x="51158" y="50443"/>
                      <a:pt x="51158" y="53298"/>
                    </a:cubicBezTo>
                    <a:cubicBezTo>
                      <a:pt x="51158" y="67480"/>
                      <a:pt x="39652" y="78901"/>
                      <a:pt x="25579" y="78901"/>
                    </a:cubicBezTo>
                    <a:close/>
                    <a:moveTo>
                      <a:pt x="10269" y="48254"/>
                    </a:moveTo>
                    <a:cubicBezTo>
                      <a:pt x="9699" y="49872"/>
                      <a:pt x="9509" y="51585"/>
                      <a:pt x="9509" y="53203"/>
                    </a:cubicBezTo>
                    <a:cubicBezTo>
                      <a:pt x="9509" y="62055"/>
                      <a:pt x="16736" y="69288"/>
                      <a:pt x="25579" y="69288"/>
                    </a:cubicBezTo>
                    <a:cubicBezTo>
                      <a:pt x="34422" y="69288"/>
                      <a:pt x="41649" y="62055"/>
                      <a:pt x="41649" y="53203"/>
                    </a:cubicBezTo>
                    <a:cubicBezTo>
                      <a:pt x="41649" y="51300"/>
                      <a:pt x="41269" y="49396"/>
                      <a:pt x="40603" y="47493"/>
                    </a:cubicBezTo>
                    <a:lnTo>
                      <a:pt x="40603" y="47302"/>
                    </a:lnTo>
                    <a:cubicBezTo>
                      <a:pt x="40603" y="47302"/>
                      <a:pt x="25579" y="15799"/>
                      <a:pt x="25579" y="15799"/>
                    </a:cubicBezTo>
                    <a:lnTo>
                      <a:pt x="10460" y="47778"/>
                    </a:lnTo>
                    <a:cubicBezTo>
                      <a:pt x="10460" y="47778"/>
                      <a:pt x="10365" y="48064"/>
                      <a:pt x="10269" y="48159"/>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8" name="Hexagon 4">
              <a:extLst>
                <a:ext uri="{FF2B5EF4-FFF2-40B4-BE49-F238E27FC236}">
                  <a16:creationId xmlns:a16="http://schemas.microsoft.com/office/drawing/2014/main" id="{C3D0A6D7-D5D3-6AA2-562D-1871B282C5B1}"/>
                </a:ext>
              </a:extLst>
            </p:cNvPr>
            <p:cNvSpPr txBox="1"/>
            <p:nvPr/>
          </p:nvSpPr>
          <p:spPr>
            <a:xfrm>
              <a:off x="611367" y="4883575"/>
              <a:ext cx="432771" cy="1511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b" anchorCtr="0">
              <a:noAutofit/>
            </a:bodyPr>
            <a:lstStyle/>
            <a:p>
              <a:pPr marL="0" marR="0" lvl="0" indent="0" algn="ctr" defTabSz="977900" rtl="0" eaLnBrk="1" fontAlgn="auto" latinLnBrk="0" hangingPunct="1">
                <a:lnSpc>
                  <a:spcPct val="90000"/>
                </a:lnSpc>
                <a:spcBef>
                  <a:spcPct val="0"/>
                </a:spcBef>
                <a:spcAft>
                  <a:spcPct val="35000"/>
                </a:spcAft>
                <a:buClrTx/>
                <a:buSzTx/>
                <a:buFontTx/>
                <a:buNone/>
                <a:tabLst/>
                <a:defRPr/>
              </a:pPr>
              <a:r>
                <a:rPr kumimoji="0" lang="en-US" sz="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unctional Additives</a:t>
              </a:r>
            </a:p>
          </p:txBody>
        </p:sp>
      </p:grpSp>
      <p:sp>
        <p:nvSpPr>
          <p:cNvPr id="51" name="TextBox 50">
            <a:extLst>
              <a:ext uri="{FF2B5EF4-FFF2-40B4-BE49-F238E27FC236}">
                <a16:creationId xmlns:a16="http://schemas.microsoft.com/office/drawing/2014/main" id="{47DC1CEA-6BD4-C5D1-BB41-B12C52F86B53}"/>
              </a:ext>
            </a:extLst>
          </p:cNvPr>
          <p:cNvSpPr txBox="1"/>
          <p:nvPr/>
        </p:nvSpPr>
        <p:spPr>
          <a:xfrm>
            <a:off x="574693" y="1126046"/>
            <a:ext cx="3248103" cy="535531"/>
          </a:xfrm>
          <a:prstGeom prst="rect">
            <a:avLst/>
          </a:prstGeom>
          <a:no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600" b="1" dirty="0">
                <a:solidFill>
                  <a:srgbClr val="122246"/>
                </a:solidFill>
                <a:latin typeface="Arial" panose="020B0604020202020204" pitchFamily="34" charset="0"/>
                <a:cs typeface="Arial" panose="020B0604020202020204" pitchFamily="34" charset="0"/>
              </a:rPr>
              <a:t>Technology and </a:t>
            </a:r>
            <a:br>
              <a:rPr lang="en-US" sz="1600" b="1" dirty="0">
                <a:solidFill>
                  <a:srgbClr val="122246"/>
                </a:solidFill>
                <a:latin typeface="Arial" panose="020B0604020202020204" pitchFamily="34" charset="0"/>
                <a:cs typeface="Arial" panose="020B0604020202020204" pitchFamily="34" charset="0"/>
              </a:rPr>
            </a:br>
            <a:r>
              <a:rPr lang="en-US" sz="1600" b="1" dirty="0">
                <a:solidFill>
                  <a:srgbClr val="122246"/>
                </a:solidFill>
                <a:latin typeface="Arial" panose="020B0604020202020204" pitchFamily="34" charset="0"/>
                <a:cs typeface="Arial" panose="020B0604020202020204" pitchFamily="34" charset="0"/>
              </a:rPr>
              <a:t>Application Know-How</a:t>
            </a:r>
          </a:p>
        </p:txBody>
      </p:sp>
      <p:cxnSp>
        <p:nvCxnSpPr>
          <p:cNvPr id="61" name="Straight Connector 60">
            <a:extLst>
              <a:ext uri="{FF2B5EF4-FFF2-40B4-BE49-F238E27FC236}">
                <a16:creationId xmlns:a16="http://schemas.microsoft.com/office/drawing/2014/main" id="{4D3058DD-1ABA-CA73-8F96-37C98B8868EF}"/>
              </a:ext>
            </a:extLst>
          </p:cNvPr>
          <p:cNvCxnSpPr>
            <a:cxnSpLocks/>
          </p:cNvCxnSpPr>
          <p:nvPr/>
        </p:nvCxnSpPr>
        <p:spPr>
          <a:xfrm>
            <a:off x="454399" y="3654221"/>
            <a:ext cx="3368397" cy="0"/>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495EFF3-D92A-7B9D-7A2E-AFB95F05A998}"/>
              </a:ext>
            </a:extLst>
          </p:cNvPr>
          <p:cNvSpPr txBox="1"/>
          <p:nvPr/>
        </p:nvSpPr>
        <p:spPr>
          <a:xfrm>
            <a:off x="3344718" y="6404735"/>
            <a:ext cx="7524438" cy="547842"/>
          </a:xfrm>
          <a:prstGeom prst="rect">
            <a:avLst/>
          </a:prstGeom>
          <a:noFill/>
        </p:spPr>
        <p:txBody>
          <a:bodyPr wrap="square" rIns="0" rtlCol="0">
            <a:spAutoFit/>
          </a:bodyPr>
          <a:lstStyle/>
          <a:p>
            <a:pPr marL="0" marR="0" lvl="1" indent="12700" algn="l" defTabSz="914400" rtl="0" eaLnBrk="1" fontAlgn="auto" latinLnBrk="0" hangingPunct="1">
              <a:lnSpc>
                <a:spcPct val="90000"/>
              </a:lnSpc>
              <a:spcBef>
                <a:spcPts val="800"/>
              </a:spcBef>
              <a:buClrTx/>
              <a:buSzTx/>
              <a:buFontTx/>
              <a:buNone/>
              <a:defRPr/>
            </a:pPr>
            <a:r>
              <a:rPr lang="en-US" sz="800" b="1" dirty="0">
                <a:solidFill>
                  <a:schemeClr val="bg1">
                    <a:lumMod val="65000"/>
                  </a:schemeClr>
                </a:solidFill>
                <a:latin typeface="Arial" panose="020B0604020202020204" pitchFamily="34" charset="0"/>
                <a:cs typeface="Arial" panose="020B0604020202020204" pitchFamily="34" charset="0"/>
              </a:rPr>
              <a:t>* #1</a:t>
            </a:r>
            <a:r>
              <a:rPr lang="en-US" sz="800" dirty="0">
                <a:solidFill>
                  <a:schemeClr val="bg1">
                    <a:lumMod val="65000"/>
                  </a:schemeClr>
                </a:solidFill>
                <a:latin typeface="Arial" panose="020B0604020202020204" pitchFamily="34" charset="0"/>
                <a:cs typeface="Arial" panose="020B0604020202020204" pitchFamily="34" charset="0"/>
              </a:rPr>
              <a:t> in Worldwide Bentonite; Global Private Label, North America Bulk Clumping and Europe Premium Cat Litter Provider; Worldwide in Precipitated Calcium Carbonate (PCC) and North America Specialty PCC; World Largest Producer and Supplier of Green Sand Bonds; Global Refractory Laser Measurement Systems, North America Monolithic Refractories and North America Solid Core Calcium Wire; Active Waterproofing for Concrete Structures based on management estimates</a:t>
            </a:r>
          </a:p>
          <a:p>
            <a:r>
              <a:rPr lang="en-US" sz="800" dirty="0">
                <a:solidFill>
                  <a:schemeClr val="bg1">
                    <a:lumMod val="65000"/>
                  </a:schemeClr>
                </a:solidFill>
                <a:latin typeface="Arial" panose="020B0604020202020204" pitchFamily="34" charset="0"/>
                <a:cs typeface="Arial" panose="020B0604020202020204" pitchFamily="34" charset="0"/>
              </a:rPr>
              <a:t> </a:t>
            </a:r>
          </a:p>
        </p:txBody>
      </p:sp>
      <p:sp>
        <p:nvSpPr>
          <p:cNvPr id="6" name="Right Arrow 64">
            <a:extLst>
              <a:ext uri="{FF2B5EF4-FFF2-40B4-BE49-F238E27FC236}">
                <a16:creationId xmlns:a16="http://schemas.microsoft.com/office/drawing/2014/main" id="{E76B5893-F666-DB26-FC6E-37EBA3C1A554}"/>
              </a:ext>
            </a:extLst>
          </p:cNvPr>
          <p:cNvSpPr/>
          <p:nvPr/>
        </p:nvSpPr>
        <p:spPr>
          <a:xfrm>
            <a:off x="7730532" y="3308162"/>
            <a:ext cx="678163" cy="719328"/>
          </a:xfrm>
          <a:prstGeom prst="rightArrow">
            <a:avLst>
              <a:gd name="adj1" fmla="val 50000"/>
              <a:gd name="adj2" fmla="val 63124"/>
            </a:avLst>
          </a:prstGeom>
          <a:solidFill>
            <a:srgbClr val="F796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 name="Straight Connector 48">
            <a:extLst>
              <a:ext uri="{FF2B5EF4-FFF2-40B4-BE49-F238E27FC236}">
                <a16:creationId xmlns:a16="http://schemas.microsoft.com/office/drawing/2014/main" id="{8541854B-8AC1-5E18-4830-C26794A6B2B5}"/>
              </a:ext>
            </a:extLst>
          </p:cNvPr>
          <p:cNvCxnSpPr/>
          <p:nvPr/>
        </p:nvCxnSpPr>
        <p:spPr>
          <a:xfrm>
            <a:off x="3822795" y="1060952"/>
            <a:ext cx="0" cy="5169533"/>
          </a:xfrm>
          <a:prstGeom prst="line">
            <a:avLst/>
          </a:prstGeom>
          <a:ln w="41275">
            <a:solidFill>
              <a:srgbClr val="39506F"/>
            </a:solidFill>
          </a:ln>
        </p:spPr>
        <p:style>
          <a:lnRef idx="1">
            <a:schemeClr val="accent1"/>
          </a:lnRef>
          <a:fillRef idx="0">
            <a:schemeClr val="accent1"/>
          </a:fillRef>
          <a:effectRef idx="0">
            <a:schemeClr val="accent1"/>
          </a:effectRef>
          <a:fontRef idx="minor">
            <a:schemeClr val="tx1"/>
          </a:fontRef>
        </p:style>
      </p:cxnSp>
      <p:grpSp>
        <p:nvGrpSpPr>
          <p:cNvPr id="235" name="Group 234">
            <a:extLst>
              <a:ext uri="{FF2B5EF4-FFF2-40B4-BE49-F238E27FC236}">
                <a16:creationId xmlns:a16="http://schemas.microsoft.com/office/drawing/2014/main" id="{8726BB60-25BF-2AC8-5411-06204255C017}"/>
              </a:ext>
            </a:extLst>
          </p:cNvPr>
          <p:cNvGrpSpPr/>
          <p:nvPr/>
        </p:nvGrpSpPr>
        <p:grpSpPr>
          <a:xfrm>
            <a:off x="4514144" y="2551240"/>
            <a:ext cx="196317" cy="1374612"/>
            <a:chOff x="4514144" y="1836865"/>
            <a:chExt cx="196317" cy="1374612"/>
          </a:xfrm>
        </p:grpSpPr>
        <p:grpSp>
          <p:nvGrpSpPr>
            <p:cNvPr id="152" name="Graphic 78">
              <a:extLst>
                <a:ext uri="{FF2B5EF4-FFF2-40B4-BE49-F238E27FC236}">
                  <a16:creationId xmlns:a16="http://schemas.microsoft.com/office/drawing/2014/main" id="{C7916E50-FF68-9422-769D-CC0BAC558EAB}"/>
                </a:ext>
              </a:extLst>
            </p:cNvPr>
            <p:cNvGrpSpPr/>
            <p:nvPr/>
          </p:nvGrpSpPr>
          <p:grpSpPr>
            <a:xfrm>
              <a:off x="4514144" y="1836865"/>
              <a:ext cx="196317" cy="209412"/>
              <a:chOff x="12205514" y="977865"/>
              <a:chExt cx="289589" cy="342358"/>
            </a:xfrm>
            <a:solidFill>
              <a:srgbClr val="003055"/>
            </a:solidFill>
          </p:grpSpPr>
          <p:sp>
            <p:nvSpPr>
              <p:cNvPr id="153" name="Freeform 27">
                <a:extLst>
                  <a:ext uri="{FF2B5EF4-FFF2-40B4-BE49-F238E27FC236}">
                    <a16:creationId xmlns:a16="http://schemas.microsoft.com/office/drawing/2014/main" id="{D93048D1-BC27-509B-7735-673359847BF6}"/>
                  </a:ext>
                </a:extLst>
              </p:cNvPr>
              <p:cNvSpPr/>
              <p:nvPr/>
            </p:nvSpPr>
            <p:spPr>
              <a:xfrm>
                <a:off x="12206944" y="979632"/>
                <a:ext cx="153790" cy="338972"/>
              </a:xfrm>
              <a:custGeom>
                <a:avLst/>
                <a:gdLst>
                  <a:gd name="connsiteX0" fmla="*/ 150799 w 153790"/>
                  <a:gd name="connsiteY0" fmla="*/ 338973 h 338972"/>
                  <a:gd name="connsiteX1" fmla="*/ 147756 w 153790"/>
                  <a:gd name="connsiteY1" fmla="*/ 336401 h 338972"/>
                  <a:gd name="connsiteX2" fmla="*/ 111431 w 153790"/>
                  <a:gd name="connsiteY2" fmla="*/ 115231 h 338972"/>
                  <a:gd name="connsiteX3" fmla="*/ 61032 w 153790"/>
                  <a:gd name="connsiteY3" fmla="*/ 134852 h 338972"/>
                  <a:gd name="connsiteX4" fmla="*/ 59320 w 153790"/>
                  <a:gd name="connsiteY4" fmla="*/ 135043 h 338972"/>
                  <a:gd name="connsiteX5" fmla="*/ 2455 w 153790"/>
                  <a:gd name="connsiteY5" fmla="*/ 123041 h 338972"/>
                  <a:gd name="connsiteX6" fmla="*/ 78 w 153790"/>
                  <a:gd name="connsiteY6" fmla="*/ 119422 h 338972"/>
                  <a:gd name="connsiteX7" fmla="*/ 3691 w 153790"/>
                  <a:gd name="connsiteY7" fmla="*/ 117040 h 338972"/>
                  <a:gd name="connsiteX8" fmla="*/ 59701 w 153790"/>
                  <a:gd name="connsiteY8" fmla="*/ 128851 h 338972"/>
                  <a:gd name="connsiteX9" fmla="*/ 109624 w 153790"/>
                  <a:gd name="connsiteY9" fmla="*/ 109420 h 338972"/>
                  <a:gd name="connsiteX10" fmla="*/ 58179 w 153790"/>
                  <a:gd name="connsiteY10" fmla="*/ 4455 h 338972"/>
                  <a:gd name="connsiteX11" fmla="*/ 58940 w 153790"/>
                  <a:gd name="connsiteY11" fmla="*/ 740 h 338972"/>
                  <a:gd name="connsiteX12" fmla="*/ 62744 w 153790"/>
                  <a:gd name="connsiteY12" fmla="*/ 550 h 338972"/>
                  <a:gd name="connsiteX13" fmla="*/ 145093 w 153790"/>
                  <a:gd name="connsiteY13" fmla="*/ 59033 h 338972"/>
                  <a:gd name="connsiteX14" fmla="*/ 145949 w 153790"/>
                  <a:gd name="connsiteY14" fmla="*/ 63129 h 338972"/>
                  <a:gd name="connsiteX15" fmla="*/ 117041 w 153790"/>
                  <a:gd name="connsiteY15" fmla="*/ 111611 h 338972"/>
                  <a:gd name="connsiteX16" fmla="*/ 153747 w 153790"/>
                  <a:gd name="connsiteY16" fmla="*/ 335449 h 338972"/>
                  <a:gd name="connsiteX17" fmla="*/ 151179 w 153790"/>
                  <a:gd name="connsiteY17" fmla="*/ 338973 h 338972"/>
                  <a:gd name="connsiteX18" fmla="*/ 150704 w 153790"/>
                  <a:gd name="connsiteY18" fmla="*/ 338973 h 338972"/>
                  <a:gd name="connsiteX19" fmla="*/ 69115 w 153790"/>
                  <a:gd name="connsiteY19" fmla="*/ 12456 h 338972"/>
                  <a:gd name="connsiteX20" fmla="*/ 114188 w 153790"/>
                  <a:gd name="connsiteY20" fmla="*/ 104467 h 338972"/>
                  <a:gd name="connsiteX21" fmla="*/ 139293 w 153790"/>
                  <a:gd name="connsiteY21" fmla="*/ 62272 h 338972"/>
                  <a:gd name="connsiteX22" fmla="*/ 69115 w 153790"/>
                  <a:gd name="connsiteY22" fmla="*/ 12456 h 3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790" h="338972">
                    <a:moveTo>
                      <a:pt x="150799" y="338973"/>
                    </a:moveTo>
                    <a:cubicBezTo>
                      <a:pt x="149277" y="338973"/>
                      <a:pt x="148041" y="337925"/>
                      <a:pt x="147756" y="336401"/>
                    </a:cubicBezTo>
                    <a:lnTo>
                      <a:pt x="111431" y="115231"/>
                    </a:lnTo>
                    <a:lnTo>
                      <a:pt x="61032" y="134852"/>
                    </a:lnTo>
                    <a:cubicBezTo>
                      <a:pt x="60461" y="135043"/>
                      <a:pt x="59891" y="135138"/>
                      <a:pt x="59320" y="135043"/>
                    </a:cubicBezTo>
                    <a:lnTo>
                      <a:pt x="2455" y="123041"/>
                    </a:lnTo>
                    <a:cubicBezTo>
                      <a:pt x="744" y="122660"/>
                      <a:pt x="-302" y="121041"/>
                      <a:pt x="78" y="119422"/>
                    </a:cubicBezTo>
                    <a:cubicBezTo>
                      <a:pt x="458" y="117707"/>
                      <a:pt x="2075" y="116659"/>
                      <a:pt x="3691" y="117040"/>
                    </a:cubicBezTo>
                    <a:lnTo>
                      <a:pt x="59701" y="128851"/>
                    </a:lnTo>
                    <a:lnTo>
                      <a:pt x="109624" y="109420"/>
                    </a:lnTo>
                    <a:lnTo>
                      <a:pt x="58179" y="4455"/>
                    </a:lnTo>
                    <a:cubicBezTo>
                      <a:pt x="57514" y="3217"/>
                      <a:pt x="57894" y="1693"/>
                      <a:pt x="58940" y="740"/>
                    </a:cubicBezTo>
                    <a:cubicBezTo>
                      <a:pt x="59986" y="-212"/>
                      <a:pt x="61602" y="-212"/>
                      <a:pt x="62744" y="550"/>
                    </a:cubicBezTo>
                    <a:lnTo>
                      <a:pt x="145093" y="59033"/>
                    </a:lnTo>
                    <a:cubicBezTo>
                      <a:pt x="146425" y="59986"/>
                      <a:pt x="146805" y="61700"/>
                      <a:pt x="145949" y="63129"/>
                    </a:cubicBezTo>
                    <a:lnTo>
                      <a:pt x="117041" y="111611"/>
                    </a:lnTo>
                    <a:lnTo>
                      <a:pt x="153747" y="335449"/>
                    </a:lnTo>
                    <a:cubicBezTo>
                      <a:pt x="154032" y="337163"/>
                      <a:pt x="152891" y="338687"/>
                      <a:pt x="151179" y="338973"/>
                    </a:cubicBezTo>
                    <a:cubicBezTo>
                      <a:pt x="150989" y="338973"/>
                      <a:pt x="150799" y="338973"/>
                      <a:pt x="150704" y="338973"/>
                    </a:cubicBezTo>
                    <a:close/>
                    <a:moveTo>
                      <a:pt x="69115" y="12456"/>
                    </a:moveTo>
                    <a:lnTo>
                      <a:pt x="114188" y="104467"/>
                    </a:lnTo>
                    <a:lnTo>
                      <a:pt x="139293" y="62272"/>
                    </a:lnTo>
                    <a:lnTo>
                      <a:pt x="69115" y="12456"/>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4" name="Freeform 28">
                <a:extLst>
                  <a:ext uri="{FF2B5EF4-FFF2-40B4-BE49-F238E27FC236}">
                    <a16:creationId xmlns:a16="http://schemas.microsoft.com/office/drawing/2014/main" id="{E5CEF466-9B95-9CAF-5929-C460C039EC2A}"/>
                  </a:ext>
                </a:extLst>
              </p:cNvPr>
              <p:cNvSpPr/>
              <p:nvPr/>
            </p:nvSpPr>
            <p:spPr>
              <a:xfrm>
                <a:off x="12205514" y="977865"/>
                <a:ext cx="156659" cy="342167"/>
              </a:xfrm>
              <a:custGeom>
                <a:avLst/>
                <a:gdLst>
                  <a:gd name="connsiteX0" fmla="*/ 152217 w 156659"/>
                  <a:gd name="connsiteY0" fmla="*/ 342167 h 342167"/>
                  <a:gd name="connsiteX1" fmla="*/ 147748 w 156659"/>
                  <a:gd name="connsiteY1" fmla="*/ 338357 h 342167"/>
                  <a:gd name="connsiteX2" fmla="*/ 111708 w 156659"/>
                  <a:gd name="connsiteY2" fmla="*/ 118901 h 342167"/>
                  <a:gd name="connsiteX3" fmla="*/ 63021 w 156659"/>
                  <a:gd name="connsiteY3" fmla="*/ 137856 h 342167"/>
                  <a:gd name="connsiteX4" fmla="*/ 60453 w 156659"/>
                  <a:gd name="connsiteY4" fmla="*/ 138047 h 342167"/>
                  <a:gd name="connsiteX5" fmla="*/ 3588 w 156659"/>
                  <a:gd name="connsiteY5" fmla="*/ 126045 h 342167"/>
                  <a:gd name="connsiteX6" fmla="*/ 736 w 156659"/>
                  <a:gd name="connsiteY6" fmla="*/ 124045 h 342167"/>
                  <a:gd name="connsiteX7" fmla="*/ 70 w 156659"/>
                  <a:gd name="connsiteY7" fmla="*/ 120616 h 342167"/>
                  <a:gd name="connsiteX8" fmla="*/ 5395 w 156659"/>
                  <a:gd name="connsiteY8" fmla="*/ 117092 h 342167"/>
                  <a:gd name="connsiteX9" fmla="*/ 60929 w 156659"/>
                  <a:gd name="connsiteY9" fmla="*/ 128807 h 342167"/>
                  <a:gd name="connsiteX10" fmla="*/ 108950 w 156659"/>
                  <a:gd name="connsiteY10" fmla="*/ 110043 h 342167"/>
                  <a:gd name="connsiteX11" fmla="*/ 58266 w 156659"/>
                  <a:gd name="connsiteY11" fmla="*/ 6506 h 342167"/>
                  <a:gd name="connsiteX12" fmla="*/ 59407 w 156659"/>
                  <a:gd name="connsiteY12" fmla="*/ 1077 h 342167"/>
                  <a:gd name="connsiteX13" fmla="*/ 64923 w 156659"/>
                  <a:gd name="connsiteY13" fmla="*/ 791 h 342167"/>
                  <a:gd name="connsiteX14" fmla="*/ 147272 w 156659"/>
                  <a:gd name="connsiteY14" fmla="*/ 59275 h 342167"/>
                  <a:gd name="connsiteX15" fmla="*/ 148509 w 156659"/>
                  <a:gd name="connsiteY15" fmla="*/ 65276 h 342167"/>
                  <a:gd name="connsiteX16" fmla="*/ 119886 w 156659"/>
                  <a:gd name="connsiteY16" fmla="*/ 113377 h 342167"/>
                  <a:gd name="connsiteX17" fmla="*/ 156591 w 156659"/>
                  <a:gd name="connsiteY17" fmla="*/ 336738 h 342167"/>
                  <a:gd name="connsiteX18" fmla="*/ 155831 w 156659"/>
                  <a:gd name="connsiteY18" fmla="*/ 340072 h 342167"/>
                  <a:gd name="connsiteX19" fmla="*/ 152883 w 156659"/>
                  <a:gd name="connsiteY19" fmla="*/ 341882 h 342167"/>
                  <a:gd name="connsiteX20" fmla="*/ 152122 w 156659"/>
                  <a:gd name="connsiteY20" fmla="*/ 341882 h 342167"/>
                  <a:gd name="connsiteX21" fmla="*/ 113990 w 156659"/>
                  <a:gd name="connsiteY21" fmla="*/ 114996 h 342167"/>
                  <a:gd name="connsiteX22" fmla="*/ 114275 w 156659"/>
                  <a:gd name="connsiteY22" fmla="*/ 116711 h 342167"/>
                  <a:gd name="connsiteX23" fmla="*/ 150601 w 156659"/>
                  <a:gd name="connsiteY23" fmla="*/ 337881 h 342167"/>
                  <a:gd name="connsiteX24" fmla="*/ 152502 w 156659"/>
                  <a:gd name="connsiteY24" fmla="*/ 339215 h 342167"/>
                  <a:gd name="connsiteX25" fmla="*/ 153549 w 156659"/>
                  <a:gd name="connsiteY25" fmla="*/ 338548 h 342167"/>
                  <a:gd name="connsiteX26" fmla="*/ 153834 w 156659"/>
                  <a:gd name="connsiteY26" fmla="*/ 337310 h 342167"/>
                  <a:gd name="connsiteX27" fmla="*/ 117033 w 156659"/>
                  <a:gd name="connsiteY27" fmla="*/ 112996 h 342167"/>
                  <a:gd name="connsiteX28" fmla="*/ 117319 w 156659"/>
                  <a:gd name="connsiteY28" fmla="*/ 112520 h 342167"/>
                  <a:gd name="connsiteX29" fmla="*/ 146226 w 156659"/>
                  <a:gd name="connsiteY29" fmla="*/ 64037 h 342167"/>
                  <a:gd name="connsiteX30" fmla="*/ 145751 w 156659"/>
                  <a:gd name="connsiteY30" fmla="*/ 61847 h 342167"/>
                  <a:gd name="connsiteX31" fmla="*/ 63401 w 156659"/>
                  <a:gd name="connsiteY31" fmla="*/ 3363 h 342167"/>
                  <a:gd name="connsiteX32" fmla="*/ 61404 w 156659"/>
                  <a:gd name="connsiteY32" fmla="*/ 3363 h 342167"/>
                  <a:gd name="connsiteX33" fmla="*/ 61024 w 156659"/>
                  <a:gd name="connsiteY33" fmla="*/ 5363 h 342167"/>
                  <a:gd name="connsiteX34" fmla="*/ 113134 w 156659"/>
                  <a:gd name="connsiteY34" fmla="*/ 111758 h 342167"/>
                  <a:gd name="connsiteX35" fmla="*/ 61404 w 156659"/>
                  <a:gd name="connsiteY35" fmla="*/ 131951 h 342167"/>
                  <a:gd name="connsiteX36" fmla="*/ 61024 w 156659"/>
                  <a:gd name="connsiteY36" fmla="*/ 131951 h 342167"/>
                  <a:gd name="connsiteX37" fmla="*/ 5015 w 156659"/>
                  <a:gd name="connsiteY37" fmla="*/ 120044 h 342167"/>
                  <a:gd name="connsiteX38" fmla="*/ 3018 w 156659"/>
                  <a:gd name="connsiteY38" fmla="*/ 121283 h 342167"/>
                  <a:gd name="connsiteX39" fmla="*/ 3208 w 156659"/>
                  <a:gd name="connsiteY39" fmla="*/ 122521 h 342167"/>
                  <a:gd name="connsiteX40" fmla="*/ 4254 w 156659"/>
                  <a:gd name="connsiteY40" fmla="*/ 123188 h 342167"/>
                  <a:gd name="connsiteX41" fmla="*/ 61119 w 156659"/>
                  <a:gd name="connsiteY41" fmla="*/ 135189 h 342167"/>
                  <a:gd name="connsiteX42" fmla="*/ 62070 w 156659"/>
                  <a:gd name="connsiteY42" fmla="*/ 135189 h 342167"/>
                  <a:gd name="connsiteX43" fmla="*/ 114085 w 156659"/>
                  <a:gd name="connsiteY43" fmla="*/ 114901 h 342167"/>
                  <a:gd name="connsiteX44" fmla="*/ 115417 w 156659"/>
                  <a:gd name="connsiteY44" fmla="*/ 109281 h 342167"/>
                  <a:gd name="connsiteX45" fmla="*/ 66729 w 156659"/>
                  <a:gd name="connsiteY45" fmla="*/ 9935 h 342167"/>
                  <a:gd name="connsiteX46" fmla="*/ 142518 w 156659"/>
                  <a:gd name="connsiteY46" fmla="*/ 63752 h 342167"/>
                  <a:gd name="connsiteX47" fmla="*/ 115417 w 156659"/>
                  <a:gd name="connsiteY47" fmla="*/ 109281 h 342167"/>
                  <a:gd name="connsiteX48" fmla="*/ 74242 w 156659"/>
                  <a:gd name="connsiteY48" fmla="*/ 18698 h 342167"/>
                  <a:gd name="connsiteX49" fmla="*/ 115702 w 156659"/>
                  <a:gd name="connsiteY49" fmla="*/ 103280 h 342167"/>
                  <a:gd name="connsiteX50" fmla="*/ 138714 w 156659"/>
                  <a:gd name="connsiteY50" fmla="*/ 64514 h 342167"/>
                  <a:gd name="connsiteX51" fmla="*/ 74242 w 156659"/>
                  <a:gd name="connsiteY51" fmla="*/ 18698 h 3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659" h="342167">
                    <a:moveTo>
                      <a:pt x="152217" y="342167"/>
                    </a:moveTo>
                    <a:cubicBezTo>
                      <a:pt x="150030" y="342167"/>
                      <a:pt x="148128" y="340548"/>
                      <a:pt x="147748" y="338357"/>
                    </a:cubicBezTo>
                    <a:lnTo>
                      <a:pt x="111708" y="118901"/>
                    </a:lnTo>
                    <a:lnTo>
                      <a:pt x="63021" y="137856"/>
                    </a:lnTo>
                    <a:cubicBezTo>
                      <a:pt x="62260" y="138142"/>
                      <a:pt x="61309" y="138237"/>
                      <a:pt x="60453" y="138047"/>
                    </a:cubicBezTo>
                    <a:lnTo>
                      <a:pt x="3588" y="126045"/>
                    </a:lnTo>
                    <a:cubicBezTo>
                      <a:pt x="2447" y="125759"/>
                      <a:pt x="1401" y="125093"/>
                      <a:pt x="736" y="124045"/>
                    </a:cubicBezTo>
                    <a:cubicBezTo>
                      <a:pt x="70" y="122997"/>
                      <a:pt x="-120" y="121854"/>
                      <a:pt x="70" y="120616"/>
                    </a:cubicBezTo>
                    <a:cubicBezTo>
                      <a:pt x="545" y="118235"/>
                      <a:pt x="2922" y="116615"/>
                      <a:pt x="5395" y="117092"/>
                    </a:cubicBezTo>
                    <a:lnTo>
                      <a:pt x="60929" y="128807"/>
                    </a:lnTo>
                    <a:lnTo>
                      <a:pt x="108950" y="110043"/>
                    </a:lnTo>
                    <a:lnTo>
                      <a:pt x="58266" y="6506"/>
                    </a:lnTo>
                    <a:cubicBezTo>
                      <a:pt x="57315" y="4697"/>
                      <a:pt x="57791" y="2411"/>
                      <a:pt x="59407" y="1077"/>
                    </a:cubicBezTo>
                    <a:cubicBezTo>
                      <a:pt x="61024" y="-256"/>
                      <a:pt x="63211" y="-352"/>
                      <a:pt x="64923" y="791"/>
                    </a:cubicBezTo>
                    <a:lnTo>
                      <a:pt x="147272" y="59275"/>
                    </a:lnTo>
                    <a:cubicBezTo>
                      <a:pt x="149174" y="60608"/>
                      <a:pt x="149745" y="63275"/>
                      <a:pt x="148509" y="65276"/>
                    </a:cubicBezTo>
                    <a:lnTo>
                      <a:pt x="119886" y="113377"/>
                    </a:lnTo>
                    <a:lnTo>
                      <a:pt x="156591" y="336738"/>
                    </a:lnTo>
                    <a:cubicBezTo>
                      <a:pt x="156782" y="337881"/>
                      <a:pt x="156591" y="339119"/>
                      <a:pt x="155831" y="340072"/>
                    </a:cubicBezTo>
                    <a:cubicBezTo>
                      <a:pt x="155070" y="341024"/>
                      <a:pt x="154119" y="341691"/>
                      <a:pt x="152883" y="341882"/>
                    </a:cubicBezTo>
                    <a:cubicBezTo>
                      <a:pt x="152598" y="341882"/>
                      <a:pt x="152407" y="341882"/>
                      <a:pt x="152122" y="341882"/>
                    </a:cubicBezTo>
                    <a:close/>
                    <a:moveTo>
                      <a:pt x="113990" y="114996"/>
                    </a:moveTo>
                    <a:lnTo>
                      <a:pt x="114275" y="116711"/>
                    </a:lnTo>
                    <a:lnTo>
                      <a:pt x="150601" y="337881"/>
                    </a:lnTo>
                    <a:cubicBezTo>
                      <a:pt x="150791" y="338738"/>
                      <a:pt x="151647" y="339405"/>
                      <a:pt x="152502" y="339215"/>
                    </a:cubicBezTo>
                    <a:cubicBezTo>
                      <a:pt x="152978" y="339215"/>
                      <a:pt x="153358" y="338929"/>
                      <a:pt x="153549" y="338548"/>
                    </a:cubicBezTo>
                    <a:cubicBezTo>
                      <a:pt x="153834" y="338167"/>
                      <a:pt x="153929" y="337786"/>
                      <a:pt x="153834" y="337310"/>
                    </a:cubicBezTo>
                    <a:lnTo>
                      <a:pt x="117033" y="112996"/>
                    </a:lnTo>
                    <a:lnTo>
                      <a:pt x="117319" y="112520"/>
                    </a:lnTo>
                    <a:lnTo>
                      <a:pt x="146226" y="64037"/>
                    </a:lnTo>
                    <a:cubicBezTo>
                      <a:pt x="146702" y="63275"/>
                      <a:pt x="146417" y="62323"/>
                      <a:pt x="145751" y="61847"/>
                    </a:cubicBezTo>
                    <a:lnTo>
                      <a:pt x="63401" y="3363"/>
                    </a:lnTo>
                    <a:cubicBezTo>
                      <a:pt x="62831" y="2887"/>
                      <a:pt x="61975" y="2982"/>
                      <a:pt x="61404" y="3363"/>
                    </a:cubicBezTo>
                    <a:cubicBezTo>
                      <a:pt x="60834" y="3839"/>
                      <a:pt x="60643" y="4697"/>
                      <a:pt x="61024" y="5363"/>
                    </a:cubicBezTo>
                    <a:lnTo>
                      <a:pt x="113134" y="111758"/>
                    </a:lnTo>
                    <a:lnTo>
                      <a:pt x="61404" y="131951"/>
                    </a:lnTo>
                    <a:lnTo>
                      <a:pt x="61024" y="131951"/>
                    </a:lnTo>
                    <a:cubicBezTo>
                      <a:pt x="61024" y="131951"/>
                      <a:pt x="5015" y="120044"/>
                      <a:pt x="5015" y="120044"/>
                    </a:cubicBezTo>
                    <a:cubicBezTo>
                      <a:pt x="4159" y="119854"/>
                      <a:pt x="3208" y="120425"/>
                      <a:pt x="3018" y="121283"/>
                    </a:cubicBezTo>
                    <a:cubicBezTo>
                      <a:pt x="3018" y="121664"/>
                      <a:pt x="3018" y="122140"/>
                      <a:pt x="3208" y="122521"/>
                    </a:cubicBezTo>
                    <a:cubicBezTo>
                      <a:pt x="3493" y="122902"/>
                      <a:pt x="3779" y="123188"/>
                      <a:pt x="4254" y="123188"/>
                    </a:cubicBezTo>
                    <a:lnTo>
                      <a:pt x="61119" y="135189"/>
                    </a:lnTo>
                    <a:cubicBezTo>
                      <a:pt x="61119" y="135189"/>
                      <a:pt x="61784" y="135189"/>
                      <a:pt x="62070" y="135189"/>
                    </a:cubicBezTo>
                    <a:lnTo>
                      <a:pt x="114085" y="114901"/>
                    </a:lnTo>
                    <a:close/>
                    <a:moveTo>
                      <a:pt x="115417" y="109281"/>
                    </a:moveTo>
                    <a:lnTo>
                      <a:pt x="66729" y="9935"/>
                    </a:lnTo>
                    <a:lnTo>
                      <a:pt x="142518" y="63752"/>
                    </a:lnTo>
                    <a:lnTo>
                      <a:pt x="115417" y="109281"/>
                    </a:lnTo>
                    <a:close/>
                    <a:moveTo>
                      <a:pt x="74242" y="18698"/>
                    </a:moveTo>
                    <a:lnTo>
                      <a:pt x="115702" y="103280"/>
                    </a:lnTo>
                    <a:lnTo>
                      <a:pt x="138714" y="64514"/>
                    </a:lnTo>
                    <a:lnTo>
                      <a:pt x="74242" y="18698"/>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5" name="Freeform 30">
                <a:extLst>
                  <a:ext uri="{FF2B5EF4-FFF2-40B4-BE49-F238E27FC236}">
                    <a16:creationId xmlns:a16="http://schemas.microsoft.com/office/drawing/2014/main" id="{B7EA30C8-4632-F1F1-BED2-5DE83DE0C6C0}"/>
                  </a:ext>
                </a:extLst>
              </p:cNvPr>
              <p:cNvSpPr/>
              <p:nvPr/>
            </p:nvSpPr>
            <p:spPr>
              <a:xfrm>
                <a:off x="12392606" y="1062442"/>
                <a:ext cx="72913" cy="110621"/>
              </a:xfrm>
              <a:custGeom>
                <a:avLst/>
                <a:gdLst>
                  <a:gd name="connsiteX0" fmla="*/ 34934 w 72913"/>
                  <a:gd name="connsiteY0" fmla="*/ 110621 h 110621"/>
                  <a:gd name="connsiteX1" fmla="*/ 34934 w 72913"/>
                  <a:gd name="connsiteY1" fmla="*/ 110621 h 110621"/>
                  <a:gd name="connsiteX2" fmla="*/ 32082 w 72913"/>
                  <a:gd name="connsiteY2" fmla="*/ 108430 h 110621"/>
                  <a:gd name="connsiteX3" fmla="*/ 131 w 72913"/>
                  <a:gd name="connsiteY3" fmla="*/ 3941 h 110621"/>
                  <a:gd name="connsiteX4" fmla="*/ 2128 w 72913"/>
                  <a:gd name="connsiteY4" fmla="*/ 131 h 110621"/>
                  <a:gd name="connsiteX5" fmla="*/ 5932 w 72913"/>
                  <a:gd name="connsiteY5" fmla="*/ 2131 h 110621"/>
                  <a:gd name="connsiteX6" fmla="*/ 35220 w 72913"/>
                  <a:gd name="connsiteY6" fmla="*/ 97762 h 110621"/>
                  <a:gd name="connsiteX7" fmla="*/ 66980 w 72913"/>
                  <a:gd name="connsiteY7" fmla="*/ 9942 h 110621"/>
                  <a:gd name="connsiteX8" fmla="*/ 70879 w 72913"/>
                  <a:gd name="connsiteY8" fmla="*/ 8132 h 110621"/>
                  <a:gd name="connsiteX9" fmla="*/ 72686 w 72913"/>
                  <a:gd name="connsiteY9" fmla="*/ 12037 h 110621"/>
                  <a:gd name="connsiteX10" fmla="*/ 37787 w 72913"/>
                  <a:gd name="connsiteY10" fmla="*/ 108526 h 110621"/>
                  <a:gd name="connsiteX11" fmla="*/ 34934 w 72913"/>
                  <a:gd name="connsiteY11" fmla="*/ 110526 h 11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3" h="110621">
                    <a:moveTo>
                      <a:pt x="34934" y="110621"/>
                    </a:moveTo>
                    <a:cubicBezTo>
                      <a:pt x="34934" y="110621"/>
                      <a:pt x="34934" y="110621"/>
                      <a:pt x="34934" y="110621"/>
                    </a:cubicBezTo>
                    <a:cubicBezTo>
                      <a:pt x="33603" y="110621"/>
                      <a:pt x="32462" y="109669"/>
                      <a:pt x="32082" y="108430"/>
                    </a:cubicBezTo>
                    <a:lnTo>
                      <a:pt x="131" y="3941"/>
                    </a:lnTo>
                    <a:cubicBezTo>
                      <a:pt x="-345" y="2322"/>
                      <a:pt x="511" y="607"/>
                      <a:pt x="2128" y="131"/>
                    </a:cubicBezTo>
                    <a:cubicBezTo>
                      <a:pt x="3744" y="-345"/>
                      <a:pt x="5456" y="512"/>
                      <a:pt x="5932" y="2131"/>
                    </a:cubicBezTo>
                    <a:lnTo>
                      <a:pt x="35220" y="97762"/>
                    </a:lnTo>
                    <a:lnTo>
                      <a:pt x="66980" y="9942"/>
                    </a:lnTo>
                    <a:cubicBezTo>
                      <a:pt x="67551" y="8323"/>
                      <a:pt x="69358" y="7561"/>
                      <a:pt x="70879" y="8132"/>
                    </a:cubicBezTo>
                    <a:cubicBezTo>
                      <a:pt x="72496" y="8704"/>
                      <a:pt x="73352" y="10513"/>
                      <a:pt x="72686" y="12037"/>
                    </a:cubicBezTo>
                    <a:lnTo>
                      <a:pt x="37787" y="108526"/>
                    </a:lnTo>
                    <a:cubicBezTo>
                      <a:pt x="37312" y="109764"/>
                      <a:pt x="36171" y="110526"/>
                      <a:pt x="34934" y="11052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Freeform 62">
                <a:extLst>
                  <a:ext uri="{FF2B5EF4-FFF2-40B4-BE49-F238E27FC236}">
                    <a16:creationId xmlns:a16="http://schemas.microsoft.com/office/drawing/2014/main" id="{13723A80-111D-70BC-751A-F13BA5AD0564}"/>
                  </a:ext>
                </a:extLst>
              </p:cNvPr>
              <p:cNvSpPr/>
              <p:nvPr/>
            </p:nvSpPr>
            <p:spPr>
              <a:xfrm>
                <a:off x="12391096" y="1061025"/>
                <a:ext cx="75856" cy="113466"/>
              </a:xfrm>
              <a:custGeom>
                <a:avLst/>
                <a:gdLst>
                  <a:gd name="connsiteX0" fmla="*/ 36444 w 75856"/>
                  <a:gd name="connsiteY0" fmla="*/ 113467 h 113466"/>
                  <a:gd name="connsiteX1" fmla="*/ 36444 w 75856"/>
                  <a:gd name="connsiteY1" fmla="*/ 113467 h 113466"/>
                  <a:gd name="connsiteX2" fmla="*/ 32165 w 75856"/>
                  <a:gd name="connsiteY2" fmla="*/ 110324 h 113466"/>
                  <a:gd name="connsiteX3" fmla="*/ 214 w 75856"/>
                  <a:gd name="connsiteY3" fmla="*/ 5834 h 113466"/>
                  <a:gd name="connsiteX4" fmla="*/ 3162 w 75856"/>
                  <a:gd name="connsiteY4" fmla="*/ 215 h 113466"/>
                  <a:gd name="connsiteX5" fmla="*/ 8772 w 75856"/>
                  <a:gd name="connsiteY5" fmla="*/ 3167 h 113466"/>
                  <a:gd name="connsiteX6" fmla="*/ 36729 w 75856"/>
                  <a:gd name="connsiteY6" fmla="*/ 94703 h 113466"/>
                  <a:gd name="connsiteX7" fmla="*/ 67064 w 75856"/>
                  <a:gd name="connsiteY7" fmla="*/ 10883 h 113466"/>
                  <a:gd name="connsiteX8" fmla="*/ 72865 w 75856"/>
                  <a:gd name="connsiteY8" fmla="*/ 8216 h 113466"/>
                  <a:gd name="connsiteX9" fmla="*/ 75622 w 75856"/>
                  <a:gd name="connsiteY9" fmla="*/ 14026 h 113466"/>
                  <a:gd name="connsiteX10" fmla="*/ 40723 w 75856"/>
                  <a:gd name="connsiteY10" fmla="*/ 110514 h 113466"/>
                  <a:gd name="connsiteX11" fmla="*/ 36444 w 75856"/>
                  <a:gd name="connsiteY11" fmla="*/ 113467 h 113466"/>
                  <a:gd name="connsiteX12" fmla="*/ 4493 w 75856"/>
                  <a:gd name="connsiteY12" fmla="*/ 2786 h 113466"/>
                  <a:gd name="connsiteX13" fmla="*/ 4018 w 75856"/>
                  <a:gd name="connsiteY13" fmla="*/ 2786 h 113466"/>
                  <a:gd name="connsiteX14" fmla="*/ 2877 w 75856"/>
                  <a:gd name="connsiteY14" fmla="*/ 4882 h 113466"/>
                  <a:gd name="connsiteX15" fmla="*/ 34828 w 75856"/>
                  <a:gd name="connsiteY15" fmla="*/ 109371 h 113466"/>
                  <a:gd name="connsiteX16" fmla="*/ 36349 w 75856"/>
                  <a:gd name="connsiteY16" fmla="*/ 110514 h 113466"/>
                  <a:gd name="connsiteX17" fmla="*/ 36349 w 75856"/>
                  <a:gd name="connsiteY17" fmla="*/ 111943 h 113466"/>
                  <a:gd name="connsiteX18" fmla="*/ 36349 w 75856"/>
                  <a:gd name="connsiteY18" fmla="*/ 110514 h 113466"/>
                  <a:gd name="connsiteX19" fmla="*/ 37871 w 75856"/>
                  <a:gd name="connsiteY19" fmla="*/ 109466 h 113466"/>
                  <a:gd name="connsiteX20" fmla="*/ 72769 w 75856"/>
                  <a:gd name="connsiteY20" fmla="*/ 12978 h 113466"/>
                  <a:gd name="connsiteX21" fmla="*/ 71818 w 75856"/>
                  <a:gd name="connsiteY21" fmla="*/ 10883 h 113466"/>
                  <a:gd name="connsiteX22" fmla="*/ 69726 w 75856"/>
                  <a:gd name="connsiteY22" fmla="*/ 11835 h 113466"/>
                  <a:gd name="connsiteX23" fmla="*/ 36444 w 75856"/>
                  <a:gd name="connsiteY23" fmla="*/ 103656 h 113466"/>
                  <a:gd name="connsiteX24" fmla="*/ 5920 w 75856"/>
                  <a:gd name="connsiteY24" fmla="*/ 3929 h 113466"/>
                  <a:gd name="connsiteX25" fmla="*/ 4303 w 75856"/>
                  <a:gd name="connsiteY25" fmla="*/ 2786 h 1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856" h="113466">
                    <a:moveTo>
                      <a:pt x="36444" y="113467"/>
                    </a:moveTo>
                    <a:lnTo>
                      <a:pt x="36444" y="113467"/>
                    </a:lnTo>
                    <a:cubicBezTo>
                      <a:pt x="34447" y="113467"/>
                      <a:pt x="32831" y="112133"/>
                      <a:pt x="32165" y="110324"/>
                    </a:cubicBezTo>
                    <a:lnTo>
                      <a:pt x="214" y="5834"/>
                    </a:lnTo>
                    <a:cubicBezTo>
                      <a:pt x="-546" y="3453"/>
                      <a:pt x="785" y="881"/>
                      <a:pt x="3162" y="215"/>
                    </a:cubicBezTo>
                    <a:cubicBezTo>
                      <a:pt x="5539" y="-547"/>
                      <a:pt x="8012" y="786"/>
                      <a:pt x="8772" y="3167"/>
                    </a:cubicBezTo>
                    <a:lnTo>
                      <a:pt x="36729" y="94703"/>
                    </a:lnTo>
                    <a:lnTo>
                      <a:pt x="67064" y="10883"/>
                    </a:lnTo>
                    <a:cubicBezTo>
                      <a:pt x="67920" y="8501"/>
                      <a:pt x="70487" y="7358"/>
                      <a:pt x="72865" y="8216"/>
                    </a:cubicBezTo>
                    <a:cubicBezTo>
                      <a:pt x="75242" y="9073"/>
                      <a:pt x="76383" y="11645"/>
                      <a:pt x="75622" y="14026"/>
                    </a:cubicBezTo>
                    <a:lnTo>
                      <a:pt x="40723" y="110514"/>
                    </a:lnTo>
                    <a:cubicBezTo>
                      <a:pt x="40058" y="112324"/>
                      <a:pt x="38346" y="113467"/>
                      <a:pt x="36444" y="113467"/>
                    </a:cubicBezTo>
                    <a:close/>
                    <a:moveTo>
                      <a:pt x="4493" y="2786"/>
                    </a:moveTo>
                    <a:cubicBezTo>
                      <a:pt x="4493" y="2786"/>
                      <a:pt x="4208" y="2786"/>
                      <a:pt x="4018" y="2786"/>
                    </a:cubicBezTo>
                    <a:cubicBezTo>
                      <a:pt x="3162" y="3072"/>
                      <a:pt x="2687" y="4025"/>
                      <a:pt x="2877" y="4882"/>
                    </a:cubicBezTo>
                    <a:lnTo>
                      <a:pt x="34828" y="109371"/>
                    </a:lnTo>
                    <a:cubicBezTo>
                      <a:pt x="35018" y="110038"/>
                      <a:pt x="35684" y="110514"/>
                      <a:pt x="36349" y="110514"/>
                    </a:cubicBezTo>
                    <a:lnTo>
                      <a:pt x="36349" y="111943"/>
                    </a:lnTo>
                    <a:cubicBezTo>
                      <a:pt x="36349" y="111943"/>
                      <a:pt x="36349" y="110514"/>
                      <a:pt x="36349" y="110514"/>
                    </a:cubicBezTo>
                    <a:cubicBezTo>
                      <a:pt x="37015" y="110514"/>
                      <a:pt x="37680" y="110038"/>
                      <a:pt x="37871" y="109466"/>
                    </a:cubicBezTo>
                    <a:lnTo>
                      <a:pt x="72769" y="12978"/>
                    </a:lnTo>
                    <a:cubicBezTo>
                      <a:pt x="73055" y="12121"/>
                      <a:pt x="72674" y="11168"/>
                      <a:pt x="71818" y="10883"/>
                    </a:cubicBezTo>
                    <a:cubicBezTo>
                      <a:pt x="70963" y="10502"/>
                      <a:pt x="70012" y="10978"/>
                      <a:pt x="69726" y="11835"/>
                    </a:cubicBezTo>
                    <a:lnTo>
                      <a:pt x="36444" y="103656"/>
                    </a:lnTo>
                    <a:lnTo>
                      <a:pt x="5920" y="3929"/>
                    </a:lnTo>
                    <a:cubicBezTo>
                      <a:pt x="5730" y="3263"/>
                      <a:pt x="5064" y="2786"/>
                      <a:pt x="4303" y="278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Freeform 63">
                <a:extLst>
                  <a:ext uri="{FF2B5EF4-FFF2-40B4-BE49-F238E27FC236}">
                    <a16:creationId xmlns:a16="http://schemas.microsoft.com/office/drawing/2014/main" id="{3CB2A2CB-B2C4-7EDE-1E45-A5920BDC6FFD}"/>
                  </a:ext>
                </a:extLst>
              </p:cNvPr>
              <p:cNvSpPr/>
              <p:nvPr/>
            </p:nvSpPr>
            <p:spPr>
              <a:xfrm>
                <a:off x="12206897" y="979504"/>
                <a:ext cx="286708" cy="339196"/>
              </a:xfrm>
              <a:custGeom>
                <a:avLst/>
                <a:gdLst>
                  <a:gd name="connsiteX0" fmla="*/ 113855 w 286708"/>
                  <a:gd name="connsiteY0" fmla="*/ 339101 h 339196"/>
                  <a:gd name="connsiteX1" fmla="*/ 113855 w 286708"/>
                  <a:gd name="connsiteY1" fmla="*/ 339101 h 339196"/>
                  <a:gd name="connsiteX2" fmla="*/ 66499 w 286708"/>
                  <a:gd name="connsiteY2" fmla="*/ 339101 h 339196"/>
                  <a:gd name="connsiteX3" fmla="*/ 63551 w 286708"/>
                  <a:gd name="connsiteY3" fmla="*/ 336910 h 339196"/>
                  <a:gd name="connsiteX4" fmla="*/ 125 w 286708"/>
                  <a:gd name="connsiteY4" fmla="*/ 120979 h 339196"/>
                  <a:gd name="connsiteX5" fmla="*/ 315 w 286708"/>
                  <a:gd name="connsiteY5" fmla="*/ 118693 h 339196"/>
                  <a:gd name="connsiteX6" fmla="*/ 58226 w 286708"/>
                  <a:gd name="connsiteY6" fmla="*/ 1726 h 339196"/>
                  <a:gd name="connsiteX7" fmla="*/ 61745 w 286708"/>
                  <a:gd name="connsiteY7" fmla="*/ 106 h 339196"/>
                  <a:gd name="connsiteX8" fmla="*/ 64122 w 286708"/>
                  <a:gd name="connsiteY8" fmla="*/ 3154 h 339196"/>
                  <a:gd name="connsiteX9" fmla="*/ 63171 w 286708"/>
                  <a:gd name="connsiteY9" fmla="*/ 131742 h 339196"/>
                  <a:gd name="connsiteX10" fmla="*/ 116327 w 286708"/>
                  <a:gd name="connsiteY10" fmla="*/ 333005 h 339196"/>
                  <a:gd name="connsiteX11" fmla="*/ 231674 w 286708"/>
                  <a:gd name="connsiteY11" fmla="*/ 333005 h 339196"/>
                  <a:gd name="connsiteX12" fmla="*/ 279600 w 286708"/>
                  <a:gd name="connsiteY12" fmla="*/ 214895 h 339196"/>
                  <a:gd name="connsiteX13" fmla="*/ 220168 w 286708"/>
                  <a:gd name="connsiteY13" fmla="*/ 193654 h 339196"/>
                  <a:gd name="connsiteX14" fmla="*/ 157692 w 286708"/>
                  <a:gd name="connsiteY14" fmla="*/ 190225 h 339196"/>
                  <a:gd name="connsiteX15" fmla="*/ 155315 w 286708"/>
                  <a:gd name="connsiteY15" fmla="*/ 188892 h 339196"/>
                  <a:gd name="connsiteX16" fmla="*/ 154935 w 286708"/>
                  <a:gd name="connsiteY16" fmla="*/ 186225 h 339196"/>
                  <a:gd name="connsiteX17" fmla="*/ 185840 w 286708"/>
                  <a:gd name="connsiteY17" fmla="*/ 85260 h 339196"/>
                  <a:gd name="connsiteX18" fmla="*/ 189168 w 286708"/>
                  <a:gd name="connsiteY18" fmla="*/ 83069 h 339196"/>
                  <a:gd name="connsiteX19" fmla="*/ 256018 w 286708"/>
                  <a:gd name="connsiteY19" fmla="*/ 91070 h 339196"/>
                  <a:gd name="connsiteX20" fmla="*/ 258680 w 286708"/>
                  <a:gd name="connsiteY20" fmla="*/ 93451 h 339196"/>
                  <a:gd name="connsiteX21" fmla="*/ 286637 w 286708"/>
                  <a:gd name="connsiteY21" fmla="*/ 212419 h 339196"/>
                  <a:gd name="connsiteX22" fmla="*/ 286637 w 286708"/>
                  <a:gd name="connsiteY22" fmla="*/ 214133 h 339196"/>
                  <a:gd name="connsiteX23" fmla="*/ 286637 w 286708"/>
                  <a:gd name="connsiteY23" fmla="*/ 214324 h 339196"/>
                  <a:gd name="connsiteX24" fmla="*/ 286637 w 286708"/>
                  <a:gd name="connsiteY24" fmla="*/ 214324 h 339196"/>
                  <a:gd name="connsiteX25" fmla="*/ 236714 w 286708"/>
                  <a:gd name="connsiteY25" fmla="*/ 337291 h 339196"/>
                  <a:gd name="connsiteX26" fmla="*/ 233861 w 286708"/>
                  <a:gd name="connsiteY26" fmla="*/ 339196 h 339196"/>
                  <a:gd name="connsiteX27" fmla="*/ 114140 w 286708"/>
                  <a:gd name="connsiteY27" fmla="*/ 339196 h 339196"/>
                  <a:gd name="connsiteX28" fmla="*/ 114140 w 286708"/>
                  <a:gd name="connsiteY28" fmla="*/ 339196 h 339196"/>
                  <a:gd name="connsiteX29" fmla="*/ 68781 w 286708"/>
                  <a:gd name="connsiteY29" fmla="*/ 332910 h 339196"/>
                  <a:gd name="connsiteX30" fmla="*/ 109861 w 286708"/>
                  <a:gd name="connsiteY30" fmla="*/ 332910 h 339196"/>
                  <a:gd name="connsiteX31" fmla="*/ 56990 w 286708"/>
                  <a:gd name="connsiteY31" fmla="*/ 132790 h 339196"/>
                  <a:gd name="connsiteX32" fmla="*/ 56895 w 286708"/>
                  <a:gd name="connsiteY32" fmla="*/ 131932 h 339196"/>
                  <a:gd name="connsiteX33" fmla="*/ 57751 w 286708"/>
                  <a:gd name="connsiteY33" fmla="*/ 16394 h 339196"/>
                  <a:gd name="connsiteX34" fmla="*/ 6306 w 286708"/>
                  <a:gd name="connsiteY34" fmla="*/ 120312 h 339196"/>
                  <a:gd name="connsiteX35" fmla="*/ 68686 w 286708"/>
                  <a:gd name="connsiteY35" fmla="*/ 332910 h 339196"/>
                  <a:gd name="connsiteX36" fmla="*/ 161876 w 286708"/>
                  <a:gd name="connsiteY36" fmla="*/ 184129 h 339196"/>
                  <a:gd name="connsiteX37" fmla="*/ 220834 w 286708"/>
                  <a:gd name="connsiteY37" fmla="*/ 187368 h 339196"/>
                  <a:gd name="connsiteX38" fmla="*/ 221689 w 286708"/>
                  <a:gd name="connsiteY38" fmla="*/ 187558 h 339196"/>
                  <a:gd name="connsiteX39" fmla="*/ 279220 w 286708"/>
                  <a:gd name="connsiteY39" fmla="*/ 208132 h 339196"/>
                  <a:gd name="connsiteX40" fmla="*/ 253070 w 286708"/>
                  <a:gd name="connsiteY40" fmla="*/ 96785 h 339196"/>
                  <a:gd name="connsiteX41" fmla="*/ 190879 w 286708"/>
                  <a:gd name="connsiteY41" fmla="*/ 89356 h 339196"/>
                  <a:gd name="connsiteX42" fmla="*/ 161876 w 286708"/>
                  <a:gd name="connsiteY42" fmla="*/ 184129 h 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708" h="339196">
                    <a:moveTo>
                      <a:pt x="113855" y="339101"/>
                    </a:moveTo>
                    <a:cubicBezTo>
                      <a:pt x="113855" y="339101"/>
                      <a:pt x="113855" y="339101"/>
                      <a:pt x="113855" y="339101"/>
                    </a:cubicBezTo>
                    <a:lnTo>
                      <a:pt x="66499" y="339101"/>
                    </a:lnTo>
                    <a:cubicBezTo>
                      <a:pt x="65168" y="339101"/>
                      <a:pt x="63932" y="338244"/>
                      <a:pt x="63551" y="336910"/>
                    </a:cubicBezTo>
                    <a:lnTo>
                      <a:pt x="125" y="120979"/>
                    </a:lnTo>
                    <a:cubicBezTo>
                      <a:pt x="-65" y="120217"/>
                      <a:pt x="-65" y="119455"/>
                      <a:pt x="315" y="118693"/>
                    </a:cubicBezTo>
                    <a:lnTo>
                      <a:pt x="58226" y="1726"/>
                    </a:lnTo>
                    <a:cubicBezTo>
                      <a:pt x="58892" y="392"/>
                      <a:pt x="60318" y="-275"/>
                      <a:pt x="61745" y="106"/>
                    </a:cubicBezTo>
                    <a:cubicBezTo>
                      <a:pt x="63171" y="392"/>
                      <a:pt x="64122" y="1726"/>
                      <a:pt x="64122" y="3154"/>
                    </a:cubicBezTo>
                    <a:lnTo>
                      <a:pt x="63171" y="131742"/>
                    </a:lnTo>
                    <a:lnTo>
                      <a:pt x="116327" y="333005"/>
                    </a:lnTo>
                    <a:lnTo>
                      <a:pt x="231674" y="333005"/>
                    </a:lnTo>
                    <a:lnTo>
                      <a:pt x="279600" y="214895"/>
                    </a:lnTo>
                    <a:lnTo>
                      <a:pt x="220168" y="193654"/>
                    </a:lnTo>
                    <a:lnTo>
                      <a:pt x="157692" y="190225"/>
                    </a:lnTo>
                    <a:cubicBezTo>
                      <a:pt x="156741" y="190225"/>
                      <a:pt x="155886" y="189654"/>
                      <a:pt x="155315" y="188892"/>
                    </a:cubicBezTo>
                    <a:cubicBezTo>
                      <a:pt x="154745" y="188130"/>
                      <a:pt x="154649" y="187082"/>
                      <a:pt x="154935" y="186225"/>
                    </a:cubicBezTo>
                    <a:lnTo>
                      <a:pt x="185840" y="85260"/>
                    </a:lnTo>
                    <a:cubicBezTo>
                      <a:pt x="186315" y="83831"/>
                      <a:pt x="187646" y="82879"/>
                      <a:pt x="189168" y="83069"/>
                    </a:cubicBezTo>
                    <a:lnTo>
                      <a:pt x="256018" y="91070"/>
                    </a:lnTo>
                    <a:cubicBezTo>
                      <a:pt x="257349" y="91261"/>
                      <a:pt x="258395" y="92118"/>
                      <a:pt x="258680" y="93451"/>
                    </a:cubicBezTo>
                    <a:lnTo>
                      <a:pt x="286637" y="212419"/>
                    </a:lnTo>
                    <a:cubicBezTo>
                      <a:pt x="286732" y="212990"/>
                      <a:pt x="286732" y="213562"/>
                      <a:pt x="286637" y="214133"/>
                    </a:cubicBezTo>
                    <a:cubicBezTo>
                      <a:pt x="286637" y="214133"/>
                      <a:pt x="286637" y="214228"/>
                      <a:pt x="286637" y="214324"/>
                    </a:cubicBezTo>
                    <a:cubicBezTo>
                      <a:pt x="286637" y="214324"/>
                      <a:pt x="286637" y="214324"/>
                      <a:pt x="286637" y="214324"/>
                    </a:cubicBezTo>
                    <a:lnTo>
                      <a:pt x="236714" y="337291"/>
                    </a:lnTo>
                    <a:cubicBezTo>
                      <a:pt x="236239" y="338434"/>
                      <a:pt x="235097" y="339196"/>
                      <a:pt x="233861" y="339196"/>
                    </a:cubicBezTo>
                    <a:lnTo>
                      <a:pt x="114140" y="339196"/>
                    </a:lnTo>
                    <a:cubicBezTo>
                      <a:pt x="114140" y="339196"/>
                      <a:pt x="114140" y="339196"/>
                      <a:pt x="114140" y="339196"/>
                    </a:cubicBezTo>
                    <a:close/>
                    <a:moveTo>
                      <a:pt x="68781" y="332910"/>
                    </a:moveTo>
                    <a:lnTo>
                      <a:pt x="109861" y="332910"/>
                    </a:lnTo>
                    <a:lnTo>
                      <a:pt x="56990" y="132790"/>
                    </a:lnTo>
                    <a:cubicBezTo>
                      <a:pt x="56990" y="132790"/>
                      <a:pt x="56895" y="132218"/>
                      <a:pt x="56895" y="131932"/>
                    </a:cubicBezTo>
                    <a:lnTo>
                      <a:pt x="57751" y="16394"/>
                    </a:lnTo>
                    <a:lnTo>
                      <a:pt x="6306" y="120312"/>
                    </a:lnTo>
                    <a:lnTo>
                      <a:pt x="68686" y="332910"/>
                    </a:lnTo>
                    <a:close/>
                    <a:moveTo>
                      <a:pt x="161876" y="184129"/>
                    </a:moveTo>
                    <a:lnTo>
                      <a:pt x="220834" y="187368"/>
                    </a:lnTo>
                    <a:cubicBezTo>
                      <a:pt x="220834" y="187368"/>
                      <a:pt x="221404" y="187368"/>
                      <a:pt x="221689" y="187558"/>
                    </a:cubicBezTo>
                    <a:lnTo>
                      <a:pt x="279220" y="208132"/>
                    </a:lnTo>
                    <a:lnTo>
                      <a:pt x="253070" y="96785"/>
                    </a:lnTo>
                    <a:lnTo>
                      <a:pt x="190879" y="89356"/>
                    </a:lnTo>
                    <a:lnTo>
                      <a:pt x="161876" y="184129"/>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64">
                <a:extLst>
                  <a:ext uri="{FF2B5EF4-FFF2-40B4-BE49-F238E27FC236}">
                    <a16:creationId xmlns:a16="http://schemas.microsoft.com/office/drawing/2014/main" id="{2B040632-8283-A75B-56BE-A99AF4A25894}"/>
                  </a:ext>
                </a:extLst>
              </p:cNvPr>
              <p:cNvSpPr/>
              <p:nvPr/>
            </p:nvSpPr>
            <p:spPr>
              <a:xfrm>
                <a:off x="12205530" y="978155"/>
                <a:ext cx="289573" cy="342068"/>
              </a:xfrm>
              <a:custGeom>
                <a:avLst/>
                <a:gdLst>
                  <a:gd name="connsiteX0" fmla="*/ 235038 w 289573"/>
                  <a:gd name="connsiteY0" fmla="*/ 341878 h 342068"/>
                  <a:gd name="connsiteX1" fmla="*/ 67866 w 289573"/>
                  <a:gd name="connsiteY1" fmla="*/ 341878 h 342068"/>
                  <a:gd name="connsiteX2" fmla="*/ 63587 w 289573"/>
                  <a:gd name="connsiteY2" fmla="*/ 338640 h 342068"/>
                  <a:gd name="connsiteX3" fmla="*/ 161 w 289573"/>
                  <a:gd name="connsiteY3" fmla="*/ 122708 h 342068"/>
                  <a:gd name="connsiteX4" fmla="*/ 446 w 289573"/>
                  <a:gd name="connsiteY4" fmla="*/ 119470 h 342068"/>
                  <a:gd name="connsiteX5" fmla="*/ 58357 w 289573"/>
                  <a:gd name="connsiteY5" fmla="*/ 2503 h 342068"/>
                  <a:gd name="connsiteX6" fmla="*/ 63397 w 289573"/>
                  <a:gd name="connsiteY6" fmla="*/ 121 h 342068"/>
                  <a:gd name="connsiteX7" fmla="*/ 66915 w 289573"/>
                  <a:gd name="connsiteY7" fmla="*/ 4503 h 342068"/>
                  <a:gd name="connsiteX8" fmla="*/ 65964 w 289573"/>
                  <a:gd name="connsiteY8" fmla="*/ 132900 h 342068"/>
                  <a:gd name="connsiteX9" fmla="*/ 118835 w 289573"/>
                  <a:gd name="connsiteY9" fmla="*/ 332925 h 342068"/>
                  <a:gd name="connsiteX10" fmla="*/ 232090 w 289573"/>
                  <a:gd name="connsiteY10" fmla="*/ 332925 h 342068"/>
                  <a:gd name="connsiteX11" fmla="*/ 279065 w 289573"/>
                  <a:gd name="connsiteY11" fmla="*/ 217101 h 342068"/>
                  <a:gd name="connsiteX12" fmla="*/ 221250 w 289573"/>
                  <a:gd name="connsiteY12" fmla="*/ 196432 h 342068"/>
                  <a:gd name="connsiteX13" fmla="*/ 159059 w 289573"/>
                  <a:gd name="connsiteY13" fmla="*/ 193003 h 342068"/>
                  <a:gd name="connsiteX14" fmla="*/ 155636 w 289573"/>
                  <a:gd name="connsiteY14" fmla="*/ 191098 h 342068"/>
                  <a:gd name="connsiteX15" fmla="*/ 155065 w 289573"/>
                  <a:gd name="connsiteY15" fmla="*/ 187192 h 342068"/>
                  <a:gd name="connsiteX16" fmla="*/ 185970 w 289573"/>
                  <a:gd name="connsiteY16" fmla="*/ 86227 h 342068"/>
                  <a:gd name="connsiteX17" fmla="*/ 190820 w 289573"/>
                  <a:gd name="connsiteY17" fmla="*/ 83084 h 342068"/>
                  <a:gd name="connsiteX18" fmla="*/ 257670 w 289573"/>
                  <a:gd name="connsiteY18" fmla="*/ 91085 h 342068"/>
                  <a:gd name="connsiteX19" fmla="*/ 261473 w 289573"/>
                  <a:gd name="connsiteY19" fmla="*/ 94514 h 342068"/>
                  <a:gd name="connsiteX20" fmla="*/ 289430 w 289573"/>
                  <a:gd name="connsiteY20" fmla="*/ 213481 h 342068"/>
                  <a:gd name="connsiteX21" fmla="*/ 289430 w 289573"/>
                  <a:gd name="connsiteY21" fmla="*/ 215958 h 342068"/>
                  <a:gd name="connsiteX22" fmla="*/ 289145 w 289573"/>
                  <a:gd name="connsiteY22" fmla="*/ 216529 h 342068"/>
                  <a:gd name="connsiteX23" fmla="*/ 239412 w 289573"/>
                  <a:gd name="connsiteY23" fmla="*/ 339211 h 342068"/>
                  <a:gd name="connsiteX24" fmla="*/ 235228 w 289573"/>
                  <a:gd name="connsiteY24" fmla="*/ 342069 h 342068"/>
                  <a:gd name="connsiteX25" fmla="*/ 62350 w 289573"/>
                  <a:gd name="connsiteY25" fmla="*/ 2788 h 342068"/>
                  <a:gd name="connsiteX26" fmla="*/ 60829 w 289573"/>
                  <a:gd name="connsiteY26" fmla="*/ 3741 h 342068"/>
                  <a:gd name="connsiteX27" fmla="*/ 2918 w 289573"/>
                  <a:gd name="connsiteY27" fmla="*/ 120708 h 342068"/>
                  <a:gd name="connsiteX28" fmla="*/ 2823 w 289573"/>
                  <a:gd name="connsiteY28" fmla="*/ 121946 h 342068"/>
                  <a:gd name="connsiteX29" fmla="*/ 66154 w 289573"/>
                  <a:gd name="connsiteY29" fmla="*/ 337878 h 342068"/>
                  <a:gd name="connsiteX30" fmla="*/ 67771 w 289573"/>
                  <a:gd name="connsiteY30" fmla="*/ 339116 h 342068"/>
                  <a:gd name="connsiteX31" fmla="*/ 234943 w 289573"/>
                  <a:gd name="connsiteY31" fmla="*/ 339116 h 342068"/>
                  <a:gd name="connsiteX32" fmla="*/ 236464 w 289573"/>
                  <a:gd name="connsiteY32" fmla="*/ 338068 h 342068"/>
                  <a:gd name="connsiteX33" fmla="*/ 286388 w 289573"/>
                  <a:gd name="connsiteY33" fmla="*/ 215005 h 342068"/>
                  <a:gd name="connsiteX34" fmla="*/ 286388 w 289573"/>
                  <a:gd name="connsiteY34" fmla="*/ 214053 h 342068"/>
                  <a:gd name="connsiteX35" fmla="*/ 258431 w 289573"/>
                  <a:gd name="connsiteY35" fmla="*/ 95086 h 342068"/>
                  <a:gd name="connsiteX36" fmla="*/ 257004 w 289573"/>
                  <a:gd name="connsiteY36" fmla="*/ 93847 h 342068"/>
                  <a:gd name="connsiteX37" fmla="*/ 190154 w 289573"/>
                  <a:gd name="connsiteY37" fmla="*/ 85846 h 342068"/>
                  <a:gd name="connsiteX38" fmla="*/ 188347 w 289573"/>
                  <a:gd name="connsiteY38" fmla="*/ 86989 h 342068"/>
                  <a:gd name="connsiteX39" fmla="*/ 157443 w 289573"/>
                  <a:gd name="connsiteY39" fmla="*/ 187954 h 342068"/>
                  <a:gd name="connsiteX40" fmla="*/ 157633 w 289573"/>
                  <a:gd name="connsiteY40" fmla="*/ 189383 h 342068"/>
                  <a:gd name="connsiteX41" fmla="*/ 158869 w 289573"/>
                  <a:gd name="connsiteY41" fmla="*/ 190050 h 342068"/>
                  <a:gd name="connsiteX42" fmla="*/ 221725 w 289573"/>
                  <a:gd name="connsiteY42" fmla="*/ 193574 h 342068"/>
                  <a:gd name="connsiteX43" fmla="*/ 282584 w 289573"/>
                  <a:gd name="connsiteY43" fmla="*/ 215386 h 342068"/>
                  <a:gd name="connsiteX44" fmla="*/ 282013 w 289573"/>
                  <a:gd name="connsiteY44" fmla="*/ 216815 h 342068"/>
                  <a:gd name="connsiteX45" fmla="*/ 233707 w 289573"/>
                  <a:gd name="connsiteY45" fmla="*/ 335782 h 342068"/>
                  <a:gd name="connsiteX46" fmla="*/ 116363 w 289573"/>
                  <a:gd name="connsiteY46" fmla="*/ 335782 h 342068"/>
                  <a:gd name="connsiteX47" fmla="*/ 116078 w 289573"/>
                  <a:gd name="connsiteY47" fmla="*/ 334735 h 342068"/>
                  <a:gd name="connsiteX48" fmla="*/ 62826 w 289573"/>
                  <a:gd name="connsiteY48" fmla="*/ 133090 h 342068"/>
                  <a:gd name="connsiteX49" fmla="*/ 63777 w 289573"/>
                  <a:gd name="connsiteY49" fmla="*/ 4503 h 342068"/>
                  <a:gd name="connsiteX50" fmla="*/ 62541 w 289573"/>
                  <a:gd name="connsiteY50" fmla="*/ 2884 h 342068"/>
                  <a:gd name="connsiteX51" fmla="*/ 62160 w 289573"/>
                  <a:gd name="connsiteY51" fmla="*/ 2884 h 342068"/>
                  <a:gd name="connsiteX52" fmla="*/ 113130 w 289573"/>
                  <a:gd name="connsiteY52" fmla="*/ 335687 h 342068"/>
                  <a:gd name="connsiteX53" fmla="*/ 69102 w 289573"/>
                  <a:gd name="connsiteY53" fmla="*/ 335687 h 342068"/>
                  <a:gd name="connsiteX54" fmla="*/ 68817 w 289573"/>
                  <a:gd name="connsiteY54" fmla="*/ 334639 h 342068"/>
                  <a:gd name="connsiteX55" fmla="*/ 6246 w 289573"/>
                  <a:gd name="connsiteY55" fmla="*/ 121565 h 342068"/>
                  <a:gd name="connsiteX56" fmla="*/ 6532 w 289573"/>
                  <a:gd name="connsiteY56" fmla="*/ 121089 h 342068"/>
                  <a:gd name="connsiteX57" fmla="*/ 60734 w 289573"/>
                  <a:gd name="connsiteY57" fmla="*/ 11647 h 342068"/>
                  <a:gd name="connsiteX58" fmla="*/ 59783 w 289573"/>
                  <a:gd name="connsiteY58" fmla="*/ 133376 h 342068"/>
                  <a:gd name="connsiteX59" fmla="*/ 59783 w 289573"/>
                  <a:gd name="connsiteY59" fmla="*/ 133852 h 342068"/>
                  <a:gd name="connsiteX60" fmla="*/ 113130 w 289573"/>
                  <a:gd name="connsiteY60" fmla="*/ 335687 h 342068"/>
                  <a:gd name="connsiteX61" fmla="*/ 71194 w 289573"/>
                  <a:gd name="connsiteY61" fmla="*/ 332830 h 342068"/>
                  <a:gd name="connsiteX62" fmla="*/ 109326 w 289573"/>
                  <a:gd name="connsiteY62" fmla="*/ 332830 h 342068"/>
                  <a:gd name="connsiteX63" fmla="*/ 56930 w 289573"/>
                  <a:gd name="connsiteY63" fmla="*/ 134519 h 342068"/>
                  <a:gd name="connsiteX64" fmla="*/ 56740 w 289573"/>
                  <a:gd name="connsiteY64" fmla="*/ 133376 h 342068"/>
                  <a:gd name="connsiteX65" fmla="*/ 57596 w 289573"/>
                  <a:gd name="connsiteY65" fmla="*/ 24029 h 342068"/>
                  <a:gd name="connsiteX66" fmla="*/ 9194 w 289573"/>
                  <a:gd name="connsiteY66" fmla="*/ 121851 h 342068"/>
                  <a:gd name="connsiteX67" fmla="*/ 71099 w 289573"/>
                  <a:gd name="connsiteY67" fmla="*/ 332830 h 342068"/>
                  <a:gd name="connsiteX68" fmla="*/ 282584 w 289573"/>
                  <a:gd name="connsiteY68" fmla="*/ 211767 h 342068"/>
                  <a:gd name="connsiteX69" fmla="*/ 222581 w 289573"/>
                  <a:gd name="connsiteY69" fmla="*/ 190336 h 342068"/>
                  <a:gd name="connsiteX70" fmla="*/ 222105 w 289573"/>
                  <a:gd name="connsiteY70" fmla="*/ 190336 h 342068"/>
                  <a:gd name="connsiteX71" fmla="*/ 161341 w 289573"/>
                  <a:gd name="connsiteY71" fmla="*/ 187002 h 342068"/>
                  <a:gd name="connsiteX72" fmla="*/ 161912 w 289573"/>
                  <a:gd name="connsiteY72" fmla="*/ 185287 h 342068"/>
                  <a:gd name="connsiteX73" fmla="*/ 191296 w 289573"/>
                  <a:gd name="connsiteY73" fmla="*/ 89371 h 342068"/>
                  <a:gd name="connsiteX74" fmla="*/ 255673 w 289573"/>
                  <a:gd name="connsiteY74" fmla="*/ 97086 h 342068"/>
                  <a:gd name="connsiteX75" fmla="*/ 255863 w 289573"/>
                  <a:gd name="connsiteY75" fmla="*/ 98038 h 342068"/>
                  <a:gd name="connsiteX76" fmla="*/ 282584 w 289573"/>
                  <a:gd name="connsiteY76" fmla="*/ 211957 h 342068"/>
                  <a:gd name="connsiteX77" fmla="*/ 165145 w 289573"/>
                  <a:gd name="connsiteY77" fmla="*/ 184144 h 342068"/>
                  <a:gd name="connsiteX78" fmla="*/ 222295 w 289573"/>
                  <a:gd name="connsiteY78" fmla="*/ 187288 h 342068"/>
                  <a:gd name="connsiteX79" fmla="*/ 223532 w 289573"/>
                  <a:gd name="connsiteY79" fmla="*/ 187573 h 342068"/>
                  <a:gd name="connsiteX80" fmla="*/ 278590 w 289573"/>
                  <a:gd name="connsiteY80" fmla="*/ 207290 h 342068"/>
                  <a:gd name="connsiteX81" fmla="*/ 253295 w 289573"/>
                  <a:gd name="connsiteY81" fmla="*/ 99467 h 342068"/>
                  <a:gd name="connsiteX82" fmla="*/ 193292 w 289573"/>
                  <a:gd name="connsiteY82" fmla="*/ 92323 h 342068"/>
                  <a:gd name="connsiteX83" fmla="*/ 165145 w 289573"/>
                  <a:gd name="connsiteY83" fmla="*/ 184144 h 3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9573" h="342068">
                    <a:moveTo>
                      <a:pt x="235038" y="341878"/>
                    </a:moveTo>
                    <a:lnTo>
                      <a:pt x="67866" y="341878"/>
                    </a:lnTo>
                    <a:cubicBezTo>
                      <a:pt x="65869" y="341878"/>
                      <a:pt x="64157" y="340545"/>
                      <a:pt x="63587" y="338640"/>
                    </a:cubicBezTo>
                    <a:lnTo>
                      <a:pt x="161" y="122708"/>
                    </a:lnTo>
                    <a:cubicBezTo>
                      <a:pt x="-125" y="121565"/>
                      <a:pt x="-30" y="120422"/>
                      <a:pt x="446" y="119470"/>
                    </a:cubicBezTo>
                    <a:lnTo>
                      <a:pt x="58357" y="2503"/>
                    </a:lnTo>
                    <a:cubicBezTo>
                      <a:pt x="59308" y="598"/>
                      <a:pt x="61495" y="-355"/>
                      <a:pt x="63397" y="121"/>
                    </a:cubicBezTo>
                    <a:cubicBezTo>
                      <a:pt x="65489" y="598"/>
                      <a:pt x="66915" y="2407"/>
                      <a:pt x="66915" y="4503"/>
                    </a:cubicBezTo>
                    <a:lnTo>
                      <a:pt x="65964" y="132900"/>
                    </a:lnTo>
                    <a:lnTo>
                      <a:pt x="118835" y="332925"/>
                    </a:lnTo>
                    <a:lnTo>
                      <a:pt x="232090" y="332925"/>
                    </a:lnTo>
                    <a:lnTo>
                      <a:pt x="279065" y="217101"/>
                    </a:lnTo>
                    <a:lnTo>
                      <a:pt x="221250" y="196432"/>
                    </a:lnTo>
                    <a:lnTo>
                      <a:pt x="159059" y="193003"/>
                    </a:lnTo>
                    <a:cubicBezTo>
                      <a:pt x="157728" y="193003"/>
                      <a:pt x="156397" y="192241"/>
                      <a:pt x="155636" y="191098"/>
                    </a:cubicBezTo>
                    <a:cubicBezTo>
                      <a:pt x="154875" y="189955"/>
                      <a:pt x="154590" y="188526"/>
                      <a:pt x="155065" y="187192"/>
                    </a:cubicBezTo>
                    <a:lnTo>
                      <a:pt x="185970" y="86227"/>
                    </a:lnTo>
                    <a:cubicBezTo>
                      <a:pt x="186636" y="84132"/>
                      <a:pt x="188633" y="82798"/>
                      <a:pt x="190820" y="83084"/>
                    </a:cubicBezTo>
                    <a:lnTo>
                      <a:pt x="257670" y="91085"/>
                    </a:lnTo>
                    <a:cubicBezTo>
                      <a:pt x="259572" y="91276"/>
                      <a:pt x="261093" y="92704"/>
                      <a:pt x="261473" y="94514"/>
                    </a:cubicBezTo>
                    <a:lnTo>
                      <a:pt x="289430" y="213481"/>
                    </a:lnTo>
                    <a:cubicBezTo>
                      <a:pt x="289621" y="214243"/>
                      <a:pt x="289621" y="215101"/>
                      <a:pt x="289430" y="215958"/>
                    </a:cubicBezTo>
                    <a:lnTo>
                      <a:pt x="289145" y="216529"/>
                    </a:lnTo>
                    <a:lnTo>
                      <a:pt x="239412" y="339211"/>
                    </a:lnTo>
                    <a:cubicBezTo>
                      <a:pt x="238746" y="340926"/>
                      <a:pt x="237035" y="342069"/>
                      <a:pt x="235228" y="342069"/>
                    </a:cubicBezTo>
                    <a:close/>
                    <a:moveTo>
                      <a:pt x="62350" y="2788"/>
                    </a:moveTo>
                    <a:cubicBezTo>
                      <a:pt x="61780" y="2788"/>
                      <a:pt x="61115" y="3169"/>
                      <a:pt x="60829" y="3741"/>
                    </a:cubicBezTo>
                    <a:lnTo>
                      <a:pt x="2918" y="120708"/>
                    </a:lnTo>
                    <a:cubicBezTo>
                      <a:pt x="2918" y="120708"/>
                      <a:pt x="2728" y="121470"/>
                      <a:pt x="2823" y="121946"/>
                    </a:cubicBezTo>
                    <a:lnTo>
                      <a:pt x="66154" y="337878"/>
                    </a:lnTo>
                    <a:cubicBezTo>
                      <a:pt x="66344" y="338545"/>
                      <a:pt x="67010" y="339116"/>
                      <a:pt x="67771" y="339116"/>
                    </a:cubicBezTo>
                    <a:lnTo>
                      <a:pt x="234943" y="339116"/>
                    </a:lnTo>
                    <a:cubicBezTo>
                      <a:pt x="235608" y="339116"/>
                      <a:pt x="236179" y="338735"/>
                      <a:pt x="236464" y="338068"/>
                    </a:cubicBezTo>
                    <a:lnTo>
                      <a:pt x="286388" y="215005"/>
                    </a:lnTo>
                    <a:cubicBezTo>
                      <a:pt x="286388" y="215005"/>
                      <a:pt x="286483" y="214339"/>
                      <a:pt x="286388" y="214053"/>
                    </a:cubicBezTo>
                    <a:lnTo>
                      <a:pt x="258431" y="95086"/>
                    </a:lnTo>
                    <a:cubicBezTo>
                      <a:pt x="258240" y="94419"/>
                      <a:pt x="257670" y="93943"/>
                      <a:pt x="257004" y="93847"/>
                    </a:cubicBezTo>
                    <a:lnTo>
                      <a:pt x="190154" y="85846"/>
                    </a:lnTo>
                    <a:cubicBezTo>
                      <a:pt x="189394" y="85751"/>
                      <a:pt x="188633" y="86227"/>
                      <a:pt x="188347" y="86989"/>
                    </a:cubicBezTo>
                    <a:lnTo>
                      <a:pt x="157443" y="187954"/>
                    </a:lnTo>
                    <a:cubicBezTo>
                      <a:pt x="157252" y="188431"/>
                      <a:pt x="157443" y="189002"/>
                      <a:pt x="157633" y="189383"/>
                    </a:cubicBezTo>
                    <a:cubicBezTo>
                      <a:pt x="157918" y="189764"/>
                      <a:pt x="158394" y="190050"/>
                      <a:pt x="158869" y="190050"/>
                    </a:cubicBezTo>
                    <a:lnTo>
                      <a:pt x="221725" y="193574"/>
                    </a:lnTo>
                    <a:lnTo>
                      <a:pt x="282584" y="215386"/>
                    </a:lnTo>
                    <a:lnTo>
                      <a:pt x="282013" y="216815"/>
                    </a:lnTo>
                    <a:lnTo>
                      <a:pt x="233707" y="335782"/>
                    </a:lnTo>
                    <a:lnTo>
                      <a:pt x="116363" y="335782"/>
                    </a:lnTo>
                    <a:lnTo>
                      <a:pt x="116078" y="334735"/>
                    </a:lnTo>
                    <a:lnTo>
                      <a:pt x="62826" y="133090"/>
                    </a:lnTo>
                    <a:lnTo>
                      <a:pt x="63777" y="4503"/>
                    </a:lnTo>
                    <a:cubicBezTo>
                      <a:pt x="63777" y="3741"/>
                      <a:pt x="63301" y="3074"/>
                      <a:pt x="62541" y="2884"/>
                    </a:cubicBezTo>
                    <a:cubicBezTo>
                      <a:pt x="62446" y="2884"/>
                      <a:pt x="62256" y="2884"/>
                      <a:pt x="62160" y="2884"/>
                    </a:cubicBezTo>
                    <a:close/>
                    <a:moveTo>
                      <a:pt x="113130" y="335687"/>
                    </a:moveTo>
                    <a:lnTo>
                      <a:pt x="69102" y="335687"/>
                    </a:lnTo>
                    <a:lnTo>
                      <a:pt x="68817" y="334639"/>
                    </a:lnTo>
                    <a:lnTo>
                      <a:pt x="6246" y="121565"/>
                    </a:lnTo>
                    <a:lnTo>
                      <a:pt x="6532" y="121089"/>
                    </a:lnTo>
                    <a:lnTo>
                      <a:pt x="60734" y="11647"/>
                    </a:lnTo>
                    <a:lnTo>
                      <a:pt x="59783" y="133376"/>
                    </a:lnTo>
                    <a:cubicBezTo>
                      <a:pt x="59783" y="133376"/>
                      <a:pt x="59783" y="133662"/>
                      <a:pt x="59783" y="133852"/>
                    </a:cubicBezTo>
                    <a:lnTo>
                      <a:pt x="113130" y="335687"/>
                    </a:lnTo>
                    <a:close/>
                    <a:moveTo>
                      <a:pt x="71194" y="332830"/>
                    </a:moveTo>
                    <a:lnTo>
                      <a:pt x="109326" y="332830"/>
                    </a:lnTo>
                    <a:lnTo>
                      <a:pt x="56930" y="134519"/>
                    </a:lnTo>
                    <a:cubicBezTo>
                      <a:pt x="56930" y="134519"/>
                      <a:pt x="56740" y="133757"/>
                      <a:pt x="56740" y="133376"/>
                    </a:cubicBezTo>
                    <a:lnTo>
                      <a:pt x="57596" y="24029"/>
                    </a:lnTo>
                    <a:lnTo>
                      <a:pt x="9194" y="121851"/>
                    </a:lnTo>
                    <a:lnTo>
                      <a:pt x="71099" y="332830"/>
                    </a:lnTo>
                    <a:close/>
                    <a:moveTo>
                      <a:pt x="282584" y="211767"/>
                    </a:moveTo>
                    <a:lnTo>
                      <a:pt x="222581" y="190336"/>
                    </a:lnTo>
                    <a:cubicBezTo>
                      <a:pt x="222581" y="190336"/>
                      <a:pt x="222295" y="190336"/>
                      <a:pt x="222105" y="190336"/>
                    </a:cubicBezTo>
                    <a:lnTo>
                      <a:pt x="161341" y="187002"/>
                    </a:lnTo>
                    <a:lnTo>
                      <a:pt x="161912" y="185287"/>
                    </a:lnTo>
                    <a:lnTo>
                      <a:pt x="191296" y="89371"/>
                    </a:lnTo>
                    <a:lnTo>
                      <a:pt x="255673" y="97086"/>
                    </a:lnTo>
                    <a:lnTo>
                      <a:pt x="255863" y="98038"/>
                    </a:lnTo>
                    <a:lnTo>
                      <a:pt x="282584" y="211957"/>
                    </a:lnTo>
                    <a:close/>
                    <a:moveTo>
                      <a:pt x="165145" y="184144"/>
                    </a:moveTo>
                    <a:lnTo>
                      <a:pt x="222295" y="187288"/>
                    </a:lnTo>
                    <a:cubicBezTo>
                      <a:pt x="222295" y="187288"/>
                      <a:pt x="223151" y="187383"/>
                      <a:pt x="223532" y="187573"/>
                    </a:cubicBezTo>
                    <a:lnTo>
                      <a:pt x="278590" y="207290"/>
                    </a:lnTo>
                    <a:lnTo>
                      <a:pt x="253295" y="99467"/>
                    </a:lnTo>
                    <a:lnTo>
                      <a:pt x="193292" y="92323"/>
                    </a:lnTo>
                    <a:lnTo>
                      <a:pt x="165145" y="184144"/>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65">
                <a:extLst>
                  <a:ext uri="{FF2B5EF4-FFF2-40B4-BE49-F238E27FC236}">
                    <a16:creationId xmlns:a16="http://schemas.microsoft.com/office/drawing/2014/main" id="{77857833-C415-544F-6B16-E261C18E2C4B}"/>
                  </a:ext>
                </a:extLst>
              </p:cNvPr>
              <p:cNvSpPr/>
              <p:nvPr/>
            </p:nvSpPr>
            <p:spPr>
              <a:xfrm>
                <a:off x="12347168" y="1037979"/>
                <a:ext cx="38075" cy="280625"/>
              </a:xfrm>
              <a:custGeom>
                <a:avLst/>
                <a:gdLst>
                  <a:gd name="connsiteX0" fmla="*/ 35013 w 38075"/>
                  <a:gd name="connsiteY0" fmla="*/ 280626 h 280625"/>
                  <a:gd name="connsiteX1" fmla="*/ 31970 w 38075"/>
                  <a:gd name="connsiteY1" fmla="*/ 277864 h 280625"/>
                  <a:gd name="connsiteX2" fmla="*/ 19 w 38075"/>
                  <a:gd name="connsiteY2" fmla="*/ 3448 h 280625"/>
                  <a:gd name="connsiteX3" fmla="*/ 2682 w 38075"/>
                  <a:gd name="connsiteY3" fmla="*/ 19 h 280625"/>
                  <a:gd name="connsiteX4" fmla="*/ 6105 w 38075"/>
                  <a:gd name="connsiteY4" fmla="*/ 2686 h 280625"/>
                  <a:gd name="connsiteX5" fmla="*/ 38056 w 38075"/>
                  <a:gd name="connsiteY5" fmla="*/ 277102 h 280625"/>
                  <a:gd name="connsiteX6" fmla="*/ 35394 w 38075"/>
                  <a:gd name="connsiteY6" fmla="*/ 280531 h 280625"/>
                  <a:gd name="connsiteX7" fmla="*/ 35013 w 38075"/>
                  <a:gd name="connsiteY7" fmla="*/ 280531 h 28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75" h="280625">
                    <a:moveTo>
                      <a:pt x="35013" y="280626"/>
                    </a:moveTo>
                    <a:cubicBezTo>
                      <a:pt x="33492" y="280626"/>
                      <a:pt x="32160" y="279483"/>
                      <a:pt x="31970" y="277864"/>
                    </a:cubicBezTo>
                    <a:lnTo>
                      <a:pt x="19" y="3448"/>
                    </a:lnTo>
                    <a:cubicBezTo>
                      <a:pt x="-171" y="1734"/>
                      <a:pt x="1065" y="210"/>
                      <a:pt x="2682" y="19"/>
                    </a:cubicBezTo>
                    <a:cubicBezTo>
                      <a:pt x="4394" y="-171"/>
                      <a:pt x="5915" y="1067"/>
                      <a:pt x="6105" y="2686"/>
                    </a:cubicBezTo>
                    <a:lnTo>
                      <a:pt x="38056" y="277102"/>
                    </a:lnTo>
                    <a:cubicBezTo>
                      <a:pt x="38246" y="278816"/>
                      <a:pt x="37010" y="280340"/>
                      <a:pt x="35394" y="280531"/>
                    </a:cubicBezTo>
                    <a:cubicBezTo>
                      <a:pt x="35298" y="280531"/>
                      <a:pt x="35108" y="280531"/>
                      <a:pt x="35013" y="280531"/>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66">
                <a:extLst>
                  <a:ext uri="{FF2B5EF4-FFF2-40B4-BE49-F238E27FC236}">
                    <a16:creationId xmlns:a16="http://schemas.microsoft.com/office/drawing/2014/main" id="{1FF71B25-A04E-2953-1173-F66EF2AF8D5A}"/>
                  </a:ext>
                </a:extLst>
              </p:cNvPr>
              <p:cNvSpPr/>
              <p:nvPr/>
            </p:nvSpPr>
            <p:spPr>
              <a:xfrm>
                <a:off x="12345744" y="1036521"/>
                <a:ext cx="41019" cy="283512"/>
              </a:xfrm>
              <a:custGeom>
                <a:avLst/>
                <a:gdLst>
                  <a:gd name="connsiteX0" fmla="*/ 36438 w 41019"/>
                  <a:gd name="connsiteY0" fmla="*/ 283513 h 283512"/>
                  <a:gd name="connsiteX1" fmla="*/ 31969 w 41019"/>
                  <a:gd name="connsiteY1" fmla="*/ 279512 h 283512"/>
                  <a:gd name="connsiteX2" fmla="*/ 18 w 41019"/>
                  <a:gd name="connsiteY2" fmla="*/ 5097 h 283512"/>
                  <a:gd name="connsiteX3" fmla="*/ 969 w 41019"/>
                  <a:gd name="connsiteY3" fmla="*/ 1763 h 283512"/>
                  <a:gd name="connsiteX4" fmla="*/ 4012 w 41019"/>
                  <a:gd name="connsiteY4" fmla="*/ 49 h 283512"/>
                  <a:gd name="connsiteX5" fmla="*/ 7340 w 41019"/>
                  <a:gd name="connsiteY5" fmla="*/ 1001 h 283512"/>
                  <a:gd name="connsiteX6" fmla="*/ 9051 w 41019"/>
                  <a:gd name="connsiteY6" fmla="*/ 4049 h 283512"/>
                  <a:gd name="connsiteX7" fmla="*/ 41002 w 41019"/>
                  <a:gd name="connsiteY7" fmla="*/ 278464 h 283512"/>
                  <a:gd name="connsiteX8" fmla="*/ 40052 w 41019"/>
                  <a:gd name="connsiteY8" fmla="*/ 281798 h 283512"/>
                  <a:gd name="connsiteX9" fmla="*/ 37009 w 41019"/>
                  <a:gd name="connsiteY9" fmla="*/ 283513 h 283512"/>
                  <a:gd name="connsiteX10" fmla="*/ 36438 w 41019"/>
                  <a:gd name="connsiteY10" fmla="*/ 283513 h 283512"/>
                  <a:gd name="connsiteX11" fmla="*/ 4487 w 41019"/>
                  <a:gd name="connsiteY11" fmla="*/ 2906 h 283512"/>
                  <a:gd name="connsiteX12" fmla="*/ 4297 w 41019"/>
                  <a:gd name="connsiteY12" fmla="*/ 2906 h 283512"/>
                  <a:gd name="connsiteX13" fmla="*/ 3156 w 41019"/>
                  <a:gd name="connsiteY13" fmla="*/ 3478 h 283512"/>
                  <a:gd name="connsiteX14" fmla="*/ 2775 w 41019"/>
                  <a:gd name="connsiteY14" fmla="*/ 4716 h 283512"/>
                  <a:gd name="connsiteX15" fmla="*/ 34726 w 41019"/>
                  <a:gd name="connsiteY15" fmla="*/ 279131 h 283512"/>
                  <a:gd name="connsiteX16" fmla="*/ 36343 w 41019"/>
                  <a:gd name="connsiteY16" fmla="*/ 280560 h 283512"/>
                  <a:gd name="connsiteX17" fmla="*/ 36533 w 41019"/>
                  <a:gd name="connsiteY17" fmla="*/ 280560 h 283512"/>
                  <a:gd name="connsiteX18" fmla="*/ 37674 w 41019"/>
                  <a:gd name="connsiteY18" fmla="*/ 279893 h 283512"/>
                  <a:gd name="connsiteX19" fmla="*/ 38054 w 41019"/>
                  <a:gd name="connsiteY19" fmla="*/ 278655 h 283512"/>
                  <a:gd name="connsiteX20" fmla="*/ 6104 w 41019"/>
                  <a:gd name="connsiteY20" fmla="*/ 4240 h 283512"/>
                  <a:gd name="connsiteX21" fmla="*/ 5533 w 41019"/>
                  <a:gd name="connsiteY21" fmla="*/ 3097 h 283512"/>
                  <a:gd name="connsiteX22" fmla="*/ 4487 w 41019"/>
                  <a:gd name="connsiteY22" fmla="*/ 271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019" h="283512">
                    <a:moveTo>
                      <a:pt x="36438" y="283513"/>
                    </a:moveTo>
                    <a:cubicBezTo>
                      <a:pt x="34156" y="283513"/>
                      <a:pt x="32254" y="281798"/>
                      <a:pt x="31969" y="279512"/>
                    </a:cubicBezTo>
                    <a:lnTo>
                      <a:pt x="18" y="5097"/>
                    </a:lnTo>
                    <a:cubicBezTo>
                      <a:pt x="-77" y="3859"/>
                      <a:pt x="208" y="2716"/>
                      <a:pt x="969" y="1763"/>
                    </a:cubicBezTo>
                    <a:cubicBezTo>
                      <a:pt x="1729" y="811"/>
                      <a:pt x="2775" y="239"/>
                      <a:pt x="4012" y="49"/>
                    </a:cubicBezTo>
                    <a:cubicBezTo>
                      <a:pt x="5248" y="-142"/>
                      <a:pt x="6389" y="239"/>
                      <a:pt x="7340" y="1001"/>
                    </a:cubicBezTo>
                    <a:cubicBezTo>
                      <a:pt x="8291" y="1763"/>
                      <a:pt x="8861" y="2811"/>
                      <a:pt x="9051" y="4049"/>
                    </a:cubicBezTo>
                    <a:lnTo>
                      <a:pt x="41002" y="278464"/>
                    </a:lnTo>
                    <a:cubicBezTo>
                      <a:pt x="41097" y="279607"/>
                      <a:pt x="40812" y="280846"/>
                      <a:pt x="40052" y="281798"/>
                    </a:cubicBezTo>
                    <a:cubicBezTo>
                      <a:pt x="39291" y="282751"/>
                      <a:pt x="38245" y="283322"/>
                      <a:pt x="37009" y="283513"/>
                    </a:cubicBezTo>
                    <a:cubicBezTo>
                      <a:pt x="36818" y="283513"/>
                      <a:pt x="36628" y="283513"/>
                      <a:pt x="36438" y="283513"/>
                    </a:cubicBezTo>
                    <a:close/>
                    <a:moveTo>
                      <a:pt x="4487" y="2906"/>
                    </a:moveTo>
                    <a:cubicBezTo>
                      <a:pt x="4487" y="2906"/>
                      <a:pt x="4392" y="2906"/>
                      <a:pt x="4297" y="2906"/>
                    </a:cubicBezTo>
                    <a:cubicBezTo>
                      <a:pt x="3821" y="2906"/>
                      <a:pt x="3441" y="3192"/>
                      <a:pt x="3156" y="3478"/>
                    </a:cubicBezTo>
                    <a:cubicBezTo>
                      <a:pt x="2871" y="3859"/>
                      <a:pt x="2775" y="4240"/>
                      <a:pt x="2775" y="4716"/>
                    </a:cubicBezTo>
                    <a:lnTo>
                      <a:pt x="34726" y="279131"/>
                    </a:lnTo>
                    <a:cubicBezTo>
                      <a:pt x="34726" y="279988"/>
                      <a:pt x="35487" y="280560"/>
                      <a:pt x="36343" y="280560"/>
                    </a:cubicBezTo>
                    <a:lnTo>
                      <a:pt x="36533" y="280560"/>
                    </a:lnTo>
                    <a:cubicBezTo>
                      <a:pt x="36533" y="280560"/>
                      <a:pt x="37389" y="280274"/>
                      <a:pt x="37674" y="279893"/>
                    </a:cubicBezTo>
                    <a:cubicBezTo>
                      <a:pt x="37960" y="279512"/>
                      <a:pt x="38054" y="279131"/>
                      <a:pt x="38054" y="278655"/>
                    </a:cubicBezTo>
                    <a:lnTo>
                      <a:pt x="6104" y="4240"/>
                    </a:lnTo>
                    <a:cubicBezTo>
                      <a:pt x="6104" y="4240"/>
                      <a:pt x="5818" y="3382"/>
                      <a:pt x="5533" y="3097"/>
                    </a:cubicBezTo>
                    <a:cubicBezTo>
                      <a:pt x="5248" y="2906"/>
                      <a:pt x="4867" y="2716"/>
                      <a:pt x="4487" y="271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81">
                <a:extLst>
                  <a:ext uri="{FF2B5EF4-FFF2-40B4-BE49-F238E27FC236}">
                    <a16:creationId xmlns:a16="http://schemas.microsoft.com/office/drawing/2014/main" id="{67EA750C-CF06-B4CC-1DE5-2205A1369977}"/>
                  </a:ext>
                </a:extLst>
              </p:cNvPr>
              <p:cNvSpPr/>
              <p:nvPr/>
            </p:nvSpPr>
            <p:spPr>
              <a:xfrm>
                <a:off x="12396589" y="1167015"/>
                <a:ext cx="34136" cy="151589"/>
              </a:xfrm>
              <a:custGeom>
                <a:avLst/>
                <a:gdLst>
                  <a:gd name="connsiteX0" fmla="*/ 3090 w 34136"/>
                  <a:gd name="connsiteY0" fmla="*/ 151590 h 151589"/>
                  <a:gd name="connsiteX1" fmla="*/ 2519 w 34136"/>
                  <a:gd name="connsiteY1" fmla="*/ 151590 h 151589"/>
                  <a:gd name="connsiteX2" fmla="*/ 47 w 34136"/>
                  <a:gd name="connsiteY2" fmla="*/ 147970 h 151589"/>
                  <a:gd name="connsiteX3" fmla="*/ 28004 w 34136"/>
                  <a:gd name="connsiteY3" fmla="*/ 2523 h 151589"/>
                  <a:gd name="connsiteX4" fmla="*/ 31617 w 34136"/>
                  <a:gd name="connsiteY4" fmla="*/ 47 h 151589"/>
                  <a:gd name="connsiteX5" fmla="*/ 34090 w 34136"/>
                  <a:gd name="connsiteY5" fmla="*/ 3666 h 151589"/>
                  <a:gd name="connsiteX6" fmla="*/ 6133 w 34136"/>
                  <a:gd name="connsiteY6" fmla="*/ 149113 h 151589"/>
                  <a:gd name="connsiteX7" fmla="*/ 3090 w 34136"/>
                  <a:gd name="connsiteY7" fmla="*/ 151590 h 15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36" h="151589">
                    <a:moveTo>
                      <a:pt x="3090" y="151590"/>
                    </a:moveTo>
                    <a:cubicBezTo>
                      <a:pt x="3090" y="151590"/>
                      <a:pt x="2709" y="151590"/>
                      <a:pt x="2519" y="151590"/>
                    </a:cubicBezTo>
                    <a:cubicBezTo>
                      <a:pt x="808" y="151304"/>
                      <a:pt x="-239" y="149685"/>
                      <a:pt x="47" y="147970"/>
                    </a:cubicBezTo>
                    <a:lnTo>
                      <a:pt x="28004" y="2523"/>
                    </a:lnTo>
                    <a:cubicBezTo>
                      <a:pt x="28289" y="809"/>
                      <a:pt x="29906" y="-239"/>
                      <a:pt x="31617" y="47"/>
                    </a:cubicBezTo>
                    <a:cubicBezTo>
                      <a:pt x="33329" y="333"/>
                      <a:pt x="34375" y="1952"/>
                      <a:pt x="34090" y="3666"/>
                    </a:cubicBezTo>
                    <a:lnTo>
                      <a:pt x="6133" y="149113"/>
                    </a:lnTo>
                    <a:cubicBezTo>
                      <a:pt x="5847" y="150542"/>
                      <a:pt x="4516" y="151590"/>
                      <a:pt x="3090" y="151590"/>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Freeform 82">
                <a:extLst>
                  <a:ext uri="{FF2B5EF4-FFF2-40B4-BE49-F238E27FC236}">
                    <a16:creationId xmlns:a16="http://schemas.microsoft.com/office/drawing/2014/main" id="{611A6B8F-F65E-A093-251B-87D0522660D2}"/>
                  </a:ext>
                </a:extLst>
              </p:cNvPr>
              <p:cNvSpPr/>
              <p:nvPr/>
            </p:nvSpPr>
            <p:spPr>
              <a:xfrm>
                <a:off x="12395151" y="1165714"/>
                <a:ext cx="36968" cy="154415"/>
              </a:xfrm>
              <a:custGeom>
                <a:avLst/>
                <a:gdLst>
                  <a:gd name="connsiteX0" fmla="*/ 4527 w 36968"/>
                  <a:gd name="connsiteY0" fmla="*/ 154320 h 154415"/>
                  <a:gd name="connsiteX1" fmla="*/ 3672 w 36968"/>
                  <a:gd name="connsiteY1" fmla="*/ 154320 h 154415"/>
                  <a:gd name="connsiteX2" fmla="*/ 58 w 36968"/>
                  <a:gd name="connsiteY2" fmla="*/ 149081 h 154415"/>
                  <a:gd name="connsiteX3" fmla="*/ 28015 w 36968"/>
                  <a:gd name="connsiteY3" fmla="*/ 3635 h 154415"/>
                  <a:gd name="connsiteX4" fmla="*/ 29917 w 36968"/>
                  <a:gd name="connsiteY4" fmla="*/ 777 h 154415"/>
                  <a:gd name="connsiteX5" fmla="*/ 33340 w 36968"/>
                  <a:gd name="connsiteY5" fmla="*/ 110 h 154415"/>
                  <a:gd name="connsiteX6" fmla="*/ 36193 w 36968"/>
                  <a:gd name="connsiteY6" fmla="*/ 2015 h 154415"/>
                  <a:gd name="connsiteX7" fmla="*/ 36859 w 36968"/>
                  <a:gd name="connsiteY7" fmla="*/ 5349 h 154415"/>
                  <a:gd name="connsiteX8" fmla="*/ 8902 w 36968"/>
                  <a:gd name="connsiteY8" fmla="*/ 150796 h 154415"/>
                  <a:gd name="connsiteX9" fmla="*/ 4527 w 36968"/>
                  <a:gd name="connsiteY9" fmla="*/ 154415 h 154415"/>
                  <a:gd name="connsiteX10" fmla="*/ 32484 w 36968"/>
                  <a:gd name="connsiteY10" fmla="*/ 2682 h 154415"/>
                  <a:gd name="connsiteX11" fmla="*/ 31534 w 36968"/>
                  <a:gd name="connsiteY11" fmla="*/ 2968 h 154415"/>
                  <a:gd name="connsiteX12" fmla="*/ 30868 w 36968"/>
                  <a:gd name="connsiteY12" fmla="*/ 4016 h 154415"/>
                  <a:gd name="connsiteX13" fmla="*/ 2911 w 36968"/>
                  <a:gd name="connsiteY13" fmla="*/ 149462 h 154415"/>
                  <a:gd name="connsiteX14" fmla="*/ 4242 w 36968"/>
                  <a:gd name="connsiteY14" fmla="*/ 151367 h 154415"/>
                  <a:gd name="connsiteX15" fmla="*/ 4527 w 36968"/>
                  <a:gd name="connsiteY15" fmla="*/ 151367 h 154415"/>
                  <a:gd name="connsiteX16" fmla="*/ 6144 w 36968"/>
                  <a:gd name="connsiteY16" fmla="*/ 150034 h 154415"/>
                  <a:gd name="connsiteX17" fmla="*/ 34101 w 36968"/>
                  <a:gd name="connsiteY17" fmla="*/ 4587 h 154415"/>
                  <a:gd name="connsiteX18" fmla="*/ 33816 w 36968"/>
                  <a:gd name="connsiteY18" fmla="*/ 3349 h 154415"/>
                  <a:gd name="connsiteX19" fmla="*/ 32770 w 36968"/>
                  <a:gd name="connsiteY19" fmla="*/ 2682 h 154415"/>
                  <a:gd name="connsiteX20" fmla="*/ 32484 w 36968"/>
                  <a:gd name="connsiteY20" fmla="*/ 2682 h 1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68" h="154415">
                    <a:moveTo>
                      <a:pt x="4527" y="154320"/>
                    </a:moveTo>
                    <a:cubicBezTo>
                      <a:pt x="4527" y="154320"/>
                      <a:pt x="3957" y="154320"/>
                      <a:pt x="3672" y="154320"/>
                    </a:cubicBezTo>
                    <a:cubicBezTo>
                      <a:pt x="1199" y="153844"/>
                      <a:pt x="-322" y="151463"/>
                      <a:pt x="58" y="149081"/>
                    </a:cubicBezTo>
                    <a:lnTo>
                      <a:pt x="28015" y="3635"/>
                    </a:lnTo>
                    <a:cubicBezTo>
                      <a:pt x="28205" y="2492"/>
                      <a:pt x="28871" y="1444"/>
                      <a:pt x="29917" y="777"/>
                    </a:cubicBezTo>
                    <a:cubicBezTo>
                      <a:pt x="30963" y="110"/>
                      <a:pt x="32104" y="-175"/>
                      <a:pt x="33340" y="110"/>
                    </a:cubicBezTo>
                    <a:cubicBezTo>
                      <a:pt x="34481" y="301"/>
                      <a:pt x="35528" y="968"/>
                      <a:pt x="36193" y="2015"/>
                    </a:cubicBezTo>
                    <a:cubicBezTo>
                      <a:pt x="36859" y="2968"/>
                      <a:pt x="37144" y="4206"/>
                      <a:pt x="36859" y="5349"/>
                    </a:cubicBezTo>
                    <a:lnTo>
                      <a:pt x="8902" y="150796"/>
                    </a:lnTo>
                    <a:cubicBezTo>
                      <a:pt x="8521" y="152891"/>
                      <a:pt x="6619" y="154415"/>
                      <a:pt x="4527" y="154415"/>
                    </a:cubicBezTo>
                    <a:close/>
                    <a:moveTo>
                      <a:pt x="32484" y="2682"/>
                    </a:moveTo>
                    <a:cubicBezTo>
                      <a:pt x="32484" y="2682"/>
                      <a:pt x="31819" y="2682"/>
                      <a:pt x="31534" y="2968"/>
                    </a:cubicBezTo>
                    <a:cubicBezTo>
                      <a:pt x="31153" y="3254"/>
                      <a:pt x="30963" y="3635"/>
                      <a:pt x="30868" y="4016"/>
                    </a:cubicBezTo>
                    <a:lnTo>
                      <a:pt x="2911" y="149462"/>
                    </a:lnTo>
                    <a:cubicBezTo>
                      <a:pt x="2721" y="150320"/>
                      <a:pt x="3291" y="151272"/>
                      <a:pt x="4242" y="151367"/>
                    </a:cubicBezTo>
                    <a:lnTo>
                      <a:pt x="4527" y="151367"/>
                    </a:lnTo>
                    <a:cubicBezTo>
                      <a:pt x="5288" y="151367"/>
                      <a:pt x="5954" y="150796"/>
                      <a:pt x="6144" y="150034"/>
                    </a:cubicBezTo>
                    <a:lnTo>
                      <a:pt x="34101" y="4587"/>
                    </a:lnTo>
                    <a:cubicBezTo>
                      <a:pt x="34101" y="4587"/>
                      <a:pt x="34101" y="3730"/>
                      <a:pt x="33816" y="3349"/>
                    </a:cubicBezTo>
                    <a:cubicBezTo>
                      <a:pt x="33530" y="2968"/>
                      <a:pt x="33150" y="2777"/>
                      <a:pt x="32770" y="2682"/>
                    </a:cubicBezTo>
                    <a:cubicBezTo>
                      <a:pt x="32675" y="2682"/>
                      <a:pt x="32580" y="2682"/>
                      <a:pt x="32484" y="2682"/>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63" name="Graphic 78">
              <a:extLst>
                <a:ext uri="{FF2B5EF4-FFF2-40B4-BE49-F238E27FC236}">
                  <a16:creationId xmlns:a16="http://schemas.microsoft.com/office/drawing/2014/main" id="{2D501879-7C42-7332-69ED-AC2803D58B8F}"/>
                </a:ext>
              </a:extLst>
            </p:cNvPr>
            <p:cNvGrpSpPr/>
            <p:nvPr/>
          </p:nvGrpSpPr>
          <p:grpSpPr>
            <a:xfrm>
              <a:off x="4514144" y="2217949"/>
              <a:ext cx="196317" cy="209412"/>
              <a:chOff x="12205514" y="977865"/>
              <a:chExt cx="289589" cy="342358"/>
            </a:xfrm>
            <a:solidFill>
              <a:srgbClr val="F2F2F2"/>
            </a:solidFill>
          </p:grpSpPr>
          <p:sp>
            <p:nvSpPr>
              <p:cNvPr id="164" name="Freeform 27">
                <a:extLst>
                  <a:ext uri="{FF2B5EF4-FFF2-40B4-BE49-F238E27FC236}">
                    <a16:creationId xmlns:a16="http://schemas.microsoft.com/office/drawing/2014/main" id="{488C1B18-464B-207D-4E0D-F823FFBA44C6}"/>
                  </a:ext>
                </a:extLst>
              </p:cNvPr>
              <p:cNvSpPr/>
              <p:nvPr/>
            </p:nvSpPr>
            <p:spPr>
              <a:xfrm>
                <a:off x="12206944" y="979632"/>
                <a:ext cx="153790" cy="338972"/>
              </a:xfrm>
              <a:custGeom>
                <a:avLst/>
                <a:gdLst>
                  <a:gd name="connsiteX0" fmla="*/ 150799 w 153790"/>
                  <a:gd name="connsiteY0" fmla="*/ 338973 h 338972"/>
                  <a:gd name="connsiteX1" fmla="*/ 147756 w 153790"/>
                  <a:gd name="connsiteY1" fmla="*/ 336401 h 338972"/>
                  <a:gd name="connsiteX2" fmla="*/ 111431 w 153790"/>
                  <a:gd name="connsiteY2" fmla="*/ 115231 h 338972"/>
                  <a:gd name="connsiteX3" fmla="*/ 61032 w 153790"/>
                  <a:gd name="connsiteY3" fmla="*/ 134852 h 338972"/>
                  <a:gd name="connsiteX4" fmla="*/ 59320 w 153790"/>
                  <a:gd name="connsiteY4" fmla="*/ 135043 h 338972"/>
                  <a:gd name="connsiteX5" fmla="*/ 2455 w 153790"/>
                  <a:gd name="connsiteY5" fmla="*/ 123041 h 338972"/>
                  <a:gd name="connsiteX6" fmla="*/ 78 w 153790"/>
                  <a:gd name="connsiteY6" fmla="*/ 119422 h 338972"/>
                  <a:gd name="connsiteX7" fmla="*/ 3691 w 153790"/>
                  <a:gd name="connsiteY7" fmla="*/ 117040 h 338972"/>
                  <a:gd name="connsiteX8" fmla="*/ 59701 w 153790"/>
                  <a:gd name="connsiteY8" fmla="*/ 128851 h 338972"/>
                  <a:gd name="connsiteX9" fmla="*/ 109624 w 153790"/>
                  <a:gd name="connsiteY9" fmla="*/ 109420 h 338972"/>
                  <a:gd name="connsiteX10" fmla="*/ 58179 w 153790"/>
                  <a:gd name="connsiteY10" fmla="*/ 4455 h 338972"/>
                  <a:gd name="connsiteX11" fmla="*/ 58940 w 153790"/>
                  <a:gd name="connsiteY11" fmla="*/ 740 h 338972"/>
                  <a:gd name="connsiteX12" fmla="*/ 62744 w 153790"/>
                  <a:gd name="connsiteY12" fmla="*/ 550 h 338972"/>
                  <a:gd name="connsiteX13" fmla="*/ 145093 w 153790"/>
                  <a:gd name="connsiteY13" fmla="*/ 59033 h 338972"/>
                  <a:gd name="connsiteX14" fmla="*/ 145949 w 153790"/>
                  <a:gd name="connsiteY14" fmla="*/ 63129 h 338972"/>
                  <a:gd name="connsiteX15" fmla="*/ 117041 w 153790"/>
                  <a:gd name="connsiteY15" fmla="*/ 111611 h 338972"/>
                  <a:gd name="connsiteX16" fmla="*/ 153747 w 153790"/>
                  <a:gd name="connsiteY16" fmla="*/ 335449 h 338972"/>
                  <a:gd name="connsiteX17" fmla="*/ 151179 w 153790"/>
                  <a:gd name="connsiteY17" fmla="*/ 338973 h 338972"/>
                  <a:gd name="connsiteX18" fmla="*/ 150704 w 153790"/>
                  <a:gd name="connsiteY18" fmla="*/ 338973 h 338972"/>
                  <a:gd name="connsiteX19" fmla="*/ 69115 w 153790"/>
                  <a:gd name="connsiteY19" fmla="*/ 12456 h 338972"/>
                  <a:gd name="connsiteX20" fmla="*/ 114188 w 153790"/>
                  <a:gd name="connsiteY20" fmla="*/ 104467 h 338972"/>
                  <a:gd name="connsiteX21" fmla="*/ 139293 w 153790"/>
                  <a:gd name="connsiteY21" fmla="*/ 62272 h 338972"/>
                  <a:gd name="connsiteX22" fmla="*/ 69115 w 153790"/>
                  <a:gd name="connsiteY22" fmla="*/ 12456 h 3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790" h="338972">
                    <a:moveTo>
                      <a:pt x="150799" y="338973"/>
                    </a:moveTo>
                    <a:cubicBezTo>
                      <a:pt x="149277" y="338973"/>
                      <a:pt x="148041" y="337925"/>
                      <a:pt x="147756" y="336401"/>
                    </a:cubicBezTo>
                    <a:lnTo>
                      <a:pt x="111431" y="115231"/>
                    </a:lnTo>
                    <a:lnTo>
                      <a:pt x="61032" y="134852"/>
                    </a:lnTo>
                    <a:cubicBezTo>
                      <a:pt x="60461" y="135043"/>
                      <a:pt x="59891" y="135138"/>
                      <a:pt x="59320" y="135043"/>
                    </a:cubicBezTo>
                    <a:lnTo>
                      <a:pt x="2455" y="123041"/>
                    </a:lnTo>
                    <a:cubicBezTo>
                      <a:pt x="744" y="122660"/>
                      <a:pt x="-302" y="121041"/>
                      <a:pt x="78" y="119422"/>
                    </a:cubicBezTo>
                    <a:cubicBezTo>
                      <a:pt x="458" y="117707"/>
                      <a:pt x="2075" y="116659"/>
                      <a:pt x="3691" y="117040"/>
                    </a:cubicBezTo>
                    <a:lnTo>
                      <a:pt x="59701" y="128851"/>
                    </a:lnTo>
                    <a:lnTo>
                      <a:pt x="109624" y="109420"/>
                    </a:lnTo>
                    <a:lnTo>
                      <a:pt x="58179" y="4455"/>
                    </a:lnTo>
                    <a:cubicBezTo>
                      <a:pt x="57514" y="3217"/>
                      <a:pt x="57894" y="1693"/>
                      <a:pt x="58940" y="740"/>
                    </a:cubicBezTo>
                    <a:cubicBezTo>
                      <a:pt x="59986" y="-212"/>
                      <a:pt x="61602" y="-212"/>
                      <a:pt x="62744" y="550"/>
                    </a:cubicBezTo>
                    <a:lnTo>
                      <a:pt x="145093" y="59033"/>
                    </a:lnTo>
                    <a:cubicBezTo>
                      <a:pt x="146425" y="59986"/>
                      <a:pt x="146805" y="61700"/>
                      <a:pt x="145949" y="63129"/>
                    </a:cubicBezTo>
                    <a:lnTo>
                      <a:pt x="117041" y="111611"/>
                    </a:lnTo>
                    <a:lnTo>
                      <a:pt x="153747" y="335449"/>
                    </a:lnTo>
                    <a:cubicBezTo>
                      <a:pt x="154032" y="337163"/>
                      <a:pt x="152891" y="338687"/>
                      <a:pt x="151179" y="338973"/>
                    </a:cubicBezTo>
                    <a:cubicBezTo>
                      <a:pt x="150989" y="338973"/>
                      <a:pt x="150799" y="338973"/>
                      <a:pt x="150704" y="338973"/>
                    </a:cubicBezTo>
                    <a:close/>
                    <a:moveTo>
                      <a:pt x="69115" y="12456"/>
                    </a:moveTo>
                    <a:lnTo>
                      <a:pt x="114188" y="104467"/>
                    </a:lnTo>
                    <a:lnTo>
                      <a:pt x="139293" y="62272"/>
                    </a:lnTo>
                    <a:lnTo>
                      <a:pt x="69115" y="12456"/>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5" name="Freeform 28">
                <a:extLst>
                  <a:ext uri="{FF2B5EF4-FFF2-40B4-BE49-F238E27FC236}">
                    <a16:creationId xmlns:a16="http://schemas.microsoft.com/office/drawing/2014/main" id="{C751869E-5735-AB25-AE3D-9ED25C9FB303}"/>
                  </a:ext>
                </a:extLst>
              </p:cNvPr>
              <p:cNvSpPr/>
              <p:nvPr/>
            </p:nvSpPr>
            <p:spPr>
              <a:xfrm>
                <a:off x="12205514" y="977865"/>
                <a:ext cx="156659" cy="342167"/>
              </a:xfrm>
              <a:custGeom>
                <a:avLst/>
                <a:gdLst>
                  <a:gd name="connsiteX0" fmla="*/ 152217 w 156659"/>
                  <a:gd name="connsiteY0" fmla="*/ 342167 h 342167"/>
                  <a:gd name="connsiteX1" fmla="*/ 147748 w 156659"/>
                  <a:gd name="connsiteY1" fmla="*/ 338357 h 342167"/>
                  <a:gd name="connsiteX2" fmla="*/ 111708 w 156659"/>
                  <a:gd name="connsiteY2" fmla="*/ 118901 h 342167"/>
                  <a:gd name="connsiteX3" fmla="*/ 63021 w 156659"/>
                  <a:gd name="connsiteY3" fmla="*/ 137856 h 342167"/>
                  <a:gd name="connsiteX4" fmla="*/ 60453 w 156659"/>
                  <a:gd name="connsiteY4" fmla="*/ 138047 h 342167"/>
                  <a:gd name="connsiteX5" fmla="*/ 3588 w 156659"/>
                  <a:gd name="connsiteY5" fmla="*/ 126045 h 342167"/>
                  <a:gd name="connsiteX6" fmla="*/ 736 w 156659"/>
                  <a:gd name="connsiteY6" fmla="*/ 124045 h 342167"/>
                  <a:gd name="connsiteX7" fmla="*/ 70 w 156659"/>
                  <a:gd name="connsiteY7" fmla="*/ 120616 h 342167"/>
                  <a:gd name="connsiteX8" fmla="*/ 5395 w 156659"/>
                  <a:gd name="connsiteY8" fmla="*/ 117092 h 342167"/>
                  <a:gd name="connsiteX9" fmla="*/ 60929 w 156659"/>
                  <a:gd name="connsiteY9" fmla="*/ 128807 h 342167"/>
                  <a:gd name="connsiteX10" fmla="*/ 108950 w 156659"/>
                  <a:gd name="connsiteY10" fmla="*/ 110043 h 342167"/>
                  <a:gd name="connsiteX11" fmla="*/ 58266 w 156659"/>
                  <a:gd name="connsiteY11" fmla="*/ 6506 h 342167"/>
                  <a:gd name="connsiteX12" fmla="*/ 59407 w 156659"/>
                  <a:gd name="connsiteY12" fmla="*/ 1077 h 342167"/>
                  <a:gd name="connsiteX13" fmla="*/ 64923 w 156659"/>
                  <a:gd name="connsiteY13" fmla="*/ 791 h 342167"/>
                  <a:gd name="connsiteX14" fmla="*/ 147272 w 156659"/>
                  <a:gd name="connsiteY14" fmla="*/ 59275 h 342167"/>
                  <a:gd name="connsiteX15" fmla="*/ 148509 w 156659"/>
                  <a:gd name="connsiteY15" fmla="*/ 65276 h 342167"/>
                  <a:gd name="connsiteX16" fmla="*/ 119886 w 156659"/>
                  <a:gd name="connsiteY16" fmla="*/ 113377 h 342167"/>
                  <a:gd name="connsiteX17" fmla="*/ 156591 w 156659"/>
                  <a:gd name="connsiteY17" fmla="*/ 336738 h 342167"/>
                  <a:gd name="connsiteX18" fmla="*/ 155831 w 156659"/>
                  <a:gd name="connsiteY18" fmla="*/ 340072 h 342167"/>
                  <a:gd name="connsiteX19" fmla="*/ 152883 w 156659"/>
                  <a:gd name="connsiteY19" fmla="*/ 341882 h 342167"/>
                  <a:gd name="connsiteX20" fmla="*/ 152122 w 156659"/>
                  <a:gd name="connsiteY20" fmla="*/ 341882 h 342167"/>
                  <a:gd name="connsiteX21" fmla="*/ 113990 w 156659"/>
                  <a:gd name="connsiteY21" fmla="*/ 114996 h 342167"/>
                  <a:gd name="connsiteX22" fmla="*/ 114275 w 156659"/>
                  <a:gd name="connsiteY22" fmla="*/ 116711 h 342167"/>
                  <a:gd name="connsiteX23" fmla="*/ 150601 w 156659"/>
                  <a:gd name="connsiteY23" fmla="*/ 337881 h 342167"/>
                  <a:gd name="connsiteX24" fmla="*/ 152502 w 156659"/>
                  <a:gd name="connsiteY24" fmla="*/ 339215 h 342167"/>
                  <a:gd name="connsiteX25" fmla="*/ 153549 w 156659"/>
                  <a:gd name="connsiteY25" fmla="*/ 338548 h 342167"/>
                  <a:gd name="connsiteX26" fmla="*/ 153834 w 156659"/>
                  <a:gd name="connsiteY26" fmla="*/ 337310 h 342167"/>
                  <a:gd name="connsiteX27" fmla="*/ 117033 w 156659"/>
                  <a:gd name="connsiteY27" fmla="*/ 112996 h 342167"/>
                  <a:gd name="connsiteX28" fmla="*/ 117319 w 156659"/>
                  <a:gd name="connsiteY28" fmla="*/ 112520 h 342167"/>
                  <a:gd name="connsiteX29" fmla="*/ 146226 w 156659"/>
                  <a:gd name="connsiteY29" fmla="*/ 64037 h 342167"/>
                  <a:gd name="connsiteX30" fmla="*/ 145751 w 156659"/>
                  <a:gd name="connsiteY30" fmla="*/ 61847 h 342167"/>
                  <a:gd name="connsiteX31" fmla="*/ 63401 w 156659"/>
                  <a:gd name="connsiteY31" fmla="*/ 3363 h 342167"/>
                  <a:gd name="connsiteX32" fmla="*/ 61404 w 156659"/>
                  <a:gd name="connsiteY32" fmla="*/ 3363 h 342167"/>
                  <a:gd name="connsiteX33" fmla="*/ 61024 w 156659"/>
                  <a:gd name="connsiteY33" fmla="*/ 5363 h 342167"/>
                  <a:gd name="connsiteX34" fmla="*/ 113134 w 156659"/>
                  <a:gd name="connsiteY34" fmla="*/ 111758 h 342167"/>
                  <a:gd name="connsiteX35" fmla="*/ 61404 w 156659"/>
                  <a:gd name="connsiteY35" fmla="*/ 131951 h 342167"/>
                  <a:gd name="connsiteX36" fmla="*/ 61024 w 156659"/>
                  <a:gd name="connsiteY36" fmla="*/ 131951 h 342167"/>
                  <a:gd name="connsiteX37" fmla="*/ 5015 w 156659"/>
                  <a:gd name="connsiteY37" fmla="*/ 120044 h 342167"/>
                  <a:gd name="connsiteX38" fmla="*/ 3018 w 156659"/>
                  <a:gd name="connsiteY38" fmla="*/ 121283 h 342167"/>
                  <a:gd name="connsiteX39" fmla="*/ 3208 w 156659"/>
                  <a:gd name="connsiteY39" fmla="*/ 122521 h 342167"/>
                  <a:gd name="connsiteX40" fmla="*/ 4254 w 156659"/>
                  <a:gd name="connsiteY40" fmla="*/ 123188 h 342167"/>
                  <a:gd name="connsiteX41" fmla="*/ 61119 w 156659"/>
                  <a:gd name="connsiteY41" fmla="*/ 135189 h 342167"/>
                  <a:gd name="connsiteX42" fmla="*/ 62070 w 156659"/>
                  <a:gd name="connsiteY42" fmla="*/ 135189 h 342167"/>
                  <a:gd name="connsiteX43" fmla="*/ 114085 w 156659"/>
                  <a:gd name="connsiteY43" fmla="*/ 114901 h 342167"/>
                  <a:gd name="connsiteX44" fmla="*/ 115417 w 156659"/>
                  <a:gd name="connsiteY44" fmla="*/ 109281 h 342167"/>
                  <a:gd name="connsiteX45" fmla="*/ 66729 w 156659"/>
                  <a:gd name="connsiteY45" fmla="*/ 9935 h 342167"/>
                  <a:gd name="connsiteX46" fmla="*/ 142518 w 156659"/>
                  <a:gd name="connsiteY46" fmla="*/ 63752 h 342167"/>
                  <a:gd name="connsiteX47" fmla="*/ 115417 w 156659"/>
                  <a:gd name="connsiteY47" fmla="*/ 109281 h 342167"/>
                  <a:gd name="connsiteX48" fmla="*/ 74242 w 156659"/>
                  <a:gd name="connsiteY48" fmla="*/ 18698 h 342167"/>
                  <a:gd name="connsiteX49" fmla="*/ 115702 w 156659"/>
                  <a:gd name="connsiteY49" fmla="*/ 103280 h 342167"/>
                  <a:gd name="connsiteX50" fmla="*/ 138714 w 156659"/>
                  <a:gd name="connsiteY50" fmla="*/ 64514 h 342167"/>
                  <a:gd name="connsiteX51" fmla="*/ 74242 w 156659"/>
                  <a:gd name="connsiteY51" fmla="*/ 18698 h 3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659" h="342167">
                    <a:moveTo>
                      <a:pt x="152217" y="342167"/>
                    </a:moveTo>
                    <a:cubicBezTo>
                      <a:pt x="150030" y="342167"/>
                      <a:pt x="148128" y="340548"/>
                      <a:pt x="147748" y="338357"/>
                    </a:cubicBezTo>
                    <a:lnTo>
                      <a:pt x="111708" y="118901"/>
                    </a:lnTo>
                    <a:lnTo>
                      <a:pt x="63021" y="137856"/>
                    </a:lnTo>
                    <a:cubicBezTo>
                      <a:pt x="62260" y="138142"/>
                      <a:pt x="61309" y="138237"/>
                      <a:pt x="60453" y="138047"/>
                    </a:cubicBezTo>
                    <a:lnTo>
                      <a:pt x="3588" y="126045"/>
                    </a:lnTo>
                    <a:cubicBezTo>
                      <a:pt x="2447" y="125759"/>
                      <a:pt x="1401" y="125093"/>
                      <a:pt x="736" y="124045"/>
                    </a:cubicBezTo>
                    <a:cubicBezTo>
                      <a:pt x="70" y="122997"/>
                      <a:pt x="-120" y="121854"/>
                      <a:pt x="70" y="120616"/>
                    </a:cubicBezTo>
                    <a:cubicBezTo>
                      <a:pt x="545" y="118235"/>
                      <a:pt x="2922" y="116615"/>
                      <a:pt x="5395" y="117092"/>
                    </a:cubicBezTo>
                    <a:lnTo>
                      <a:pt x="60929" y="128807"/>
                    </a:lnTo>
                    <a:lnTo>
                      <a:pt x="108950" y="110043"/>
                    </a:lnTo>
                    <a:lnTo>
                      <a:pt x="58266" y="6506"/>
                    </a:lnTo>
                    <a:cubicBezTo>
                      <a:pt x="57315" y="4697"/>
                      <a:pt x="57791" y="2411"/>
                      <a:pt x="59407" y="1077"/>
                    </a:cubicBezTo>
                    <a:cubicBezTo>
                      <a:pt x="61024" y="-256"/>
                      <a:pt x="63211" y="-352"/>
                      <a:pt x="64923" y="791"/>
                    </a:cubicBezTo>
                    <a:lnTo>
                      <a:pt x="147272" y="59275"/>
                    </a:lnTo>
                    <a:cubicBezTo>
                      <a:pt x="149174" y="60608"/>
                      <a:pt x="149745" y="63275"/>
                      <a:pt x="148509" y="65276"/>
                    </a:cubicBezTo>
                    <a:lnTo>
                      <a:pt x="119886" y="113377"/>
                    </a:lnTo>
                    <a:lnTo>
                      <a:pt x="156591" y="336738"/>
                    </a:lnTo>
                    <a:cubicBezTo>
                      <a:pt x="156782" y="337881"/>
                      <a:pt x="156591" y="339119"/>
                      <a:pt x="155831" y="340072"/>
                    </a:cubicBezTo>
                    <a:cubicBezTo>
                      <a:pt x="155070" y="341024"/>
                      <a:pt x="154119" y="341691"/>
                      <a:pt x="152883" y="341882"/>
                    </a:cubicBezTo>
                    <a:cubicBezTo>
                      <a:pt x="152598" y="341882"/>
                      <a:pt x="152407" y="341882"/>
                      <a:pt x="152122" y="341882"/>
                    </a:cubicBezTo>
                    <a:close/>
                    <a:moveTo>
                      <a:pt x="113990" y="114996"/>
                    </a:moveTo>
                    <a:lnTo>
                      <a:pt x="114275" y="116711"/>
                    </a:lnTo>
                    <a:lnTo>
                      <a:pt x="150601" y="337881"/>
                    </a:lnTo>
                    <a:cubicBezTo>
                      <a:pt x="150791" y="338738"/>
                      <a:pt x="151647" y="339405"/>
                      <a:pt x="152502" y="339215"/>
                    </a:cubicBezTo>
                    <a:cubicBezTo>
                      <a:pt x="152978" y="339215"/>
                      <a:pt x="153358" y="338929"/>
                      <a:pt x="153549" y="338548"/>
                    </a:cubicBezTo>
                    <a:cubicBezTo>
                      <a:pt x="153834" y="338167"/>
                      <a:pt x="153929" y="337786"/>
                      <a:pt x="153834" y="337310"/>
                    </a:cubicBezTo>
                    <a:lnTo>
                      <a:pt x="117033" y="112996"/>
                    </a:lnTo>
                    <a:lnTo>
                      <a:pt x="117319" y="112520"/>
                    </a:lnTo>
                    <a:lnTo>
                      <a:pt x="146226" y="64037"/>
                    </a:lnTo>
                    <a:cubicBezTo>
                      <a:pt x="146702" y="63275"/>
                      <a:pt x="146417" y="62323"/>
                      <a:pt x="145751" y="61847"/>
                    </a:cubicBezTo>
                    <a:lnTo>
                      <a:pt x="63401" y="3363"/>
                    </a:lnTo>
                    <a:cubicBezTo>
                      <a:pt x="62831" y="2887"/>
                      <a:pt x="61975" y="2982"/>
                      <a:pt x="61404" y="3363"/>
                    </a:cubicBezTo>
                    <a:cubicBezTo>
                      <a:pt x="60834" y="3839"/>
                      <a:pt x="60643" y="4697"/>
                      <a:pt x="61024" y="5363"/>
                    </a:cubicBezTo>
                    <a:lnTo>
                      <a:pt x="113134" y="111758"/>
                    </a:lnTo>
                    <a:lnTo>
                      <a:pt x="61404" y="131951"/>
                    </a:lnTo>
                    <a:lnTo>
                      <a:pt x="61024" y="131951"/>
                    </a:lnTo>
                    <a:cubicBezTo>
                      <a:pt x="61024" y="131951"/>
                      <a:pt x="5015" y="120044"/>
                      <a:pt x="5015" y="120044"/>
                    </a:cubicBezTo>
                    <a:cubicBezTo>
                      <a:pt x="4159" y="119854"/>
                      <a:pt x="3208" y="120425"/>
                      <a:pt x="3018" y="121283"/>
                    </a:cubicBezTo>
                    <a:cubicBezTo>
                      <a:pt x="3018" y="121664"/>
                      <a:pt x="3018" y="122140"/>
                      <a:pt x="3208" y="122521"/>
                    </a:cubicBezTo>
                    <a:cubicBezTo>
                      <a:pt x="3493" y="122902"/>
                      <a:pt x="3779" y="123188"/>
                      <a:pt x="4254" y="123188"/>
                    </a:cubicBezTo>
                    <a:lnTo>
                      <a:pt x="61119" y="135189"/>
                    </a:lnTo>
                    <a:cubicBezTo>
                      <a:pt x="61119" y="135189"/>
                      <a:pt x="61784" y="135189"/>
                      <a:pt x="62070" y="135189"/>
                    </a:cubicBezTo>
                    <a:lnTo>
                      <a:pt x="114085" y="114901"/>
                    </a:lnTo>
                    <a:close/>
                    <a:moveTo>
                      <a:pt x="115417" y="109281"/>
                    </a:moveTo>
                    <a:lnTo>
                      <a:pt x="66729" y="9935"/>
                    </a:lnTo>
                    <a:lnTo>
                      <a:pt x="142518" y="63752"/>
                    </a:lnTo>
                    <a:lnTo>
                      <a:pt x="115417" y="109281"/>
                    </a:lnTo>
                    <a:close/>
                    <a:moveTo>
                      <a:pt x="74242" y="18698"/>
                    </a:moveTo>
                    <a:lnTo>
                      <a:pt x="115702" y="103280"/>
                    </a:lnTo>
                    <a:lnTo>
                      <a:pt x="138714" y="64514"/>
                    </a:lnTo>
                    <a:lnTo>
                      <a:pt x="74242" y="18698"/>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6" name="Freeform 30">
                <a:extLst>
                  <a:ext uri="{FF2B5EF4-FFF2-40B4-BE49-F238E27FC236}">
                    <a16:creationId xmlns:a16="http://schemas.microsoft.com/office/drawing/2014/main" id="{E8ABCAB8-EA88-ADBF-58E4-4E90BC5172D1}"/>
                  </a:ext>
                </a:extLst>
              </p:cNvPr>
              <p:cNvSpPr/>
              <p:nvPr/>
            </p:nvSpPr>
            <p:spPr>
              <a:xfrm>
                <a:off x="12392606" y="1062442"/>
                <a:ext cx="72913" cy="110621"/>
              </a:xfrm>
              <a:custGeom>
                <a:avLst/>
                <a:gdLst>
                  <a:gd name="connsiteX0" fmla="*/ 34934 w 72913"/>
                  <a:gd name="connsiteY0" fmla="*/ 110621 h 110621"/>
                  <a:gd name="connsiteX1" fmla="*/ 34934 w 72913"/>
                  <a:gd name="connsiteY1" fmla="*/ 110621 h 110621"/>
                  <a:gd name="connsiteX2" fmla="*/ 32082 w 72913"/>
                  <a:gd name="connsiteY2" fmla="*/ 108430 h 110621"/>
                  <a:gd name="connsiteX3" fmla="*/ 131 w 72913"/>
                  <a:gd name="connsiteY3" fmla="*/ 3941 h 110621"/>
                  <a:gd name="connsiteX4" fmla="*/ 2128 w 72913"/>
                  <a:gd name="connsiteY4" fmla="*/ 131 h 110621"/>
                  <a:gd name="connsiteX5" fmla="*/ 5932 w 72913"/>
                  <a:gd name="connsiteY5" fmla="*/ 2131 h 110621"/>
                  <a:gd name="connsiteX6" fmla="*/ 35220 w 72913"/>
                  <a:gd name="connsiteY6" fmla="*/ 97762 h 110621"/>
                  <a:gd name="connsiteX7" fmla="*/ 66980 w 72913"/>
                  <a:gd name="connsiteY7" fmla="*/ 9942 h 110621"/>
                  <a:gd name="connsiteX8" fmla="*/ 70879 w 72913"/>
                  <a:gd name="connsiteY8" fmla="*/ 8132 h 110621"/>
                  <a:gd name="connsiteX9" fmla="*/ 72686 w 72913"/>
                  <a:gd name="connsiteY9" fmla="*/ 12037 h 110621"/>
                  <a:gd name="connsiteX10" fmla="*/ 37787 w 72913"/>
                  <a:gd name="connsiteY10" fmla="*/ 108526 h 110621"/>
                  <a:gd name="connsiteX11" fmla="*/ 34934 w 72913"/>
                  <a:gd name="connsiteY11" fmla="*/ 110526 h 11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3" h="110621">
                    <a:moveTo>
                      <a:pt x="34934" y="110621"/>
                    </a:moveTo>
                    <a:cubicBezTo>
                      <a:pt x="34934" y="110621"/>
                      <a:pt x="34934" y="110621"/>
                      <a:pt x="34934" y="110621"/>
                    </a:cubicBezTo>
                    <a:cubicBezTo>
                      <a:pt x="33603" y="110621"/>
                      <a:pt x="32462" y="109669"/>
                      <a:pt x="32082" y="108430"/>
                    </a:cubicBezTo>
                    <a:lnTo>
                      <a:pt x="131" y="3941"/>
                    </a:lnTo>
                    <a:cubicBezTo>
                      <a:pt x="-345" y="2322"/>
                      <a:pt x="511" y="607"/>
                      <a:pt x="2128" y="131"/>
                    </a:cubicBezTo>
                    <a:cubicBezTo>
                      <a:pt x="3744" y="-345"/>
                      <a:pt x="5456" y="512"/>
                      <a:pt x="5932" y="2131"/>
                    </a:cubicBezTo>
                    <a:lnTo>
                      <a:pt x="35220" y="97762"/>
                    </a:lnTo>
                    <a:lnTo>
                      <a:pt x="66980" y="9942"/>
                    </a:lnTo>
                    <a:cubicBezTo>
                      <a:pt x="67551" y="8323"/>
                      <a:pt x="69358" y="7561"/>
                      <a:pt x="70879" y="8132"/>
                    </a:cubicBezTo>
                    <a:cubicBezTo>
                      <a:pt x="72496" y="8704"/>
                      <a:pt x="73352" y="10513"/>
                      <a:pt x="72686" y="12037"/>
                    </a:cubicBezTo>
                    <a:lnTo>
                      <a:pt x="37787" y="108526"/>
                    </a:lnTo>
                    <a:cubicBezTo>
                      <a:pt x="37312" y="109764"/>
                      <a:pt x="36171" y="110526"/>
                      <a:pt x="34934" y="11052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62">
                <a:extLst>
                  <a:ext uri="{FF2B5EF4-FFF2-40B4-BE49-F238E27FC236}">
                    <a16:creationId xmlns:a16="http://schemas.microsoft.com/office/drawing/2014/main" id="{3BDAD5C6-64AC-FE9E-649B-2C134DD4C301}"/>
                  </a:ext>
                </a:extLst>
              </p:cNvPr>
              <p:cNvSpPr/>
              <p:nvPr/>
            </p:nvSpPr>
            <p:spPr>
              <a:xfrm>
                <a:off x="12391096" y="1061025"/>
                <a:ext cx="75856" cy="113466"/>
              </a:xfrm>
              <a:custGeom>
                <a:avLst/>
                <a:gdLst>
                  <a:gd name="connsiteX0" fmla="*/ 36444 w 75856"/>
                  <a:gd name="connsiteY0" fmla="*/ 113467 h 113466"/>
                  <a:gd name="connsiteX1" fmla="*/ 36444 w 75856"/>
                  <a:gd name="connsiteY1" fmla="*/ 113467 h 113466"/>
                  <a:gd name="connsiteX2" fmla="*/ 32165 w 75856"/>
                  <a:gd name="connsiteY2" fmla="*/ 110324 h 113466"/>
                  <a:gd name="connsiteX3" fmla="*/ 214 w 75856"/>
                  <a:gd name="connsiteY3" fmla="*/ 5834 h 113466"/>
                  <a:gd name="connsiteX4" fmla="*/ 3162 w 75856"/>
                  <a:gd name="connsiteY4" fmla="*/ 215 h 113466"/>
                  <a:gd name="connsiteX5" fmla="*/ 8772 w 75856"/>
                  <a:gd name="connsiteY5" fmla="*/ 3167 h 113466"/>
                  <a:gd name="connsiteX6" fmla="*/ 36729 w 75856"/>
                  <a:gd name="connsiteY6" fmla="*/ 94703 h 113466"/>
                  <a:gd name="connsiteX7" fmla="*/ 67064 w 75856"/>
                  <a:gd name="connsiteY7" fmla="*/ 10883 h 113466"/>
                  <a:gd name="connsiteX8" fmla="*/ 72865 w 75856"/>
                  <a:gd name="connsiteY8" fmla="*/ 8216 h 113466"/>
                  <a:gd name="connsiteX9" fmla="*/ 75622 w 75856"/>
                  <a:gd name="connsiteY9" fmla="*/ 14026 h 113466"/>
                  <a:gd name="connsiteX10" fmla="*/ 40723 w 75856"/>
                  <a:gd name="connsiteY10" fmla="*/ 110514 h 113466"/>
                  <a:gd name="connsiteX11" fmla="*/ 36444 w 75856"/>
                  <a:gd name="connsiteY11" fmla="*/ 113467 h 113466"/>
                  <a:gd name="connsiteX12" fmla="*/ 4493 w 75856"/>
                  <a:gd name="connsiteY12" fmla="*/ 2786 h 113466"/>
                  <a:gd name="connsiteX13" fmla="*/ 4018 w 75856"/>
                  <a:gd name="connsiteY13" fmla="*/ 2786 h 113466"/>
                  <a:gd name="connsiteX14" fmla="*/ 2877 w 75856"/>
                  <a:gd name="connsiteY14" fmla="*/ 4882 h 113466"/>
                  <a:gd name="connsiteX15" fmla="*/ 34828 w 75856"/>
                  <a:gd name="connsiteY15" fmla="*/ 109371 h 113466"/>
                  <a:gd name="connsiteX16" fmla="*/ 36349 w 75856"/>
                  <a:gd name="connsiteY16" fmla="*/ 110514 h 113466"/>
                  <a:gd name="connsiteX17" fmla="*/ 36349 w 75856"/>
                  <a:gd name="connsiteY17" fmla="*/ 111943 h 113466"/>
                  <a:gd name="connsiteX18" fmla="*/ 36349 w 75856"/>
                  <a:gd name="connsiteY18" fmla="*/ 110514 h 113466"/>
                  <a:gd name="connsiteX19" fmla="*/ 37871 w 75856"/>
                  <a:gd name="connsiteY19" fmla="*/ 109466 h 113466"/>
                  <a:gd name="connsiteX20" fmla="*/ 72769 w 75856"/>
                  <a:gd name="connsiteY20" fmla="*/ 12978 h 113466"/>
                  <a:gd name="connsiteX21" fmla="*/ 71818 w 75856"/>
                  <a:gd name="connsiteY21" fmla="*/ 10883 h 113466"/>
                  <a:gd name="connsiteX22" fmla="*/ 69726 w 75856"/>
                  <a:gd name="connsiteY22" fmla="*/ 11835 h 113466"/>
                  <a:gd name="connsiteX23" fmla="*/ 36444 w 75856"/>
                  <a:gd name="connsiteY23" fmla="*/ 103656 h 113466"/>
                  <a:gd name="connsiteX24" fmla="*/ 5920 w 75856"/>
                  <a:gd name="connsiteY24" fmla="*/ 3929 h 113466"/>
                  <a:gd name="connsiteX25" fmla="*/ 4303 w 75856"/>
                  <a:gd name="connsiteY25" fmla="*/ 2786 h 1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856" h="113466">
                    <a:moveTo>
                      <a:pt x="36444" y="113467"/>
                    </a:moveTo>
                    <a:lnTo>
                      <a:pt x="36444" y="113467"/>
                    </a:lnTo>
                    <a:cubicBezTo>
                      <a:pt x="34447" y="113467"/>
                      <a:pt x="32831" y="112133"/>
                      <a:pt x="32165" y="110324"/>
                    </a:cubicBezTo>
                    <a:lnTo>
                      <a:pt x="214" y="5834"/>
                    </a:lnTo>
                    <a:cubicBezTo>
                      <a:pt x="-546" y="3453"/>
                      <a:pt x="785" y="881"/>
                      <a:pt x="3162" y="215"/>
                    </a:cubicBezTo>
                    <a:cubicBezTo>
                      <a:pt x="5539" y="-547"/>
                      <a:pt x="8012" y="786"/>
                      <a:pt x="8772" y="3167"/>
                    </a:cubicBezTo>
                    <a:lnTo>
                      <a:pt x="36729" y="94703"/>
                    </a:lnTo>
                    <a:lnTo>
                      <a:pt x="67064" y="10883"/>
                    </a:lnTo>
                    <a:cubicBezTo>
                      <a:pt x="67920" y="8501"/>
                      <a:pt x="70487" y="7358"/>
                      <a:pt x="72865" y="8216"/>
                    </a:cubicBezTo>
                    <a:cubicBezTo>
                      <a:pt x="75242" y="9073"/>
                      <a:pt x="76383" y="11645"/>
                      <a:pt x="75622" y="14026"/>
                    </a:cubicBezTo>
                    <a:lnTo>
                      <a:pt x="40723" y="110514"/>
                    </a:lnTo>
                    <a:cubicBezTo>
                      <a:pt x="40058" y="112324"/>
                      <a:pt x="38346" y="113467"/>
                      <a:pt x="36444" y="113467"/>
                    </a:cubicBezTo>
                    <a:close/>
                    <a:moveTo>
                      <a:pt x="4493" y="2786"/>
                    </a:moveTo>
                    <a:cubicBezTo>
                      <a:pt x="4493" y="2786"/>
                      <a:pt x="4208" y="2786"/>
                      <a:pt x="4018" y="2786"/>
                    </a:cubicBezTo>
                    <a:cubicBezTo>
                      <a:pt x="3162" y="3072"/>
                      <a:pt x="2687" y="4025"/>
                      <a:pt x="2877" y="4882"/>
                    </a:cubicBezTo>
                    <a:lnTo>
                      <a:pt x="34828" y="109371"/>
                    </a:lnTo>
                    <a:cubicBezTo>
                      <a:pt x="35018" y="110038"/>
                      <a:pt x="35684" y="110514"/>
                      <a:pt x="36349" y="110514"/>
                    </a:cubicBezTo>
                    <a:lnTo>
                      <a:pt x="36349" y="111943"/>
                    </a:lnTo>
                    <a:cubicBezTo>
                      <a:pt x="36349" y="111943"/>
                      <a:pt x="36349" y="110514"/>
                      <a:pt x="36349" y="110514"/>
                    </a:cubicBezTo>
                    <a:cubicBezTo>
                      <a:pt x="37015" y="110514"/>
                      <a:pt x="37680" y="110038"/>
                      <a:pt x="37871" y="109466"/>
                    </a:cubicBezTo>
                    <a:lnTo>
                      <a:pt x="72769" y="12978"/>
                    </a:lnTo>
                    <a:cubicBezTo>
                      <a:pt x="73055" y="12121"/>
                      <a:pt x="72674" y="11168"/>
                      <a:pt x="71818" y="10883"/>
                    </a:cubicBezTo>
                    <a:cubicBezTo>
                      <a:pt x="70963" y="10502"/>
                      <a:pt x="70012" y="10978"/>
                      <a:pt x="69726" y="11835"/>
                    </a:cubicBezTo>
                    <a:lnTo>
                      <a:pt x="36444" y="103656"/>
                    </a:lnTo>
                    <a:lnTo>
                      <a:pt x="5920" y="3929"/>
                    </a:lnTo>
                    <a:cubicBezTo>
                      <a:pt x="5730" y="3263"/>
                      <a:pt x="5064" y="2786"/>
                      <a:pt x="4303" y="278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Freeform 63">
                <a:extLst>
                  <a:ext uri="{FF2B5EF4-FFF2-40B4-BE49-F238E27FC236}">
                    <a16:creationId xmlns:a16="http://schemas.microsoft.com/office/drawing/2014/main" id="{74B3B474-BC91-1144-84E8-11FE4F4B0082}"/>
                  </a:ext>
                </a:extLst>
              </p:cNvPr>
              <p:cNvSpPr/>
              <p:nvPr/>
            </p:nvSpPr>
            <p:spPr>
              <a:xfrm>
                <a:off x="12206897" y="979504"/>
                <a:ext cx="286708" cy="339196"/>
              </a:xfrm>
              <a:custGeom>
                <a:avLst/>
                <a:gdLst>
                  <a:gd name="connsiteX0" fmla="*/ 113855 w 286708"/>
                  <a:gd name="connsiteY0" fmla="*/ 339101 h 339196"/>
                  <a:gd name="connsiteX1" fmla="*/ 113855 w 286708"/>
                  <a:gd name="connsiteY1" fmla="*/ 339101 h 339196"/>
                  <a:gd name="connsiteX2" fmla="*/ 66499 w 286708"/>
                  <a:gd name="connsiteY2" fmla="*/ 339101 h 339196"/>
                  <a:gd name="connsiteX3" fmla="*/ 63551 w 286708"/>
                  <a:gd name="connsiteY3" fmla="*/ 336910 h 339196"/>
                  <a:gd name="connsiteX4" fmla="*/ 125 w 286708"/>
                  <a:gd name="connsiteY4" fmla="*/ 120979 h 339196"/>
                  <a:gd name="connsiteX5" fmla="*/ 315 w 286708"/>
                  <a:gd name="connsiteY5" fmla="*/ 118693 h 339196"/>
                  <a:gd name="connsiteX6" fmla="*/ 58226 w 286708"/>
                  <a:gd name="connsiteY6" fmla="*/ 1726 h 339196"/>
                  <a:gd name="connsiteX7" fmla="*/ 61745 w 286708"/>
                  <a:gd name="connsiteY7" fmla="*/ 106 h 339196"/>
                  <a:gd name="connsiteX8" fmla="*/ 64122 w 286708"/>
                  <a:gd name="connsiteY8" fmla="*/ 3154 h 339196"/>
                  <a:gd name="connsiteX9" fmla="*/ 63171 w 286708"/>
                  <a:gd name="connsiteY9" fmla="*/ 131742 h 339196"/>
                  <a:gd name="connsiteX10" fmla="*/ 116327 w 286708"/>
                  <a:gd name="connsiteY10" fmla="*/ 333005 h 339196"/>
                  <a:gd name="connsiteX11" fmla="*/ 231674 w 286708"/>
                  <a:gd name="connsiteY11" fmla="*/ 333005 h 339196"/>
                  <a:gd name="connsiteX12" fmla="*/ 279600 w 286708"/>
                  <a:gd name="connsiteY12" fmla="*/ 214895 h 339196"/>
                  <a:gd name="connsiteX13" fmla="*/ 220168 w 286708"/>
                  <a:gd name="connsiteY13" fmla="*/ 193654 h 339196"/>
                  <a:gd name="connsiteX14" fmla="*/ 157692 w 286708"/>
                  <a:gd name="connsiteY14" fmla="*/ 190225 h 339196"/>
                  <a:gd name="connsiteX15" fmla="*/ 155315 w 286708"/>
                  <a:gd name="connsiteY15" fmla="*/ 188892 h 339196"/>
                  <a:gd name="connsiteX16" fmla="*/ 154935 w 286708"/>
                  <a:gd name="connsiteY16" fmla="*/ 186225 h 339196"/>
                  <a:gd name="connsiteX17" fmla="*/ 185840 w 286708"/>
                  <a:gd name="connsiteY17" fmla="*/ 85260 h 339196"/>
                  <a:gd name="connsiteX18" fmla="*/ 189168 w 286708"/>
                  <a:gd name="connsiteY18" fmla="*/ 83069 h 339196"/>
                  <a:gd name="connsiteX19" fmla="*/ 256018 w 286708"/>
                  <a:gd name="connsiteY19" fmla="*/ 91070 h 339196"/>
                  <a:gd name="connsiteX20" fmla="*/ 258680 w 286708"/>
                  <a:gd name="connsiteY20" fmla="*/ 93451 h 339196"/>
                  <a:gd name="connsiteX21" fmla="*/ 286637 w 286708"/>
                  <a:gd name="connsiteY21" fmla="*/ 212419 h 339196"/>
                  <a:gd name="connsiteX22" fmla="*/ 286637 w 286708"/>
                  <a:gd name="connsiteY22" fmla="*/ 214133 h 339196"/>
                  <a:gd name="connsiteX23" fmla="*/ 286637 w 286708"/>
                  <a:gd name="connsiteY23" fmla="*/ 214324 h 339196"/>
                  <a:gd name="connsiteX24" fmla="*/ 286637 w 286708"/>
                  <a:gd name="connsiteY24" fmla="*/ 214324 h 339196"/>
                  <a:gd name="connsiteX25" fmla="*/ 236714 w 286708"/>
                  <a:gd name="connsiteY25" fmla="*/ 337291 h 339196"/>
                  <a:gd name="connsiteX26" fmla="*/ 233861 w 286708"/>
                  <a:gd name="connsiteY26" fmla="*/ 339196 h 339196"/>
                  <a:gd name="connsiteX27" fmla="*/ 114140 w 286708"/>
                  <a:gd name="connsiteY27" fmla="*/ 339196 h 339196"/>
                  <a:gd name="connsiteX28" fmla="*/ 114140 w 286708"/>
                  <a:gd name="connsiteY28" fmla="*/ 339196 h 339196"/>
                  <a:gd name="connsiteX29" fmla="*/ 68781 w 286708"/>
                  <a:gd name="connsiteY29" fmla="*/ 332910 h 339196"/>
                  <a:gd name="connsiteX30" fmla="*/ 109861 w 286708"/>
                  <a:gd name="connsiteY30" fmla="*/ 332910 h 339196"/>
                  <a:gd name="connsiteX31" fmla="*/ 56990 w 286708"/>
                  <a:gd name="connsiteY31" fmla="*/ 132790 h 339196"/>
                  <a:gd name="connsiteX32" fmla="*/ 56895 w 286708"/>
                  <a:gd name="connsiteY32" fmla="*/ 131932 h 339196"/>
                  <a:gd name="connsiteX33" fmla="*/ 57751 w 286708"/>
                  <a:gd name="connsiteY33" fmla="*/ 16394 h 339196"/>
                  <a:gd name="connsiteX34" fmla="*/ 6306 w 286708"/>
                  <a:gd name="connsiteY34" fmla="*/ 120312 h 339196"/>
                  <a:gd name="connsiteX35" fmla="*/ 68686 w 286708"/>
                  <a:gd name="connsiteY35" fmla="*/ 332910 h 339196"/>
                  <a:gd name="connsiteX36" fmla="*/ 161876 w 286708"/>
                  <a:gd name="connsiteY36" fmla="*/ 184129 h 339196"/>
                  <a:gd name="connsiteX37" fmla="*/ 220834 w 286708"/>
                  <a:gd name="connsiteY37" fmla="*/ 187368 h 339196"/>
                  <a:gd name="connsiteX38" fmla="*/ 221689 w 286708"/>
                  <a:gd name="connsiteY38" fmla="*/ 187558 h 339196"/>
                  <a:gd name="connsiteX39" fmla="*/ 279220 w 286708"/>
                  <a:gd name="connsiteY39" fmla="*/ 208132 h 339196"/>
                  <a:gd name="connsiteX40" fmla="*/ 253070 w 286708"/>
                  <a:gd name="connsiteY40" fmla="*/ 96785 h 339196"/>
                  <a:gd name="connsiteX41" fmla="*/ 190879 w 286708"/>
                  <a:gd name="connsiteY41" fmla="*/ 89356 h 339196"/>
                  <a:gd name="connsiteX42" fmla="*/ 161876 w 286708"/>
                  <a:gd name="connsiteY42" fmla="*/ 184129 h 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708" h="339196">
                    <a:moveTo>
                      <a:pt x="113855" y="339101"/>
                    </a:moveTo>
                    <a:cubicBezTo>
                      <a:pt x="113855" y="339101"/>
                      <a:pt x="113855" y="339101"/>
                      <a:pt x="113855" y="339101"/>
                    </a:cubicBezTo>
                    <a:lnTo>
                      <a:pt x="66499" y="339101"/>
                    </a:lnTo>
                    <a:cubicBezTo>
                      <a:pt x="65168" y="339101"/>
                      <a:pt x="63932" y="338244"/>
                      <a:pt x="63551" y="336910"/>
                    </a:cubicBezTo>
                    <a:lnTo>
                      <a:pt x="125" y="120979"/>
                    </a:lnTo>
                    <a:cubicBezTo>
                      <a:pt x="-65" y="120217"/>
                      <a:pt x="-65" y="119455"/>
                      <a:pt x="315" y="118693"/>
                    </a:cubicBezTo>
                    <a:lnTo>
                      <a:pt x="58226" y="1726"/>
                    </a:lnTo>
                    <a:cubicBezTo>
                      <a:pt x="58892" y="392"/>
                      <a:pt x="60318" y="-275"/>
                      <a:pt x="61745" y="106"/>
                    </a:cubicBezTo>
                    <a:cubicBezTo>
                      <a:pt x="63171" y="392"/>
                      <a:pt x="64122" y="1726"/>
                      <a:pt x="64122" y="3154"/>
                    </a:cubicBezTo>
                    <a:lnTo>
                      <a:pt x="63171" y="131742"/>
                    </a:lnTo>
                    <a:lnTo>
                      <a:pt x="116327" y="333005"/>
                    </a:lnTo>
                    <a:lnTo>
                      <a:pt x="231674" y="333005"/>
                    </a:lnTo>
                    <a:lnTo>
                      <a:pt x="279600" y="214895"/>
                    </a:lnTo>
                    <a:lnTo>
                      <a:pt x="220168" y="193654"/>
                    </a:lnTo>
                    <a:lnTo>
                      <a:pt x="157692" y="190225"/>
                    </a:lnTo>
                    <a:cubicBezTo>
                      <a:pt x="156741" y="190225"/>
                      <a:pt x="155886" y="189654"/>
                      <a:pt x="155315" y="188892"/>
                    </a:cubicBezTo>
                    <a:cubicBezTo>
                      <a:pt x="154745" y="188130"/>
                      <a:pt x="154649" y="187082"/>
                      <a:pt x="154935" y="186225"/>
                    </a:cubicBezTo>
                    <a:lnTo>
                      <a:pt x="185840" y="85260"/>
                    </a:lnTo>
                    <a:cubicBezTo>
                      <a:pt x="186315" y="83831"/>
                      <a:pt x="187646" y="82879"/>
                      <a:pt x="189168" y="83069"/>
                    </a:cubicBezTo>
                    <a:lnTo>
                      <a:pt x="256018" y="91070"/>
                    </a:lnTo>
                    <a:cubicBezTo>
                      <a:pt x="257349" y="91261"/>
                      <a:pt x="258395" y="92118"/>
                      <a:pt x="258680" y="93451"/>
                    </a:cubicBezTo>
                    <a:lnTo>
                      <a:pt x="286637" y="212419"/>
                    </a:lnTo>
                    <a:cubicBezTo>
                      <a:pt x="286732" y="212990"/>
                      <a:pt x="286732" y="213562"/>
                      <a:pt x="286637" y="214133"/>
                    </a:cubicBezTo>
                    <a:cubicBezTo>
                      <a:pt x="286637" y="214133"/>
                      <a:pt x="286637" y="214228"/>
                      <a:pt x="286637" y="214324"/>
                    </a:cubicBezTo>
                    <a:cubicBezTo>
                      <a:pt x="286637" y="214324"/>
                      <a:pt x="286637" y="214324"/>
                      <a:pt x="286637" y="214324"/>
                    </a:cubicBezTo>
                    <a:lnTo>
                      <a:pt x="236714" y="337291"/>
                    </a:lnTo>
                    <a:cubicBezTo>
                      <a:pt x="236239" y="338434"/>
                      <a:pt x="235097" y="339196"/>
                      <a:pt x="233861" y="339196"/>
                    </a:cubicBezTo>
                    <a:lnTo>
                      <a:pt x="114140" y="339196"/>
                    </a:lnTo>
                    <a:cubicBezTo>
                      <a:pt x="114140" y="339196"/>
                      <a:pt x="114140" y="339196"/>
                      <a:pt x="114140" y="339196"/>
                    </a:cubicBezTo>
                    <a:close/>
                    <a:moveTo>
                      <a:pt x="68781" y="332910"/>
                    </a:moveTo>
                    <a:lnTo>
                      <a:pt x="109861" y="332910"/>
                    </a:lnTo>
                    <a:lnTo>
                      <a:pt x="56990" y="132790"/>
                    </a:lnTo>
                    <a:cubicBezTo>
                      <a:pt x="56990" y="132790"/>
                      <a:pt x="56895" y="132218"/>
                      <a:pt x="56895" y="131932"/>
                    </a:cubicBezTo>
                    <a:lnTo>
                      <a:pt x="57751" y="16394"/>
                    </a:lnTo>
                    <a:lnTo>
                      <a:pt x="6306" y="120312"/>
                    </a:lnTo>
                    <a:lnTo>
                      <a:pt x="68686" y="332910"/>
                    </a:lnTo>
                    <a:close/>
                    <a:moveTo>
                      <a:pt x="161876" y="184129"/>
                    </a:moveTo>
                    <a:lnTo>
                      <a:pt x="220834" y="187368"/>
                    </a:lnTo>
                    <a:cubicBezTo>
                      <a:pt x="220834" y="187368"/>
                      <a:pt x="221404" y="187368"/>
                      <a:pt x="221689" y="187558"/>
                    </a:cubicBezTo>
                    <a:lnTo>
                      <a:pt x="279220" y="208132"/>
                    </a:lnTo>
                    <a:lnTo>
                      <a:pt x="253070" y="96785"/>
                    </a:lnTo>
                    <a:lnTo>
                      <a:pt x="190879" y="89356"/>
                    </a:lnTo>
                    <a:lnTo>
                      <a:pt x="161876" y="184129"/>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9" name="Freeform 64">
                <a:extLst>
                  <a:ext uri="{FF2B5EF4-FFF2-40B4-BE49-F238E27FC236}">
                    <a16:creationId xmlns:a16="http://schemas.microsoft.com/office/drawing/2014/main" id="{0D47A6BB-C35F-AB1A-788D-7EB1861C3BF2}"/>
                  </a:ext>
                </a:extLst>
              </p:cNvPr>
              <p:cNvSpPr/>
              <p:nvPr/>
            </p:nvSpPr>
            <p:spPr>
              <a:xfrm>
                <a:off x="12205530" y="978155"/>
                <a:ext cx="289573" cy="342068"/>
              </a:xfrm>
              <a:custGeom>
                <a:avLst/>
                <a:gdLst>
                  <a:gd name="connsiteX0" fmla="*/ 235038 w 289573"/>
                  <a:gd name="connsiteY0" fmla="*/ 341878 h 342068"/>
                  <a:gd name="connsiteX1" fmla="*/ 67866 w 289573"/>
                  <a:gd name="connsiteY1" fmla="*/ 341878 h 342068"/>
                  <a:gd name="connsiteX2" fmla="*/ 63587 w 289573"/>
                  <a:gd name="connsiteY2" fmla="*/ 338640 h 342068"/>
                  <a:gd name="connsiteX3" fmla="*/ 161 w 289573"/>
                  <a:gd name="connsiteY3" fmla="*/ 122708 h 342068"/>
                  <a:gd name="connsiteX4" fmla="*/ 446 w 289573"/>
                  <a:gd name="connsiteY4" fmla="*/ 119470 h 342068"/>
                  <a:gd name="connsiteX5" fmla="*/ 58357 w 289573"/>
                  <a:gd name="connsiteY5" fmla="*/ 2503 h 342068"/>
                  <a:gd name="connsiteX6" fmla="*/ 63397 w 289573"/>
                  <a:gd name="connsiteY6" fmla="*/ 121 h 342068"/>
                  <a:gd name="connsiteX7" fmla="*/ 66915 w 289573"/>
                  <a:gd name="connsiteY7" fmla="*/ 4503 h 342068"/>
                  <a:gd name="connsiteX8" fmla="*/ 65964 w 289573"/>
                  <a:gd name="connsiteY8" fmla="*/ 132900 h 342068"/>
                  <a:gd name="connsiteX9" fmla="*/ 118835 w 289573"/>
                  <a:gd name="connsiteY9" fmla="*/ 332925 h 342068"/>
                  <a:gd name="connsiteX10" fmla="*/ 232090 w 289573"/>
                  <a:gd name="connsiteY10" fmla="*/ 332925 h 342068"/>
                  <a:gd name="connsiteX11" fmla="*/ 279065 w 289573"/>
                  <a:gd name="connsiteY11" fmla="*/ 217101 h 342068"/>
                  <a:gd name="connsiteX12" fmla="*/ 221250 w 289573"/>
                  <a:gd name="connsiteY12" fmla="*/ 196432 h 342068"/>
                  <a:gd name="connsiteX13" fmla="*/ 159059 w 289573"/>
                  <a:gd name="connsiteY13" fmla="*/ 193003 h 342068"/>
                  <a:gd name="connsiteX14" fmla="*/ 155636 w 289573"/>
                  <a:gd name="connsiteY14" fmla="*/ 191098 h 342068"/>
                  <a:gd name="connsiteX15" fmla="*/ 155065 w 289573"/>
                  <a:gd name="connsiteY15" fmla="*/ 187192 h 342068"/>
                  <a:gd name="connsiteX16" fmla="*/ 185970 w 289573"/>
                  <a:gd name="connsiteY16" fmla="*/ 86227 h 342068"/>
                  <a:gd name="connsiteX17" fmla="*/ 190820 w 289573"/>
                  <a:gd name="connsiteY17" fmla="*/ 83084 h 342068"/>
                  <a:gd name="connsiteX18" fmla="*/ 257670 w 289573"/>
                  <a:gd name="connsiteY18" fmla="*/ 91085 h 342068"/>
                  <a:gd name="connsiteX19" fmla="*/ 261473 w 289573"/>
                  <a:gd name="connsiteY19" fmla="*/ 94514 h 342068"/>
                  <a:gd name="connsiteX20" fmla="*/ 289430 w 289573"/>
                  <a:gd name="connsiteY20" fmla="*/ 213481 h 342068"/>
                  <a:gd name="connsiteX21" fmla="*/ 289430 w 289573"/>
                  <a:gd name="connsiteY21" fmla="*/ 215958 h 342068"/>
                  <a:gd name="connsiteX22" fmla="*/ 289145 w 289573"/>
                  <a:gd name="connsiteY22" fmla="*/ 216529 h 342068"/>
                  <a:gd name="connsiteX23" fmla="*/ 239412 w 289573"/>
                  <a:gd name="connsiteY23" fmla="*/ 339211 h 342068"/>
                  <a:gd name="connsiteX24" fmla="*/ 235228 w 289573"/>
                  <a:gd name="connsiteY24" fmla="*/ 342069 h 342068"/>
                  <a:gd name="connsiteX25" fmla="*/ 62350 w 289573"/>
                  <a:gd name="connsiteY25" fmla="*/ 2788 h 342068"/>
                  <a:gd name="connsiteX26" fmla="*/ 60829 w 289573"/>
                  <a:gd name="connsiteY26" fmla="*/ 3741 h 342068"/>
                  <a:gd name="connsiteX27" fmla="*/ 2918 w 289573"/>
                  <a:gd name="connsiteY27" fmla="*/ 120708 h 342068"/>
                  <a:gd name="connsiteX28" fmla="*/ 2823 w 289573"/>
                  <a:gd name="connsiteY28" fmla="*/ 121946 h 342068"/>
                  <a:gd name="connsiteX29" fmla="*/ 66154 w 289573"/>
                  <a:gd name="connsiteY29" fmla="*/ 337878 h 342068"/>
                  <a:gd name="connsiteX30" fmla="*/ 67771 w 289573"/>
                  <a:gd name="connsiteY30" fmla="*/ 339116 h 342068"/>
                  <a:gd name="connsiteX31" fmla="*/ 234943 w 289573"/>
                  <a:gd name="connsiteY31" fmla="*/ 339116 h 342068"/>
                  <a:gd name="connsiteX32" fmla="*/ 236464 w 289573"/>
                  <a:gd name="connsiteY32" fmla="*/ 338068 h 342068"/>
                  <a:gd name="connsiteX33" fmla="*/ 286388 w 289573"/>
                  <a:gd name="connsiteY33" fmla="*/ 215005 h 342068"/>
                  <a:gd name="connsiteX34" fmla="*/ 286388 w 289573"/>
                  <a:gd name="connsiteY34" fmla="*/ 214053 h 342068"/>
                  <a:gd name="connsiteX35" fmla="*/ 258431 w 289573"/>
                  <a:gd name="connsiteY35" fmla="*/ 95086 h 342068"/>
                  <a:gd name="connsiteX36" fmla="*/ 257004 w 289573"/>
                  <a:gd name="connsiteY36" fmla="*/ 93847 h 342068"/>
                  <a:gd name="connsiteX37" fmla="*/ 190154 w 289573"/>
                  <a:gd name="connsiteY37" fmla="*/ 85846 h 342068"/>
                  <a:gd name="connsiteX38" fmla="*/ 188347 w 289573"/>
                  <a:gd name="connsiteY38" fmla="*/ 86989 h 342068"/>
                  <a:gd name="connsiteX39" fmla="*/ 157443 w 289573"/>
                  <a:gd name="connsiteY39" fmla="*/ 187954 h 342068"/>
                  <a:gd name="connsiteX40" fmla="*/ 157633 w 289573"/>
                  <a:gd name="connsiteY40" fmla="*/ 189383 h 342068"/>
                  <a:gd name="connsiteX41" fmla="*/ 158869 w 289573"/>
                  <a:gd name="connsiteY41" fmla="*/ 190050 h 342068"/>
                  <a:gd name="connsiteX42" fmla="*/ 221725 w 289573"/>
                  <a:gd name="connsiteY42" fmla="*/ 193574 h 342068"/>
                  <a:gd name="connsiteX43" fmla="*/ 282584 w 289573"/>
                  <a:gd name="connsiteY43" fmla="*/ 215386 h 342068"/>
                  <a:gd name="connsiteX44" fmla="*/ 282013 w 289573"/>
                  <a:gd name="connsiteY44" fmla="*/ 216815 h 342068"/>
                  <a:gd name="connsiteX45" fmla="*/ 233707 w 289573"/>
                  <a:gd name="connsiteY45" fmla="*/ 335782 h 342068"/>
                  <a:gd name="connsiteX46" fmla="*/ 116363 w 289573"/>
                  <a:gd name="connsiteY46" fmla="*/ 335782 h 342068"/>
                  <a:gd name="connsiteX47" fmla="*/ 116078 w 289573"/>
                  <a:gd name="connsiteY47" fmla="*/ 334735 h 342068"/>
                  <a:gd name="connsiteX48" fmla="*/ 62826 w 289573"/>
                  <a:gd name="connsiteY48" fmla="*/ 133090 h 342068"/>
                  <a:gd name="connsiteX49" fmla="*/ 63777 w 289573"/>
                  <a:gd name="connsiteY49" fmla="*/ 4503 h 342068"/>
                  <a:gd name="connsiteX50" fmla="*/ 62541 w 289573"/>
                  <a:gd name="connsiteY50" fmla="*/ 2884 h 342068"/>
                  <a:gd name="connsiteX51" fmla="*/ 62160 w 289573"/>
                  <a:gd name="connsiteY51" fmla="*/ 2884 h 342068"/>
                  <a:gd name="connsiteX52" fmla="*/ 113130 w 289573"/>
                  <a:gd name="connsiteY52" fmla="*/ 335687 h 342068"/>
                  <a:gd name="connsiteX53" fmla="*/ 69102 w 289573"/>
                  <a:gd name="connsiteY53" fmla="*/ 335687 h 342068"/>
                  <a:gd name="connsiteX54" fmla="*/ 68817 w 289573"/>
                  <a:gd name="connsiteY54" fmla="*/ 334639 h 342068"/>
                  <a:gd name="connsiteX55" fmla="*/ 6246 w 289573"/>
                  <a:gd name="connsiteY55" fmla="*/ 121565 h 342068"/>
                  <a:gd name="connsiteX56" fmla="*/ 6532 w 289573"/>
                  <a:gd name="connsiteY56" fmla="*/ 121089 h 342068"/>
                  <a:gd name="connsiteX57" fmla="*/ 60734 w 289573"/>
                  <a:gd name="connsiteY57" fmla="*/ 11647 h 342068"/>
                  <a:gd name="connsiteX58" fmla="*/ 59783 w 289573"/>
                  <a:gd name="connsiteY58" fmla="*/ 133376 h 342068"/>
                  <a:gd name="connsiteX59" fmla="*/ 59783 w 289573"/>
                  <a:gd name="connsiteY59" fmla="*/ 133852 h 342068"/>
                  <a:gd name="connsiteX60" fmla="*/ 113130 w 289573"/>
                  <a:gd name="connsiteY60" fmla="*/ 335687 h 342068"/>
                  <a:gd name="connsiteX61" fmla="*/ 71194 w 289573"/>
                  <a:gd name="connsiteY61" fmla="*/ 332830 h 342068"/>
                  <a:gd name="connsiteX62" fmla="*/ 109326 w 289573"/>
                  <a:gd name="connsiteY62" fmla="*/ 332830 h 342068"/>
                  <a:gd name="connsiteX63" fmla="*/ 56930 w 289573"/>
                  <a:gd name="connsiteY63" fmla="*/ 134519 h 342068"/>
                  <a:gd name="connsiteX64" fmla="*/ 56740 w 289573"/>
                  <a:gd name="connsiteY64" fmla="*/ 133376 h 342068"/>
                  <a:gd name="connsiteX65" fmla="*/ 57596 w 289573"/>
                  <a:gd name="connsiteY65" fmla="*/ 24029 h 342068"/>
                  <a:gd name="connsiteX66" fmla="*/ 9194 w 289573"/>
                  <a:gd name="connsiteY66" fmla="*/ 121851 h 342068"/>
                  <a:gd name="connsiteX67" fmla="*/ 71099 w 289573"/>
                  <a:gd name="connsiteY67" fmla="*/ 332830 h 342068"/>
                  <a:gd name="connsiteX68" fmla="*/ 282584 w 289573"/>
                  <a:gd name="connsiteY68" fmla="*/ 211767 h 342068"/>
                  <a:gd name="connsiteX69" fmla="*/ 222581 w 289573"/>
                  <a:gd name="connsiteY69" fmla="*/ 190336 h 342068"/>
                  <a:gd name="connsiteX70" fmla="*/ 222105 w 289573"/>
                  <a:gd name="connsiteY70" fmla="*/ 190336 h 342068"/>
                  <a:gd name="connsiteX71" fmla="*/ 161341 w 289573"/>
                  <a:gd name="connsiteY71" fmla="*/ 187002 h 342068"/>
                  <a:gd name="connsiteX72" fmla="*/ 161912 w 289573"/>
                  <a:gd name="connsiteY72" fmla="*/ 185287 h 342068"/>
                  <a:gd name="connsiteX73" fmla="*/ 191296 w 289573"/>
                  <a:gd name="connsiteY73" fmla="*/ 89371 h 342068"/>
                  <a:gd name="connsiteX74" fmla="*/ 255673 w 289573"/>
                  <a:gd name="connsiteY74" fmla="*/ 97086 h 342068"/>
                  <a:gd name="connsiteX75" fmla="*/ 255863 w 289573"/>
                  <a:gd name="connsiteY75" fmla="*/ 98038 h 342068"/>
                  <a:gd name="connsiteX76" fmla="*/ 282584 w 289573"/>
                  <a:gd name="connsiteY76" fmla="*/ 211957 h 342068"/>
                  <a:gd name="connsiteX77" fmla="*/ 165145 w 289573"/>
                  <a:gd name="connsiteY77" fmla="*/ 184144 h 342068"/>
                  <a:gd name="connsiteX78" fmla="*/ 222295 w 289573"/>
                  <a:gd name="connsiteY78" fmla="*/ 187288 h 342068"/>
                  <a:gd name="connsiteX79" fmla="*/ 223532 w 289573"/>
                  <a:gd name="connsiteY79" fmla="*/ 187573 h 342068"/>
                  <a:gd name="connsiteX80" fmla="*/ 278590 w 289573"/>
                  <a:gd name="connsiteY80" fmla="*/ 207290 h 342068"/>
                  <a:gd name="connsiteX81" fmla="*/ 253295 w 289573"/>
                  <a:gd name="connsiteY81" fmla="*/ 99467 h 342068"/>
                  <a:gd name="connsiteX82" fmla="*/ 193292 w 289573"/>
                  <a:gd name="connsiteY82" fmla="*/ 92323 h 342068"/>
                  <a:gd name="connsiteX83" fmla="*/ 165145 w 289573"/>
                  <a:gd name="connsiteY83" fmla="*/ 184144 h 3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9573" h="342068">
                    <a:moveTo>
                      <a:pt x="235038" y="341878"/>
                    </a:moveTo>
                    <a:lnTo>
                      <a:pt x="67866" y="341878"/>
                    </a:lnTo>
                    <a:cubicBezTo>
                      <a:pt x="65869" y="341878"/>
                      <a:pt x="64157" y="340545"/>
                      <a:pt x="63587" y="338640"/>
                    </a:cubicBezTo>
                    <a:lnTo>
                      <a:pt x="161" y="122708"/>
                    </a:lnTo>
                    <a:cubicBezTo>
                      <a:pt x="-125" y="121565"/>
                      <a:pt x="-30" y="120422"/>
                      <a:pt x="446" y="119470"/>
                    </a:cubicBezTo>
                    <a:lnTo>
                      <a:pt x="58357" y="2503"/>
                    </a:lnTo>
                    <a:cubicBezTo>
                      <a:pt x="59308" y="598"/>
                      <a:pt x="61495" y="-355"/>
                      <a:pt x="63397" y="121"/>
                    </a:cubicBezTo>
                    <a:cubicBezTo>
                      <a:pt x="65489" y="598"/>
                      <a:pt x="66915" y="2407"/>
                      <a:pt x="66915" y="4503"/>
                    </a:cubicBezTo>
                    <a:lnTo>
                      <a:pt x="65964" y="132900"/>
                    </a:lnTo>
                    <a:lnTo>
                      <a:pt x="118835" y="332925"/>
                    </a:lnTo>
                    <a:lnTo>
                      <a:pt x="232090" y="332925"/>
                    </a:lnTo>
                    <a:lnTo>
                      <a:pt x="279065" y="217101"/>
                    </a:lnTo>
                    <a:lnTo>
                      <a:pt x="221250" y="196432"/>
                    </a:lnTo>
                    <a:lnTo>
                      <a:pt x="159059" y="193003"/>
                    </a:lnTo>
                    <a:cubicBezTo>
                      <a:pt x="157728" y="193003"/>
                      <a:pt x="156397" y="192241"/>
                      <a:pt x="155636" y="191098"/>
                    </a:cubicBezTo>
                    <a:cubicBezTo>
                      <a:pt x="154875" y="189955"/>
                      <a:pt x="154590" y="188526"/>
                      <a:pt x="155065" y="187192"/>
                    </a:cubicBezTo>
                    <a:lnTo>
                      <a:pt x="185970" y="86227"/>
                    </a:lnTo>
                    <a:cubicBezTo>
                      <a:pt x="186636" y="84132"/>
                      <a:pt x="188633" y="82798"/>
                      <a:pt x="190820" y="83084"/>
                    </a:cubicBezTo>
                    <a:lnTo>
                      <a:pt x="257670" y="91085"/>
                    </a:lnTo>
                    <a:cubicBezTo>
                      <a:pt x="259572" y="91276"/>
                      <a:pt x="261093" y="92704"/>
                      <a:pt x="261473" y="94514"/>
                    </a:cubicBezTo>
                    <a:lnTo>
                      <a:pt x="289430" y="213481"/>
                    </a:lnTo>
                    <a:cubicBezTo>
                      <a:pt x="289621" y="214243"/>
                      <a:pt x="289621" y="215101"/>
                      <a:pt x="289430" y="215958"/>
                    </a:cubicBezTo>
                    <a:lnTo>
                      <a:pt x="289145" y="216529"/>
                    </a:lnTo>
                    <a:lnTo>
                      <a:pt x="239412" y="339211"/>
                    </a:lnTo>
                    <a:cubicBezTo>
                      <a:pt x="238746" y="340926"/>
                      <a:pt x="237035" y="342069"/>
                      <a:pt x="235228" y="342069"/>
                    </a:cubicBezTo>
                    <a:close/>
                    <a:moveTo>
                      <a:pt x="62350" y="2788"/>
                    </a:moveTo>
                    <a:cubicBezTo>
                      <a:pt x="61780" y="2788"/>
                      <a:pt x="61115" y="3169"/>
                      <a:pt x="60829" y="3741"/>
                    </a:cubicBezTo>
                    <a:lnTo>
                      <a:pt x="2918" y="120708"/>
                    </a:lnTo>
                    <a:cubicBezTo>
                      <a:pt x="2918" y="120708"/>
                      <a:pt x="2728" y="121470"/>
                      <a:pt x="2823" y="121946"/>
                    </a:cubicBezTo>
                    <a:lnTo>
                      <a:pt x="66154" y="337878"/>
                    </a:lnTo>
                    <a:cubicBezTo>
                      <a:pt x="66344" y="338545"/>
                      <a:pt x="67010" y="339116"/>
                      <a:pt x="67771" y="339116"/>
                    </a:cubicBezTo>
                    <a:lnTo>
                      <a:pt x="234943" y="339116"/>
                    </a:lnTo>
                    <a:cubicBezTo>
                      <a:pt x="235608" y="339116"/>
                      <a:pt x="236179" y="338735"/>
                      <a:pt x="236464" y="338068"/>
                    </a:cubicBezTo>
                    <a:lnTo>
                      <a:pt x="286388" y="215005"/>
                    </a:lnTo>
                    <a:cubicBezTo>
                      <a:pt x="286388" y="215005"/>
                      <a:pt x="286483" y="214339"/>
                      <a:pt x="286388" y="214053"/>
                    </a:cubicBezTo>
                    <a:lnTo>
                      <a:pt x="258431" y="95086"/>
                    </a:lnTo>
                    <a:cubicBezTo>
                      <a:pt x="258240" y="94419"/>
                      <a:pt x="257670" y="93943"/>
                      <a:pt x="257004" y="93847"/>
                    </a:cubicBezTo>
                    <a:lnTo>
                      <a:pt x="190154" y="85846"/>
                    </a:lnTo>
                    <a:cubicBezTo>
                      <a:pt x="189394" y="85751"/>
                      <a:pt x="188633" y="86227"/>
                      <a:pt x="188347" y="86989"/>
                    </a:cubicBezTo>
                    <a:lnTo>
                      <a:pt x="157443" y="187954"/>
                    </a:lnTo>
                    <a:cubicBezTo>
                      <a:pt x="157252" y="188431"/>
                      <a:pt x="157443" y="189002"/>
                      <a:pt x="157633" y="189383"/>
                    </a:cubicBezTo>
                    <a:cubicBezTo>
                      <a:pt x="157918" y="189764"/>
                      <a:pt x="158394" y="190050"/>
                      <a:pt x="158869" y="190050"/>
                    </a:cubicBezTo>
                    <a:lnTo>
                      <a:pt x="221725" y="193574"/>
                    </a:lnTo>
                    <a:lnTo>
                      <a:pt x="282584" y="215386"/>
                    </a:lnTo>
                    <a:lnTo>
                      <a:pt x="282013" y="216815"/>
                    </a:lnTo>
                    <a:lnTo>
                      <a:pt x="233707" y="335782"/>
                    </a:lnTo>
                    <a:lnTo>
                      <a:pt x="116363" y="335782"/>
                    </a:lnTo>
                    <a:lnTo>
                      <a:pt x="116078" y="334735"/>
                    </a:lnTo>
                    <a:lnTo>
                      <a:pt x="62826" y="133090"/>
                    </a:lnTo>
                    <a:lnTo>
                      <a:pt x="63777" y="4503"/>
                    </a:lnTo>
                    <a:cubicBezTo>
                      <a:pt x="63777" y="3741"/>
                      <a:pt x="63301" y="3074"/>
                      <a:pt x="62541" y="2884"/>
                    </a:cubicBezTo>
                    <a:cubicBezTo>
                      <a:pt x="62446" y="2884"/>
                      <a:pt x="62256" y="2884"/>
                      <a:pt x="62160" y="2884"/>
                    </a:cubicBezTo>
                    <a:close/>
                    <a:moveTo>
                      <a:pt x="113130" y="335687"/>
                    </a:moveTo>
                    <a:lnTo>
                      <a:pt x="69102" y="335687"/>
                    </a:lnTo>
                    <a:lnTo>
                      <a:pt x="68817" y="334639"/>
                    </a:lnTo>
                    <a:lnTo>
                      <a:pt x="6246" y="121565"/>
                    </a:lnTo>
                    <a:lnTo>
                      <a:pt x="6532" y="121089"/>
                    </a:lnTo>
                    <a:lnTo>
                      <a:pt x="60734" y="11647"/>
                    </a:lnTo>
                    <a:lnTo>
                      <a:pt x="59783" y="133376"/>
                    </a:lnTo>
                    <a:cubicBezTo>
                      <a:pt x="59783" y="133376"/>
                      <a:pt x="59783" y="133662"/>
                      <a:pt x="59783" y="133852"/>
                    </a:cubicBezTo>
                    <a:lnTo>
                      <a:pt x="113130" y="335687"/>
                    </a:lnTo>
                    <a:close/>
                    <a:moveTo>
                      <a:pt x="71194" y="332830"/>
                    </a:moveTo>
                    <a:lnTo>
                      <a:pt x="109326" y="332830"/>
                    </a:lnTo>
                    <a:lnTo>
                      <a:pt x="56930" y="134519"/>
                    </a:lnTo>
                    <a:cubicBezTo>
                      <a:pt x="56930" y="134519"/>
                      <a:pt x="56740" y="133757"/>
                      <a:pt x="56740" y="133376"/>
                    </a:cubicBezTo>
                    <a:lnTo>
                      <a:pt x="57596" y="24029"/>
                    </a:lnTo>
                    <a:lnTo>
                      <a:pt x="9194" y="121851"/>
                    </a:lnTo>
                    <a:lnTo>
                      <a:pt x="71099" y="332830"/>
                    </a:lnTo>
                    <a:close/>
                    <a:moveTo>
                      <a:pt x="282584" y="211767"/>
                    </a:moveTo>
                    <a:lnTo>
                      <a:pt x="222581" y="190336"/>
                    </a:lnTo>
                    <a:cubicBezTo>
                      <a:pt x="222581" y="190336"/>
                      <a:pt x="222295" y="190336"/>
                      <a:pt x="222105" y="190336"/>
                    </a:cubicBezTo>
                    <a:lnTo>
                      <a:pt x="161341" y="187002"/>
                    </a:lnTo>
                    <a:lnTo>
                      <a:pt x="161912" y="185287"/>
                    </a:lnTo>
                    <a:lnTo>
                      <a:pt x="191296" y="89371"/>
                    </a:lnTo>
                    <a:lnTo>
                      <a:pt x="255673" y="97086"/>
                    </a:lnTo>
                    <a:lnTo>
                      <a:pt x="255863" y="98038"/>
                    </a:lnTo>
                    <a:lnTo>
                      <a:pt x="282584" y="211957"/>
                    </a:lnTo>
                    <a:close/>
                    <a:moveTo>
                      <a:pt x="165145" y="184144"/>
                    </a:moveTo>
                    <a:lnTo>
                      <a:pt x="222295" y="187288"/>
                    </a:lnTo>
                    <a:cubicBezTo>
                      <a:pt x="222295" y="187288"/>
                      <a:pt x="223151" y="187383"/>
                      <a:pt x="223532" y="187573"/>
                    </a:cubicBezTo>
                    <a:lnTo>
                      <a:pt x="278590" y="207290"/>
                    </a:lnTo>
                    <a:lnTo>
                      <a:pt x="253295" y="99467"/>
                    </a:lnTo>
                    <a:lnTo>
                      <a:pt x="193292" y="92323"/>
                    </a:lnTo>
                    <a:lnTo>
                      <a:pt x="165145" y="184144"/>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0" name="Freeform 65">
                <a:extLst>
                  <a:ext uri="{FF2B5EF4-FFF2-40B4-BE49-F238E27FC236}">
                    <a16:creationId xmlns:a16="http://schemas.microsoft.com/office/drawing/2014/main" id="{70A4D97E-9BCF-2654-1F72-4442A375CD46}"/>
                  </a:ext>
                </a:extLst>
              </p:cNvPr>
              <p:cNvSpPr/>
              <p:nvPr/>
            </p:nvSpPr>
            <p:spPr>
              <a:xfrm>
                <a:off x="12347168" y="1037979"/>
                <a:ext cx="38075" cy="280625"/>
              </a:xfrm>
              <a:custGeom>
                <a:avLst/>
                <a:gdLst>
                  <a:gd name="connsiteX0" fmla="*/ 35013 w 38075"/>
                  <a:gd name="connsiteY0" fmla="*/ 280626 h 280625"/>
                  <a:gd name="connsiteX1" fmla="*/ 31970 w 38075"/>
                  <a:gd name="connsiteY1" fmla="*/ 277864 h 280625"/>
                  <a:gd name="connsiteX2" fmla="*/ 19 w 38075"/>
                  <a:gd name="connsiteY2" fmla="*/ 3448 h 280625"/>
                  <a:gd name="connsiteX3" fmla="*/ 2682 w 38075"/>
                  <a:gd name="connsiteY3" fmla="*/ 19 h 280625"/>
                  <a:gd name="connsiteX4" fmla="*/ 6105 w 38075"/>
                  <a:gd name="connsiteY4" fmla="*/ 2686 h 280625"/>
                  <a:gd name="connsiteX5" fmla="*/ 38056 w 38075"/>
                  <a:gd name="connsiteY5" fmla="*/ 277102 h 280625"/>
                  <a:gd name="connsiteX6" fmla="*/ 35394 w 38075"/>
                  <a:gd name="connsiteY6" fmla="*/ 280531 h 280625"/>
                  <a:gd name="connsiteX7" fmla="*/ 35013 w 38075"/>
                  <a:gd name="connsiteY7" fmla="*/ 280531 h 28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75" h="280625">
                    <a:moveTo>
                      <a:pt x="35013" y="280626"/>
                    </a:moveTo>
                    <a:cubicBezTo>
                      <a:pt x="33492" y="280626"/>
                      <a:pt x="32160" y="279483"/>
                      <a:pt x="31970" y="277864"/>
                    </a:cubicBezTo>
                    <a:lnTo>
                      <a:pt x="19" y="3448"/>
                    </a:lnTo>
                    <a:cubicBezTo>
                      <a:pt x="-171" y="1734"/>
                      <a:pt x="1065" y="210"/>
                      <a:pt x="2682" y="19"/>
                    </a:cubicBezTo>
                    <a:cubicBezTo>
                      <a:pt x="4394" y="-171"/>
                      <a:pt x="5915" y="1067"/>
                      <a:pt x="6105" y="2686"/>
                    </a:cubicBezTo>
                    <a:lnTo>
                      <a:pt x="38056" y="277102"/>
                    </a:lnTo>
                    <a:cubicBezTo>
                      <a:pt x="38246" y="278816"/>
                      <a:pt x="37010" y="280340"/>
                      <a:pt x="35394" y="280531"/>
                    </a:cubicBezTo>
                    <a:cubicBezTo>
                      <a:pt x="35298" y="280531"/>
                      <a:pt x="35108" y="280531"/>
                      <a:pt x="35013" y="280531"/>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1" name="Freeform 66">
                <a:extLst>
                  <a:ext uri="{FF2B5EF4-FFF2-40B4-BE49-F238E27FC236}">
                    <a16:creationId xmlns:a16="http://schemas.microsoft.com/office/drawing/2014/main" id="{59600605-94D8-0208-DE97-AA04CCAB1F06}"/>
                  </a:ext>
                </a:extLst>
              </p:cNvPr>
              <p:cNvSpPr/>
              <p:nvPr/>
            </p:nvSpPr>
            <p:spPr>
              <a:xfrm>
                <a:off x="12345744" y="1036521"/>
                <a:ext cx="41019" cy="283512"/>
              </a:xfrm>
              <a:custGeom>
                <a:avLst/>
                <a:gdLst>
                  <a:gd name="connsiteX0" fmla="*/ 36438 w 41019"/>
                  <a:gd name="connsiteY0" fmla="*/ 283513 h 283512"/>
                  <a:gd name="connsiteX1" fmla="*/ 31969 w 41019"/>
                  <a:gd name="connsiteY1" fmla="*/ 279512 h 283512"/>
                  <a:gd name="connsiteX2" fmla="*/ 18 w 41019"/>
                  <a:gd name="connsiteY2" fmla="*/ 5097 h 283512"/>
                  <a:gd name="connsiteX3" fmla="*/ 969 w 41019"/>
                  <a:gd name="connsiteY3" fmla="*/ 1763 h 283512"/>
                  <a:gd name="connsiteX4" fmla="*/ 4012 w 41019"/>
                  <a:gd name="connsiteY4" fmla="*/ 49 h 283512"/>
                  <a:gd name="connsiteX5" fmla="*/ 7340 w 41019"/>
                  <a:gd name="connsiteY5" fmla="*/ 1001 h 283512"/>
                  <a:gd name="connsiteX6" fmla="*/ 9051 w 41019"/>
                  <a:gd name="connsiteY6" fmla="*/ 4049 h 283512"/>
                  <a:gd name="connsiteX7" fmla="*/ 41002 w 41019"/>
                  <a:gd name="connsiteY7" fmla="*/ 278464 h 283512"/>
                  <a:gd name="connsiteX8" fmla="*/ 40052 w 41019"/>
                  <a:gd name="connsiteY8" fmla="*/ 281798 h 283512"/>
                  <a:gd name="connsiteX9" fmla="*/ 37009 w 41019"/>
                  <a:gd name="connsiteY9" fmla="*/ 283513 h 283512"/>
                  <a:gd name="connsiteX10" fmla="*/ 36438 w 41019"/>
                  <a:gd name="connsiteY10" fmla="*/ 283513 h 283512"/>
                  <a:gd name="connsiteX11" fmla="*/ 4487 w 41019"/>
                  <a:gd name="connsiteY11" fmla="*/ 2906 h 283512"/>
                  <a:gd name="connsiteX12" fmla="*/ 4297 w 41019"/>
                  <a:gd name="connsiteY12" fmla="*/ 2906 h 283512"/>
                  <a:gd name="connsiteX13" fmla="*/ 3156 w 41019"/>
                  <a:gd name="connsiteY13" fmla="*/ 3478 h 283512"/>
                  <a:gd name="connsiteX14" fmla="*/ 2775 w 41019"/>
                  <a:gd name="connsiteY14" fmla="*/ 4716 h 283512"/>
                  <a:gd name="connsiteX15" fmla="*/ 34726 w 41019"/>
                  <a:gd name="connsiteY15" fmla="*/ 279131 h 283512"/>
                  <a:gd name="connsiteX16" fmla="*/ 36343 w 41019"/>
                  <a:gd name="connsiteY16" fmla="*/ 280560 h 283512"/>
                  <a:gd name="connsiteX17" fmla="*/ 36533 w 41019"/>
                  <a:gd name="connsiteY17" fmla="*/ 280560 h 283512"/>
                  <a:gd name="connsiteX18" fmla="*/ 37674 w 41019"/>
                  <a:gd name="connsiteY18" fmla="*/ 279893 h 283512"/>
                  <a:gd name="connsiteX19" fmla="*/ 38054 w 41019"/>
                  <a:gd name="connsiteY19" fmla="*/ 278655 h 283512"/>
                  <a:gd name="connsiteX20" fmla="*/ 6104 w 41019"/>
                  <a:gd name="connsiteY20" fmla="*/ 4240 h 283512"/>
                  <a:gd name="connsiteX21" fmla="*/ 5533 w 41019"/>
                  <a:gd name="connsiteY21" fmla="*/ 3097 h 283512"/>
                  <a:gd name="connsiteX22" fmla="*/ 4487 w 41019"/>
                  <a:gd name="connsiteY22" fmla="*/ 271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019" h="283512">
                    <a:moveTo>
                      <a:pt x="36438" y="283513"/>
                    </a:moveTo>
                    <a:cubicBezTo>
                      <a:pt x="34156" y="283513"/>
                      <a:pt x="32254" y="281798"/>
                      <a:pt x="31969" y="279512"/>
                    </a:cubicBezTo>
                    <a:lnTo>
                      <a:pt x="18" y="5097"/>
                    </a:lnTo>
                    <a:cubicBezTo>
                      <a:pt x="-77" y="3859"/>
                      <a:pt x="208" y="2716"/>
                      <a:pt x="969" y="1763"/>
                    </a:cubicBezTo>
                    <a:cubicBezTo>
                      <a:pt x="1729" y="811"/>
                      <a:pt x="2775" y="239"/>
                      <a:pt x="4012" y="49"/>
                    </a:cubicBezTo>
                    <a:cubicBezTo>
                      <a:pt x="5248" y="-142"/>
                      <a:pt x="6389" y="239"/>
                      <a:pt x="7340" y="1001"/>
                    </a:cubicBezTo>
                    <a:cubicBezTo>
                      <a:pt x="8291" y="1763"/>
                      <a:pt x="8861" y="2811"/>
                      <a:pt x="9051" y="4049"/>
                    </a:cubicBezTo>
                    <a:lnTo>
                      <a:pt x="41002" y="278464"/>
                    </a:lnTo>
                    <a:cubicBezTo>
                      <a:pt x="41097" y="279607"/>
                      <a:pt x="40812" y="280846"/>
                      <a:pt x="40052" y="281798"/>
                    </a:cubicBezTo>
                    <a:cubicBezTo>
                      <a:pt x="39291" y="282751"/>
                      <a:pt x="38245" y="283322"/>
                      <a:pt x="37009" y="283513"/>
                    </a:cubicBezTo>
                    <a:cubicBezTo>
                      <a:pt x="36818" y="283513"/>
                      <a:pt x="36628" y="283513"/>
                      <a:pt x="36438" y="283513"/>
                    </a:cubicBezTo>
                    <a:close/>
                    <a:moveTo>
                      <a:pt x="4487" y="2906"/>
                    </a:moveTo>
                    <a:cubicBezTo>
                      <a:pt x="4487" y="2906"/>
                      <a:pt x="4392" y="2906"/>
                      <a:pt x="4297" y="2906"/>
                    </a:cubicBezTo>
                    <a:cubicBezTo>
                      <a:pt x="3821" y="2906"/>
                      <a:pt x="3441" y="3192"/>
                      <a:pt x="3156" y="3478"/>
                    </a:cubicBezTo>
                    <a:cubicBezTo>
                      <a:pt x="2871" y="3859"/>
                      <a:pt x="2775" y="4240"/>
                      <a:pt x="2775" y="4716"/>
                    </a:cubicBezTo>
                    <a:lnTo>
                      <a:pt x="34726" y="279131"/>
                    </a:lnTo>
                    <a:cubicBezTo>
                      <a:pt x="34726" y="279988"/>
                      <a:pt x="35487" y="280560"/>
                      <a:pt x="36343" y="280560"/>
                    </a:cubicBezTo>
                    <a:lnTo>
                      <a:pt x="36533" y="280560"/>
                    </a:lnTo>
                    <a:cubicBezTo>
                      <a:pt x="36533" y="280560"/>
                      <a:pt x="37389" y="280274"/>
                      <a:pt x="37674" y="279893"/>
                    </a:cubicBezTo>
                    <a:cubicBezTo>
                      <a:pt x="37960" y="279512"/>
                      <a:pt x="38054" y="279131"/>
                      <a:pt x="38054" y="278655"/>
                    </a:cubicBezTo>
                    <a:lnTo>
                      <a:pt x="6104" y="4240"/>
                    </a:lnTo>
                    <a:cubicBezTo>
                      <a:pt x="6104" y="4240"/>
                      <a:pt x="5818" y="3382"/>
                      <a:pt x="5533" y="3097"/>
                    </a:cubicBezTo>
                    <a:cubicBezTo>
                      <a:pt x="5248" y="2906"/>
                      <a:pt x="4867" y="2716"/>
                      <a:pt x="4487" y="271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2" name="Freeform 81">
                <a:extLst>
                  <a:ext uri="{FF2B5EF4-FFF2-40B4-BE49-F238E27FC236}">
                    <a16:creationId xmlns:a16="http://schemas.microsoft.com/office/drawing/2014/main" id="{918FE595-C396-6B4E-59F4-D942145F80DE}"/>
                  </a:ext>
                </a:extLst>
              </p:cNvPr>
              <p:cNvSpPr/>
              <p:nvPr/>
            </p:nvSpPr>
            <p:spPr>
              <a:xfrm>
                <a:off x="12396589" y="1167015"/>
                <a:ext cx="34136" cy="151589"/>
              </a:xfrm>
              <a:custGeom>
                <a:avLst/>
                <a:gdLst>
                  <a:gd name="connsiteX0" fmla="*/ 3090 w 34136"/>
                  <a:gd name="connsiteY0" fmla="*/ 151590 h 151589"/>
                  <a:gd name="connsiteX1" fmla="*/ 2519 w 34136"/>
                  <a:gd name="connsiteY1" fmla="*/ 151590 h 151589"/>
                  <a:gd name="connsiteX2" fmla="*/ 47 w 34136"/>
                  <a:gd name="connsiteY2" fmla="*/ 147970 h 151589"/>
                  <a:gd name="connsiteX3" fmla="*/ 28004 w 34136"/>
                  <a:gd name="connsiteY3" fmla="*/ 2523 h 151589"/>
                  <a:gd name="connsiteX4" fmla="*/ 31617 w 34136"/>
                  <a:gd name="connsiteY4" fmla="*/ 47 h 151589"/>
                  <a:gd name="connsiteX5" fmla="*/ 34090 w 34136"/>
                  <a:gd name="connsiteY5" fmla="*/ 3666 h 151589"/>
                  <a:gd name="connsiteX6" fmla="*/ 6133 w 34136"/>
                  <a:gd name="connsiteY6" fmla="*/ 149113 h 151589"/>
                  <a:gd name="connsiteX7" fmla="*/ 3090 w 34136"/>
                  <a:gd name="connsiteY7" fmla="*/ 151590 h 15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36" h="151589">
                    <a:moveTo>
                      <a:pt x="3090" y="151590"/>
                    </a:moveTo>
                    <a:cubicBezTo>
                      <a:pt x="3090" y="151590"/>
                      <a:pt x="2709" y="151590"/>
                      <a:pt x="2519" y="151590"/>
                    </a:cubicBezTo>
                    <a:cubicBezTo>
                      <a:pt x="808" y="151304"/>
                      <a:pt x="-239" y="149685"/>
                      <a:pt x="47" y="147970"/>
                    </a:cubicBezTo>
                    <a:lnTo>
                      <a:pt x="28004" y="2523"/>
                    </a:lnTo>
                    <a:cubicBezTo>
                      <a:pt x="28289" y="809"/>
                      <a:pt x="29906" y="-239"/>
                      <a:pt x="31617" y="47"/>
                    </a:cubicBezTo>
                    <a:cubicBezTo>
                      <a:pt x="33329" y="333"/>
                      <a:pt x="34375" y="1952"/>
                      <a:pt x="34090" y="3666"/>
                    </a:cubicBezTo>
                    <a:lnTo>
                      <a:pt x="6133" y="149113"/>
                    </a:lnTo>
                    <a:cubicBezTo>
                      <a:pt x="5847" y="150542"/>
                      <a:pt x="4516" y="151590"/>
                      <a:pt x="3090" y="151590"/>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Freeform 82">
                <a:extLst>
                  <a:ext uri="{FF2B5EF4-FFF2-40B4-BE49-F238E27FC236}">
                    <a16:creationId xmlns:a16="http://schemas.microsoft.com/office/drawing/2014/main" id="{1D93F0DD-8E5D-54C3-1F53-ED1F11A98926}"/>
                  </a:ext>
                </a:extLst>
              </p:cNvPr>
              <p:cNvSpPr/>
              <p:nvPr/>
            </p:nvSpPr>
            <p:spPr>
              <a:xfrm>
                <a:off x="12395151" y="1165714"/>
                <a:ext cx="36968" cy="154415"/>
              </a:xfrm>
              <a:custGeom>
                <a:avLst/>
                <a:gdLst>
                  <a:gd name="connsiteX0" fmla="*/ 4527 w 36968"/>
                  <a:gd name="connsiteY0" fmla="*/ 154320 h 154415"/>
                  <a:gd name="connsiteX1" fmla="*/ 3672 w 36968"/>
                  <a:gd name="connsiteY1" fmla="*/ 154320 h 154415"/>
                  <a:gd name="connsiteX2" fmla="*/ 58 w 36968"/>
                  <a:gd name="connsiteY2" fmla="*/ 149081 h 154415"/>
                  <a:gd name="connsiteX3" fmla="*/ 28015 w 36968"/>
                  <a:gd name="connsiteY3" fmla="*/ 3635 h 154415"/>
                  <a:gd name="connsiteX4" fmla="*/ 29917 w 36968"/>
                  <a:gd name="connsiteY4" fmla="*/ 777 h 154415"/>
                  <a:gd name="connsiteX5" fmla="*/ 33340 w 36968"/>
                  <a:gd name="connsiteY5" fmla="*/ 110 h 154415"/>
                  <a:gd name="connsiteX6" fmla="*/ 36193 w 36968"/>
                  <a:gd name="connsiteY6" fmla="*/ 2015 h 154415"/>
                  <a:gd name="connsiteX7" fmla="*/ 36859 w 36968"/>
                  <a:gd name="connsiteY7" fmla="*/ 5349 h 154415"/>
                  <a:gd name="connsiteX8" fmla="*/ 8902 w 36968"/>
                  <a:gd name="connsiteY8" fmla="*/ 150796 h 154415"/>
                  <a:gd name="connsiteX9" fmla="*/ 4527 w 36968"/>
                  <a:gd name="connsiteY9" fmla="*/ 154415 h 154415"/>
                  <a:gd name="connsiteX10" fmla="*/ 32484 w 36968"/>
                  <a:gd name="connsiteY10" fmla="*/ 2682 h 154415"/>
                  <a:gd name="connsiteX11" fmla="*/ 31534 w 36968"/>
                  <a:gd name="connsiteY11" fmla="*/ 2968 h 154415"/>
                  <a:gd name="connsiteX12" fmla="*/ 30868 w 36968"/>
                  <a:gd name="connsiteY12" fmla="*/ 4016 h 154415"/>
                  <a:gd name="connsiteX13" fmla="*/ 2911 w 36968"/>
                  <a:gd name="connsiteY13" fmla="*/ 149462 h 154415"/>
                  <a:gd name="connsiteX14" fmla="*/ 4242 w 36968"/>
                  <a:gd name="connsiteY14" fmla="*/ 151367 h 154415"/>
                  <a:gd name="connsiteX15" fmla="*/ 4527 w 36968"/>
                  <a:gd name="connsiteY15" fmla="*/ 151367 h 154415"/>
                  <a:gd name="connsiteX16" fmla="*/ 6144 w 36968"/>
                  <a:gd name="connsiteY16" fmla="*/ 150034 h 154415"/>
                  <a:gd name="connsiteX17" fmla="*/ 34101 w 36968"/>
                  <a:gd name="connsiteY17" fmla="*/ 4587 h 154415"/>
                  <a:gd name="connsiteX18" fmla="*/ 33816 w 36968"/>
                  <a:gd name="connsiteY18" fmla="*/ 3349 h 154415"/>
                  <a:gd name="connsiteX19" fmla="*/ 32770 w 36968"/>
                  <a:gd name="connsiteY19" fmla="*/ 2682 h 154415"/>
                  <a:gd name="connsiteX20" fmla="*/ 32484 w 36968"/>
                  <a:gd name="connsiteY20" fmla="*/ 2682 h 1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68" h="154415">
                    <a:moveTo>
                      <a:pt x="4527" y="154320"/>
                    </a:moveTo>
                    <a:cubicBezTo>
                      <a:pt x="4527" y="154320"/>
                      <a:pt x="3957" y="154320"/>
                      <a:pt x="3672" y="154320"/>
                    </a:cubicBezTo>
                    <a:cubicBezTo>
                      <a:pt x="1199" y="153844"/>
                      <a:pt x="-322" y="151463"/>
                      <a:pt x="58" y="149081"/>
                    </a:cubicBezTo>
                    <a:lnTo>
                      <a:pt x="28015" y="3635"/>
                    </a:lnTo>
                    <a:cubicBezTo>
                      <a:pt x="28205" y="2492"/>
                      <a:pt x="28871" y="1444"/>
                      <a:pt x="29917" y="777"/>
                    </a:cubicBezTo>
                    <a:cubicBezTo>
                      <a:pt x="30963" y="110"/>
                      <a:pt x="32104" y="-175"/>
                      <a:pt x="33340" y="110"/>
                    </a:cubicBezTo>
                    <a:cubicBezTo>
                      <a:pt x="34481" y="301"/>
                      <a:pt x="35528" y="968"/>
                      <a:pt x="36193" y="2015"/>
                    </a:cubicBezTo>
                    <a:cubicBezTo>
                      <a:pt x="36859" y="2968"/>
                      <a:pt x="37144" y="4206"/>
                      <a:pt x="36859" y="5349"/>
                    </a:cubicBezTo>
                    <a:lnTo>
                      <a:pt x="8902" y="150796"/>
                    </a:lnTo>
                    <a:cubicBezTo>
                      <a:pt x="8521" y="152891"/>
                      <a:pt x="6619" y="154415"/>
                      <a:pt x="4527" y="154415"/>
                    </a:cubicBezTo>
                    <a:close/>
                    <a:moveTo>
                      <a:pt x="32484" y="2682"/>
                    </a:moveTo>
                    <a:cubicBezTo>
                      <a:pt x="32484" y="2682"/>
                      <a:pt x="31819" y="2682"/>
                      <a:pt x="31534" y="2968"/>
                    </a:cubicBezTo>
                    <a:cubicBezTo>
                      <a:pt x="31153" y="3254"/>
                      <a:pt x="30963" y="3635"/>
                      <a:pt x="30868" y="4016"/>
                    </a:cubicBezTo>
                    <a:lnTo>
                      <a:pt x="2911" y="149462"/>
                    </a:lnTo>
                    <a:cubicBezTo>
                      <a:pt x="2721" y="150320"/>
                      <a:pt x="3291" y="151272"/>
                      <a:pt x="4242" y="151367"/>
                    </a:cubicBezTo>
                    <a:lnTo>
                      <a:pt x="4527" y="151367"/>
                    </a:lnTo>
                    <a:cubicBezTo>
                      <a:pt x="5288" y="151367"/>
                      <a:pt x="5954" y="150796"/>
                      <a:pt x="6144" y="150034"/>
                    </a:cubicBezTo>
                    <a:lnTo>
                      <a:pt x="34101" y="4587"/>
                    </a:lnTo>
                    <a:cubicBezTo>
                      <a:pt x="34101" y="4587"/>
                      <a:pt x="34101" y="3730"/>
                      <a:pt x="33816" y="3349"/>
                    </a:cubicBezTo>
                    <a:cubicBezTo>
                      <a:pt x="33530" y="2968"/>
                      <a:pt x="33150" y="2777"/>
                      <a:pt x="32770" y="2682"/>
                    </a:cubicBezTo>
                    <a:cubicBezTo>
                      <a:pt x="32675" y="2682"/>
                      <a:pt x="32580" y="2682"/>
                      <a:pt x="32484" y="2682"/>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74" name="Graphic 78">
              <a:extLst>
                <a:ext uri="{FF2B5EF4-FFF2-40B4-BE49-F238E27FC236}">
                  <a16:creationId xmlns:a16="http://schemas.microsoft.com/office/drawing/2014/main" id="{8022B391-183C-6762-0EC9-7F47C1912E1A}"/>
                </a:ext>
              </a:extLst>
            </p:cNvPr>
            <p:cNvGrpSpPr/>
            <p:nvPr/>
          </p:nvGrpSpPr>
          <p:grpSpPr>
            <a:xfrm>
              <a:off x="4514144" y="2591110"/>
              <a:ext cx="196317" cy="209412"/>
              <a:chOff x="12205514" y="977865"/>
              <a:chExt cx="289589" cy="342358"/>
            </a:xfrm>
            <a:solidFill>
              <a:srgbClr val="F2F2F2"/>
            </a:solidFill>
          </p:grpSpPr>
          <p:sp>
            <p:nvSpPr>
              <p:cNvPr id="175" name="Freeform 27">
                <a:extLst>
                  <a:ext uri="{FF2B5EF4-FFF2-40B4-BE49-F238E27FC236}">
                    <a16:creationId xmlns:a16="http://schemas.microsoft.com/office/drawing/2014/main" id="{79E2BCF8-F456-9EDA-4377-E9FC99A0C70D}"/>
                  </a:ext>
                </a:extLst>
              </p:cNvPr>
              <p:cNvSpPr/>
              <p:nvPr/>
            </p:nvSpPr>
            <p:spPr>
              <a:xfrm>
                <a:off x="12206944" y="979632"/>
                <a:ext cx="153790" cy="338972"/>
              </a:xfrm>
              <a:custGeom>
                <a:avLst/>
                <a:gdLst>
                  <a:gd name="connsiteX0" fmla="*/ 150799 w 153790"/>
                  <a:gd name="connsiteY0" fmla="*/ 338973 h 338972"/>
                  <a:gd name="connsiteX1" fmla="*/ 147756 w 153790"/>
                  <a:gd name="connsiteY1" fmla="*/ 336401 h 338972"/>
                  <a:gd name="connsiteX2" fmla="*/ 111431 w 153790"/>
                  <a:gd name="connsiteY2" fmla="*/ 115231 h 338972"/>
                  <a:gd name="connsiteX3" fmla="*/ 61032 w 153790"/>
                  <a:gd name="connsiteY3" fmla="*/ 134852 h 338972"/>
                  <a:gd name="connsiteX4" fmla="*/ 59320 w 153790"/>
                  <a:gd name="connsiteY4" fmla="*/ 135043 h 338972"/>
                  <a:gd name="connsiteX5" fmla="*/ 2455 w 153790"/>
                  <a:gd name="connsiteY5" fmla="*/ 123041 h 338972"/>
                  <a:gd name="connsiteX6" fmla="*/ 78 w 153790"/>
                  <a:gd name="connsiteY6" fmla="*/ 119422 h 338972"/>
                  <a:gd name="connsiteX7" fmla="*/ 3691 w 153790"/>
                  <a:gd name="connsiteY7" fmla="*/ 117040 h 338972"/>
                  <a:gd name="connsiteX8" fmla="*/ 59701 w 153790"/>
                  <a:gd name="connsiteY8" fmla="*/ 128851 h 338972"/>
                  <a:gd name="connsiteX9" fmla="*/ 109624 w 153790"/>
                  <a:gd name="connsiteY9" fmla="*/ 109420 h 338972"/>
                  <a:gd name="connsiteX10" fmla="*/ 58179 w 153790"/>
                  <a:gd name="connsiteY10" fmla="*/ 4455 h 338972"/>
                  <a:gd name="connsiteX11" fmla="*/ 58940 w 153790"/>
                  <a:gd name="connsiteY11" fmla="*/ 740 h 338972"/>
                  <a:gd name="connsiteX12" fmla="*/ 62744 w 153790"/>
                  <a:gd name="connsiteY12" fmla="*/ 550 h 338972"/>
                  <a:gd name="connsiteX13" fmla="*/ 145093 w 153790"/>
                  <a:gd name="connsiteY13" fmla="*/ 59033 h 338972"/>
                  <a:gd name="connsiteX14" fmla="*/ 145949 w 153790"/>
                  <a:gd name="connsiteY14" fmla="*/ 63129 h 338972"/>
                  <a:gd name="connsiteX15" fmla="*/ 117041 w 153790"/>
                  <a:gd name="connsiteY15" fmla="*/ 111611 h 338972"/>
                  <a:gd name="connsiteX16" fmla="*/ 153747 w 153790"/>
                  <a:gd name="connsiteY16" fmla="*/ 335449 h 338972"/>
                  <a:gd name="connsiteX17" fmla="*/ 151179 w 153790"/>
                  <a:gd name="connsiteY17" fmla="*/ 338973 h 338972"/>
                  <a:gd name="connsiteX18" fmla="*/ 150704 w 153790"/>
                  <a:gd name="connsiteY18" fmla="*/ 338973 h 338972"/>
                  <a:gd name="connsiteX19" fmla="*/ 69115 w 153790"/>
                  <a:gd name="connsiteY19" fmla="*/ 12456 h 338972"/>
                  <a:gd name="connsiteX20" fmla="*/ 114188 w 153790"/>
                  <a:gd name="connsiteY20" fmla="*/ 104467 h 338972"/>
                  <a:gd name="connsiteX21" fmla="*/ 139293 w 153790"/>
                  <a:gd name="connsiteY21" fmla="*/ 62272 h 338972"/>
                  <a:gd name="connsiteX22" fmla="*/ 69115 w 153790"/>
                  <a:gd name="connsiteY22" fmla="*/ 12456 h 3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790" h="338972">
                    <a:moveTo>
                      <a:pt x="150799" y="338973"/>
                    </a:moveTo>
                    <a:cubicBezTo>
                      <a:pt x="149277" y="338973"/>
                      <a:pt x="148041" y="337925"/>
                      <a:pt x="147756" y="336401"/>
                    </a:cubicBezTo>
                    <a:lnTo>
                      <a:pt x="111431" y="115231"/>
                    </a:lnTo>
                    <a:lnTo>
                      <a:pt x="61032" y="134852"/>
                    </a:lnTo>
                    <a:cubicBezTo>
                      <a:pt x="60461" y="135043"/>
                      <a:pt x="59891" y="135138"/>
                      <a:pt x="59320" y="135043"/>
                    </a:cubicBezTo>
                    <a:lnTo>
                      <a:pt x="2455" y="123041"/>
                    </a:lnTo>
                    <a:cubicBezTo>
                      <a:pt x="744" y="122660"/>
                      <a:pt x="-302" y="121041"/>
                      <a:pt x="78" y="119422"/>
                    </a:cubicBezTo>
                    <a:cubicBezTo>
                      <a:pt x="458" y="117707"/>
                      <a:pt x="2075" y="116659"/>
                      <a:pt x="3691" y="117040"/>
                    </a:cubicBezTo>
                    <a:lnTo>
                      <a:pt x="59701" y="128851"/>
                    </a:lnTo>
                    <a:lnTo>
                      <a:pt x="109624" y="109420"/>
                    </a:lnTo>
                    <a:lnTo>
                      <a:pt x="58179" y="4455"/>
                    </a:lnTo>
                    <a:cubicBezTo>
                      <a:pt x="57514" y="3217"/>
                      <a:pt x="57894" y="1693"/>
                      <a:pt x="58940" y="740"/>
                    </a:cubicBezTo>
                    <a:cubicBezTo>
                      <a:pt x="59986" y="-212"/>
                      <a:pt x="61602" y="-212"/>
                      <a:pt x="62744" y="550"/>
                    </a:cubicBezTo>
                    <a:lnTo>
                      <a:pt x="145093" y="59033"/>
                    </a:lnTo>
                    <a:cubicBezTo>
                      <a:pt x="146425" y="59986"/>
                      <a:pt x="146805" y="61700"/>
                      <a:pt x="145949" y="63129"/>
                    </a:cubicBezTo>
                    <a:lnTo>
                      <a:pt x="117041" y="111611"/>
                    </a:lnTo>
                    <a:lnTo>
                      <a:pt x="153747" y="335449"/>
                    </a:lnTo>
                    <a:cubicBezTo>
                      <a:pt x="154032" y="337163"/>
                      <a:pt x="152891" y="338687"/>
                      <a:pt x="151179" y="338973"/>
                    </a:cubicBezTo>
                    <a:cubicBezTo>
                      <a:pt x="150989" y="338973"/>
                      <a:pt x="150799" y="338973"/>
                      <a:pt x="150704" y="338973"/>
                    </a:cubicBezTo>
                    <a:close/>
                    <a:moveTo>
                      <a:pt x="69115" y="12456"/>
                    </a:moveTo>
                    <a:lnTo>
                      <a:pt x="114188" y="104467"/>
                    </a:lnTo>
                    <a:lnTo>
                      <a:pt x="139293" y="62272"/>
                    </a:lnTo>
                    <a:lnTo>
                      <a:pt x="69115" y="12456"/>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6" name="Freeform 28">
                <a:extLst>
                  <a:ext uri="{FF2B5EF4-FFF2-40B4-BE49-F238E27FC236}">
                    <a16:creationId xmlns:a16="http://schemas.microsoft.com/office/drawing/2014/main" id="{3B0ADA06-0267-30DC-48A1-442B2E2926CE}"/>
                  </a:ext>
                </a:extLst>
              </p:cNvPr>
              <p:cNvSpPr/>
              <p:nvPr/>
            </p:nvSpPr>
            <p:spPr>
              <a:xfrm>
                <a:off x="12205514" y="977865"/>
                <a:ext cx="156659" cy="342167"/>
              </a:xfrm>
              <a:custGeom>
                <a:avLst/>
                <a:gdLst>
                  <a:gd name="connsiteX0" fmla="*/ 152217 w 156659"/>
                  <a:gd name="connsiteY0" fmla="*/ 342167 h 342167"/>
                  <a:gd name="connsiteX1" fmla="*/ 147748 w 156659"/>
                  <a:gd name="connsiteY1" fmla="*/ 338357 h 342167"/>
                  <a:gd name="connsiteX2" fmla="*/ 111708 w 156659"/>
                  <a:gd name="connsiteY2" fmla="*/ 118901 h 342167"/>
                  <a:gd name="connsiteX3" fmla="*/ 63021 w 156659"/>
                  <a:gd name="connsiteY3" fmla="*/ 137856 h 342167"/>
                  <a:gd name="connsiteX4" fmla="*/ 60453 w 156659"/>
                  <a:gd name="connsiteY4" fmla="*/ 138047 h 342167"/>
                  <a:gd name="connsiteX5" fmla="*/ 3588 w 156659"/>
                  <a:gd name="connsiteY5" fmla="*/ 126045 h 342167"/>
                  <a:gd name="connsiteX6" fmla="*/ 736 w 156659"/>
                  <a:gd name="connsiteY6" fmla="*/ 124045 h 342167"/>
                  <a:gd name="connsiteX7" fmla="*/ 70 w 156659"/>
                  <a:gd name="connsiteY7" fmla="*/ 120616 h 342167"/>
                  <a:gd name="connsiteX8" fmla="*/ 5395 w 156659"/>
                  <a:gd name="connsiteY8" fmla="*/ 117092 h 342167"/>
                  <a:gd name="connsiteX9" fmla="*/ 60929 w 156659"/>
                  <a:gd name="connsiteY9" fmla="*/ 128807 h 342167"/>
                  <a:gd name="connsiteX10" fmla="*/ 108950 w 156659"/>
                  <a:gd name="connsiteY10" fmla="*/ 110043 h 342167"/>
                  <a:gd name="connsiteX11" fmla="*/ 58266 w 156659"/>
                  <a:gd name="connsiteY11" fmla="*/ 6506 h 342167"/>
                  <a:gd name="connsiteX12" fmla="*/ 59407 w 156659"/>
                  <a:gd name="connsiteY12" fmla="*/ 1077 h 342167"/>
                  <a:gd name="connsiteX13" fmla="*/ 64923 w 156659"/>
                  <a:gd name="connsiteY13" fmla="*/ 791 h 342167"/>
                  <a:gd name="connsiteX14" fmla="*/ 147272 w 156659"/>
                  <a:gd name="connsiteY14" fmla="*/ 59275 h 342167"/>
                  <a:gd name="connsiteX15" fmla="*/ 148509 w 156659"/>
                  <a:gd name="connsiteY15" fmla="*/ 65276 h 342167"/>
                  <a:gd name="connsiteX16" fmla="*/ 119886 w 156659"/>
                  <a:gd name="connsiteY16" fmla="*/ 113377 h 342167"/>
                  <a:gd name="connsiteX17" fmla="*/ 156591 w 156659"/>
                  <a:gd name="connsiteY17" fmla="*/ 336738 h 342167"/>
                  <a:gd name="connsiteX18" fmla="*/ 155831 w 156659"/>
                  <a:gd name="connsiteY18" fmla="*/ 340072 h 342167"/>
                  <a:gd name="connsiteX19" fmla="*/ 152883 w 156659"/>
                  <a:gd name="connsiteY19" fmla="*/ 341882 h 342167"/>
                  <a:gd name="connsiteX20" fmla="*/ 152122 w 156659"/>
                  <a:gd name="connsiteY20" fmla="*/ 341882 h 342167"/>
                  <a:gd name="connsiteX21" fmla="*/ 113990 w 156659"/>
                  <a:gd name="connsiteY21" fmla="*/ 114996 h 342167"/>
                  <a:gd name="connsiteX22" fmla="*/ 114275 w 156659"/>
                  <a:gd name="connsiteY22" fmla="*/ 116711 h 342167"/>
                  <a:gd name="connsiteX23" fmla="*/ 150601 w 156659"/>
                  <a:gd name="connsiteY23" fmla="*/ 337881 h 342167"/>
                  <a:gd name="connsiteX24" fmla="*/ 152502 w 156659"/>
                  <a:gd name="connsiteY24" fmla="*/ 339215 h 342167"/>
                  <a:gd name="connsiteX25" fmla="*/ 153549 w 156659"/>
                  <a:gd name="connsiteY25" fmla="*/ 338548 h 342167"/>
                  <a:gd name="connsiteX26" fmla="*/ 153834 w 156659"/>
                  <a:gd name="connsiteY26" fmla="*/ 337310 h 342167"/>
                  <a:gd name="connsiteX27" fmla="*/ 117033 w 156659"/>
                  <a:gd name="connsiteY27" fmla="*/ 112996 h 342167"/>
                  <a:gd name="connsiteX28" fmla="*/ 117319 w 156659"/>
                  <a:gd name="connsiteY28" fmla="*/ 112520 h 342167"/>
                  <a:gd name="connsiteX29" fmla="*/ 146226 w 156659"/>
                  <a:gd name="connsiteY29" fmla="*/ 64037 h 342167"/>
                  <a:gd name="connsiteX30" fmla="*/ 145751 w 156659"/>
                  <a:gd name="connsiteY30" fmla="*/ 61847 h 342167"/>
                  <a:gd name="connsiteX31" fmla="*/ 63401 w 156659"/>
                  <a:gd name="connsiteY31" fmla="*/ 3363 h 342167"/>
                  <a:gd name="connsiteX32" fmla="*/ 61404 w 156659"/>
                  <a:gd name="connsiteY32" fmla="*/ 3363 h 342167"/>
                  <a:gd name="connsiteX33" fmla="*/ 61024 w 156659"/>
                  <a:gd name="connsiteY33" fmla="*/ 5363 h 342167"/>
                  <a:gd name="connsiteX34" fmla="*/ 113134 w 156659"/>
                  <a:gd name="connsiteY34" fmla="*/ 111758 h 342167"/>
                  <a:gd name="connsiteX35" fmla="*/ 61404 w 156659"/>
                  <a:gd name="connsiteY35" fmla="*/ 131951 h 342167"/>
                  <a:gd name="connsiteX36" fmla="*/ 61024 w 156659"/>
                  <a:gd name="connsiteY36" fmla="*/ 131951 h 342167"/>
                  <a:gd name="connsiteX37" fmla="*/ 5015 w 156659"/>
                  <a:gd name="connsiteY37" fmla="*/ 120044 h 342167"/>
                  <a:gd name="connsiteX38" fmla="*/ 3018 w 156659"/>
                  <a:gd name="connsiteY38" fmla="*/ 121283 h 342167"/>
                  <a:gd name="connsiteX39" fmla="*/ 3208 w 156659"/>
                  <a:gd name="connsiteY39" fmla="*/ 122521 h 342167"/>
                  <a:gd name="connsiteX40" fmla="*/ 4254 w 156659"/>
                  <a:gd name="connsiteY40" fmla="*/ 123188 h 342167"/>
                  <a:gd name="connsiteX41" fmla="*/ 61119 w 156659"/>
                  <a:gd name="connsiteY41" fmla="*/ 135189 h 342167"/>
                  <a:gd name="connsiteX42" fmla="*/ 62070 w 156659"/>
                  <a:gd name="connsiteY42" fmla="*/ 135189 h 342167"/>
                  <a:gd name="connsiteX43" fmla="*/ 114085 w 156659"/>
                  <a:gd name="connsiteY43" fmla="*/ 114901 h 342167"/>
                  <a:gd name="connsiteX44" fmla="*/ 115417 w 156659"/>
                  <a:gd name="connsiteY44" fmla="*/ 109281 h 342167"/>
                  <a:gd name="connsiteX45" fmla="*/ 66729 w 156659"/>
                  <a:gd name="connsiteY45" fmla="*/ 9935 h 342167"/>
                  <a:gd name="connsiteX46" fmla="*/ 142518 w 156659"/>
                  <a:gd name="connsiteY46" fmla="*/ 63752 h 342167"/>
                  <a:gd name="connsiteX47" fmla="*/ 115417 w 156659"/>
                  <a:gd name="connsiteY47" fmla="*/ 109281 h 342167"/>
                  <a:gd name="connsiteX48" fmla="*/ 74242 w 156659"/>
                  <a:gd name="connsiteY48" fmla="*/ 18698 h 342167"/>
                  <a:gd name="connsiteX49" fmla="*/ 115702 w 156659"/>
                  <a:gd name="connsiteY49" fmla="*/ 103280 h 342167"/>
                  <a:gd name="connsiteX50" fmla="*/ 138714 w 156659"/>
                  <a:gd name="connsiteY50" fmla="*/ 64514 h 342167"/>
                  <a:gd name="connsiteX51" fmla="*/ 74242 w 156659"/>
                  <a:gd name="connsiteY51" fmla="*/ 18698 h 3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659" h="342167">
                    <a:moveTo>
                      <a:pt x="152217" y="342167"/>
                    </a:moveTo>
                    <a:cubicBezTo>
                      <a:pt x="150030" y="342167"/>
                      <a:pt x="148128" y="340548"/>
                      <a:pt x="147748" y="338357"/>
                    </a:cubicBezTo>
                    <a:lnTo>
                      <a:pt x="111708" y="118901"/>
                    </a:lnTo>
                    <a:lnTo>
                      <a:pt x="63021" y="137856"/>
                    </a:lnTo>
                    <a:cubicBezTo>
                      <a:pt x="62260" y="138142"/>
                      <a:pt x="61309" y="138237"/>
                      <a:pt x="60453" y="138047"/>
                    </a:cubicBezTo>
                    <a:lnTo>
                      <a:pt x="3588" y="126045"/>
                    </a:lnTo>
                    <a:cubicBezTo>
                      <a:pt x="2447" y="125759"/>
                      <a:pt x="1401" y="125093"/>
                      <a:pt x="736" y="124045"/>
                    </a:cubicBezTo>
                    <a:cubicBezTo>
                      <a:pt x="70" y="122997"/>
                      <a:pt x="-120" y="121854"/>
                      <a:pt x="70" y="120616"/>
                    </a:cubicBezTo>
                    <a:cubicBezTo>
                      <a:pt x="545" y="118235"/>
                      <a:pt x="2922" y="116615"/>
                      <a:pt x="5395" y="117092"/>
                    </a:cubicBezTo>
                    <a:lnTo>
                      <a:pt x="60929" y="128807"/>
                    </a:lnTo>
                    <a:lnTo>
                      <a:pt x="108950" y="110043"/>
                    </a:lnTo>
                    <a:lnTo>
                      <a:pt x="58266" y="6506"/>
                    </a:lnTo>
                    <a:cubicBezTo>
                      <a:pt x="57315" y="4697"/>
                      <a:pt x="57791" y="2411"/>
                      <a:pt x="59407" y="1077"/>
                    </a:cubicBezTo>
                    <a:cubicBezTo>
                      <a:pt x="61024" y="-256"/>
                      <a:pt x="63211" y="-352"/>
                      <a:pt x="64923" y="791"/>
                    </a:cubicBezTo>
                    <a:lnTo>
                      <a:pt x="147272" y="59275"/>
                    </a:lnTo>
                    <a:cubicBezTo>
                      <a:pt x="149174" y="60608"/>
                      <a:pt x="149745" y="63275"/>
                      <a:pt x="148509" y="65276"/>
                    </a:cubicBezTo>
                    <a:lnTo>
                      <a:pt x="119886" y="113377"/>
                    </a:lnTo>
                    <a:lnTo>
                      <a:pt x="156591" y="336738"/>
                    </a:lnTo>
                    <a:cubicBezTo>
                      <a:pt x="156782" y="337881"/>
                      <a:pt x="156591" y="339119"/>
                      <a:pt x="155831" y="340072"/>
                    </a:cubicBezTo>
                    <a:cubicBezTo>
                      <a:pt x="155070" y="341024"/>
                      <a:pt x="154119" y="341691"/>
                      <a:pt x="152883" y="341882"/>
                    </a:cubicBezTo>
                    <a:cubicBezTo>
                      <a:pt x="152598" y="341882"/>
                      <a:pt x="152407" y="341882"/>
                      <a:pt x="152122" y="341882"/>
                    </a:cubicBezTo>
                    <a:close/>
                    <a:moveTo>
                      <a:pt x="113990" y="114996"/>
                    </a:moveTo>
                    <a:lnTo>
                      <a:pt x="114275" y="116711"/>
                    </a:lnTo>
                    <a:lnTo>
                      <a:pt x="150601" y="337881"/>
                    </a:lnTo>
                    <a:cubicBezTo>
                      <a:pt x="150791" y="338738"/>
                      <a:pt x="151647" y="339405"/>
                      <a:pt x="152502" y="339215"/>
                    </a:cubicBezTo>
                    <a:cubicBezTo>
                      <a:pt x="152978" y="339215"/>
                      <a:pt x="153358" y="338929"/>
                      <a:pt x="153549" y="338548"/>
                    </a:cubicBezTo>
                    <a:cubicBezTo>
                      <a:pt x="153834" y="338167"/>
                      <a:pt x="153929" y="337786"/>
                      <a:pt x="153834" y="337310"/>
                    </a:cubicBezTo>
                    <a:lnTo>
                      <a:pt x="117033" y="112996"/>
                    </a:lnTo>
                    <a:lnTo>
                      <a:pt x="117319" y="112520"/>
                    </a:lnTo>
                    <a:lnTo>
                      <a:pt x="146226" y="64037"/>
                    </a:lnTo>
                    <a:cubicBezTo>
                      <a:pt x="146702" y="63275"/>
                      <a:pt x="146417" y="62323"/>
                      <a:pt x="145751" y="61847"/>
                    </a:cubicBezTo>
                    <a:lnTo>
                      <a:pt x="63401" y="3363"/>
                    </a:lnTo>
                    <a:cubicBezTo>
                      <a:pt x="62831" y="2887"/>
                      <a:pt x="61975" y="2982"/>
                      <a:pt x="61404" y="3363"/>
                    </a:cubicBezTo>
                    <a:cubicBezTo>
                      <a:pt x="60834" y="3839"/>
                      <a:pt x="60643" y="4697"/>
                      <a:pt x="61024" y="5363"/>
                    </a:cubicBezTo>
                    <a:lnTo>
                      <a:pt x="113134" y="111758"/>
                    </a:lnTo>
                    <a:lnTo>
                      <a:pt x="61404" y="131951"/>
                    </a:lnTo>
                    <a:lnTo>
                      <a:pt x="61024" y="131951"/>
                    </a:lnTo>
                    <a:cubicBezTo>
                      <a:pt x="61024" y="131951"/>
                      <a:pt x="5015" y="120044"/>
                      <a:pt x="5015" y="120044"/>
                    </a:cubicBezTo>
                    <a:cubicBezTo>
                      <a:pt x="4159" y="119854"/>
                      <a:pt x="3208" y="120425"/>
                      <a:pt x="3018" y="121283"/>
                    </a:cubicBezTo>
                    <a:cubicBezTo>
                      <a:pt x="3018" y="121664"/>
                      <a:pt x="3018" y="122140"/>
                      <a:pt x="3208" y="122521"/>
                    </a:cubicBezTo>
                    <a:cubicBezTo>
                      <a:pt x="3493" y="122902"/>
                      <a:pt x="3779" y="123188"/>
                      <a:pt x="4254" y="123188"/>
                    </a:cubicBezTo>
                    <a:lnTo>
                      <a:pt x="61119" y="135189"/>
                    </a:lnTo>
                    <a:cubicBezTo>
                      <a:pt x="61119" y="135189"/>
                      <a:pt x="61784" y="135189"/>
                      <a:pt x="62070" y="135189"/>
                    </a:cubicBezTo>
                    <a:lnTo>
                      <a:pt x="114085" y="114901"/>
                    </a:lnTo>
                    <a:close/>
                    <a:moveTo>
                      <a:pt x="115417" y="109281"/>
                    </a:moveTo>
                    <a:lnTo>
                      <a:pt x="66729" y="9935"/>
                    </a:lnTo>
                    <a:lnTo>
                      <a:pt x="142518" y="63752"/>
                    </a:lnTo>
                    <a:lnTo>
                      <a:pt x="115417" y="109281"/>
                    </a:lnTo>
                    <a:close/>
                    <a:moveTo>
                      <a:pt x="74242" y="18698"/>
                    </a:moveTo>
                    <a:lnTo>
                      <a:pt x="115702" y="103280"/>
                    </a:lnTo>
                    <a:lnTo>
                      <a:pt x="138714" y="64514"/>
                    </a:lnTo>
                    <a:lnTo>
                      <a:pt x="74242" y="18698"/>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7" name="Freeform 30">
                <a:extLst>
                  <a:ext uri="{FF2B5EF4-FFF2-40B4-BE49-F238E27FC236}">
                    <a16:creationId xmlns:a16="http://schemas.microsoft.com/office/drawing/2014/main" id="{31AE5300-1DDA-8E88-BB22-C915F99F97F2}"/>
                  </a:ext>
                </a:extLst>
              </p:cNvPr>
              <p:cNvSpPr/>
              <p:nvPr/>
            </p:nvSpPr>
            <p:spPr>
              <a:xfrm>
                <a:off x="12392606" y="1062442"/>
                <a:ext cx="72913" cy="110621"/>
              </a:xfrm>
              <a:custGeom>
                <a:avLst/>
                <a:gdLst>
                  <a:gd name="connsiteX0" fmla="*/ 34934 w 72913"/>
                  <a:gd name="connsiteY0" fmla="*/ 110621 h 110621"/>
                  <a:gd name="connsiteX1" fmla="*/ 34934 w 72913"/>
                  <a:gd name="connsiteY1" fmla="*/ 110621 h 110621"/>
                  <a:gd name="connsiteX2" fmla="*/ 32082 w 72913"/>
                  <a:gd name="connsiteY2" fmla="*/ 108430 h 110621"/>
                  <a:gd name="connsiteX3" fmla="*/ 131 w 72913"/>
                  <a:gd name="connsiteY3" fmla="*/ 3941 h 110621"/>
                  <a:gd name="connsiteX4" fmla="*/ 2128 w 72913"/>
                  <a:gd name="connsiteY4" fmla="*/ 131 h 110621"/>
                  <a:gd name="connsiteX5" fmla="*/ 5932 w 72913"/>
                  <a:gd name="connsiteY5" fmla="*/ 2131 h 110621"/>
                  <a:gd name="connsiteX6" fmla="*/ 35220 w 72913"/>
                  <a:gd name="connsiteY6" fmla="*/ 97762 h 110621"/>
                  <a:gd name="connsiteX7" fmla="*/ 66980 w 72913"/>
                  <a:gd name="connsiteY7" fmla="*/ 9942 h 110621"/>
                  <a:gd name="connsiteX8" fmla="*/ 70879 w 72913"/>
                  <a:gd name="connsiteY8" fmla="*/ 8132 h 110621"/>
                  <a:gd name="connsiteX9" fmla="*/ 72686 w 72913"/>
                  <a:gd name="connsiteY9" fmla="*/ 12037 h 110621"/>
                  <a:gd name="connsiteX10" fmla="*/ 37787 w 72913"/>
                  <a:gd name="connsiteY10" fmla="*/ 108526 h 110621"/>
                  <a:gd name="connsiteX11" fmla="*/ 34934 w 72913"/>
                  <a:gd name="connsiteY11" fmla="*/ 110526 h 11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3" h="110621">
                    <a:moveTo>
                      <a:pt x="34934" y="110621"/>
                    </a:moveTo>
                    <a:cubicBezTo>
                      <a:pt x="34934" y="110621"/>
                      <a:pt x="34934" y="110621"/>
                      <a:pt x="34934" y="110621"/>
                    </a:cubicBezTo>
                    <a:cubicBezTo>
                      <a:pt x="33603" y="110621"/>
                      <a:pt x="32462" y="109669"/>
                      <a:pt x="32082" y="108430"/>
                    </a:cubicBezTo>
                    <a:lnTo>
                      <a:pt x="131" y="3941"/>
                    </a:lnTo>
                    <a:cubicBezTo>
                      <a:pt x="-345" y="2322"/>
                      <a:pt x="511" y="607"/>
                      <a:pt x="2128" y="131"/>
                    </a:cubicBezTo>
                    <a:cubicBezTo>
                      <a:pt x="3744" y="-345"/>
                      <a:pt x="5456" y="512"/>
                      <a:pt x="5932" y="2131"/>
                    </a:cubicBezTo>
                    <a:lnTo>
                      <a:pt x="35220" y="97762"/>
                    </a:lnTo>
                    <a:lnTo>
                      <a:pt x="66980" y="9942"/>
                    </a:lnTo>
                    <a:cubicBezTo>
                      <a:pt x="67551" y="8323"/>
                      <a:pt x="69358" y="7561"/>
                      <a:pt x="70879" y="8132"/>
                    </a:cubicBezTo>
                    <a:cubicBezTo>
                      <a:pt x="72496" y="8704"/>
                      <a:pt x="73352" y="10513"/>
                      <a:pt x="72686" y="12037"/>
                    </a:cubicBezTo>
                    <a:lnTo>
                      <a:pt x="37787" y="108526"/>
                    </a:lnTo>
                    <a:cubicBezTo>
                      <a:pt x="37312" y="109764"/>
                      <a:pt x="36171" y="110526"/>
                      <a:pt x="34934" y="11052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8" name="Freeform 62">
                <a:extLst>
                  <a:ext uri="{FF2B5EF4-FFF2-40B4-BE49-F238E27FC236}">
                    <a16:creationId xmlns:a16="http://schemas.microsoft.com/office/drawing/2014/main" id="{7BC5F358-BAB7-29B0-0D2E-B35E5C2851F0}"/>
                  </a:ext>
                </a:extLst>
              </p:cNvPr>
              <p:cNvSpPr/>
              <p:nvPr/>
            </p:nvSpPr>
            <p:spPr>
              <a:xfrm>
                <a:off x="12391096" y="1061025"/>
                <a:ext cx="75856" cy="113466"/>
              </a:xfrm>
              <a:custGeom>
                <a:avLst/>
                <a:gdLst>
                  <a:gd name="connsiteX0" fmla="*/ 36444 w 75856"/>
                  <a:gd name="connsiteY0" fmla="*/ 113467 h 113466"/>
                  <a:gd name="connsiteX1" fmla="*/ 36444 w 75856"/>
                  <a:gd name="connsiteY1" fmla="*/ 113467 h 113466"/>
                  <a:gd name="connsiteX2" fmla="*/ 32165 w 75856"/>
                  <a:gd name="connsiteY2" fmla="*/ 110324 h 113466"/>
                  <a:gd name="connsiteX3" fmla="*/ 214 w 75856"/>
                  <a:gd name="connsiteY3" fmla="*/ 5834 h 113466"/>
                  <a:gd name="connsiteX4" fmla="*/ 3162 w 75856"/>
                  <a:gd name="connsiteY4" fmla="*/ 215 h 113466"/>
                  <a:gd name="connsiteX5" fmla="*/ 8772 w 75856"/>
                  <a:gd name="connsiteY5" fmla="*/ 3167 h 113466"/>
                  <a:gd name="connsiteX6" fmla="*/ 36729 w 75856"/>
                  <a:gd name="connsiteY6" fmla="*/ 94703 h 113466"/>
                  <a:gd name="connsiteX7" fmla="*/ 67064 w 75856"/>
                  <a:gd name="connsiteY7" fmla="*/ 10883 h 113466"/>
                  <a:gd name="connsiteX8" fmla="*/ 72865 w 75856"/>
                  <a:gd name="connsiteY8" fmla="*/ 8216 h 113466"/>
                  <a:gd name="connsiteX9" fmla="*/ 75622 w 75856"/>
                  <a:gd name="connsiteY9" fmla="*/ 14026 h 113466"/>
                  <a:gd name="connsiteX10" fmla="*/ 40723 w 75856"/>
                  <a:gd name="connsiteY10" fmla="*/ 110514 h 113466"/>
                  <a:gd name="connsiteX11" fmla="*/ 36444 w 75856"/>
                  <a:gd name="connsiteY11" fmla="*/ 113467 h 113466"/>
                  <a:gd name="connsiteX12" fmla="*/ 4493 w 75856"/>
                  <a:gd name="connsiteY12" fmla="*/ 2786 h 113466"/>
                  <a:gd name="connsiteX13" fmla="*/ 4018 w 75856"/>
                  <a:gd name="connsiteY13" fmla="*/ 2786 h 113466"/>
                  <a:gd name="connsiteX14" fmla="*/ 2877 w 75856"/>
                  <a:gd name="connsiteY14" fmla="*/ 4882 h 113466"/>
                  <a:gd name="connsiteX15" fmla="*/ 34828 w 75856"/>
                  <a:gd name="connsiteY15" fmla="*/ 109371 h 113466"/>
                  <a:gd name="connsiteX16" fmla="*/ 36349 w 75856"/>
                  <a:gd name="connsiteY16" fmla="*/ 110514 h 113466"/>
                  <a:gd name="connsiteX17" fmla="*/ 36349 w 75856"/>
                  <a:gd name="connsiteY17" fmla="*/ 111943 h 113466"/>
                  <a:gd name="connsiteX18" fmla="*/ 36349 w 75856"/>
                  <a:gd name="connsiteY18" fmla="*/ 110514 h 113466"/>
                  <a:gd name="connsiteX19" fmla="*/ 37871 w 75856"/>
                  <a:gd name="connsiteY19" fmla="*/ 109466 h 113466"/>
                  <a:gd name="connsiteX20" fmla="*/ 72769 w 75856"/>
                  <a:gd name="connsiteY20" fmla="*/ 12978 h 113466"/>
                  <a:gd name="connsiteX21" fmla="*/ 71818 w 75856"/>
                  <a:gd name="connsiteY21" fmla="*/ 10883 h 113466"/>
                  <a:gd name="connsiteX22" fmla="*/ 69726 w 75856"/>
                  <a:gd name="connsiteY22" fmla="*/ 11835 h 113466"/>
                  <a:gd name="connsiteX23" fmla="*/ 36444 w 75856"/>
                  <a:gd name="connsiteY23" fmla="*/ 103656 h 113466"/>
                  <a:gd name="connsiteX24" fmla="*/ 5920 w 75856"/>
                  <a:gd name="connsiteY24" fmla="*/ 3929 h 113466"/>
                  <a:gd name="connsiteX25" fmla="*/ 4303 w 75856"/>
                  <a:gd name="connsiteY25" fmla="*/ 2786 h 1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856" h="113466">
                    <a:moveTo>
                      <a:pt x="36444" y="113467"/>
                    </a:moveTo>
                    <a:lnTo>
                      <a:pt x="36444" y="113467"/>
                    </a:lnTo>
                    <a:cubicBezTo>
                      <a:pt x="34447" y="113467"/>
                      <a:pt x="32831" y="112133"/>
                      <a:pt x="32165" y="110324"/>
                    </a:cubicBezTo>
                    <a:lnTo>
                      <a:pt x="214" y="5834"/>
                    </a:lnTo>
                    <a:cubicBezTo>
                      <a:pt x="-546" y="3453"/>
                      <a:pt x="785" y="881"/>
                      <a:pt x="3162" y="215"/>
                    </a:cubicBezTo>
                    <a:cubicBezTo>
                      <a:pt x="5539" y="-547"/>
                      <a:pt x="8012" y="786"/>
                      <a:pt x="8772" y="3167"/>
                    </a:cubicBezTo>
                    <a:lnTo>
                      <a:pt x="36729" y="94703"/>
                    </a:lnTo>
                    <a:lnTo>
                      <a:pt x="67064" y="10883"/>
                    </a:lnTo>
                    <a:cubicBezTo>
                      <a:pt x="67920" y="8501"/>
                      <a:pt x="70487" y="7358"/>
                      <a:pt x="72865" y="8216"/>
                    </a:cubicBezTo>
                    <a:cubicBezTo>
                      <a:pt x="75242" y="9073"/>
                      <a:pt x="76383" y="11645"/>
                      <a:pt x="75622" y="14026"/>
                    </a:cubicBezTo>
                    <a:lnTo>
                      <a:pt x="40723" y="110514"/>
                    </a:lnTo>
                    <a:cubicBezTo>
                      <a:pt x="40058" y="112324"/>
                      <a:pt x="38346" y="113467"/>
                      <a:pt x="36444" y="113467"/>
                    </a:cubicBezTo>
                    <a:close/>
                    <a:moveTo>
                      <a:pt x="4493" y="2786"/>
                    </a:moveTo>
                    <a:cubicBezTo>
                      <a:pt x="4493" y="2786"/>
                      <a:pt x="4208" y="2786"/>
                      <a:pt x="4018" y="2786"/>
                    </a:cubicBezTo>
                    <a:cubicBezTo>
                      <a:pt x="3162" y="3072"/>
                      <a:pt x="2687" y="4025"/>
                      <a:pt x="2877" y="4882"/>
                    </a:cubicBezTo>
                    <a:lnTo>
                      <a:pt x="34828" y="109371"/>
                    </a:lnTo>
                    <a:cubicBezTo>
                      <a:pt x="35018" y="110038"/>
                      <a:pt x="35684" y="110514"/>
                      <a:pt x="36349" y="110514"/>
                    </a:cubicBezTo>
                    <a:lnTo>
                      <a:pt x="36349" y="111943"/>
                    </a:lnTo>
                    <a:cubicBezTo>
                      <a:pt x="36349" y="111943"/>
                      <a:pt x="36349" y="110514"/>
                      <a:pt x="36349" y="110514"/>
                    </a:cubicBezTo>
                    <a:cubicBezTo>
                      <a:pt x="37015" y="110514"/>
                      <a:pt x="37680" y="110038"/>
                      <a:pt x="37871" y="109466"/>
                    </a:cubicBezTo>
                    <a:lnTo>
                      <a:pt x="72769" y="12978"/>
                    </a:lnTo>
                    <a:cubicBezTo>
                      <a:pt x="73055" y="12121"/>
                      <a:pt x="72674" y="11168"/>
                      <a:pt x="71818" y="10883"/>
                    </a:cubicBezTo>
                    <a:cubicBezTo>
                      <a:pt x="70963" y="10502"/>
                      <a:pt x="70012" y="10978"/>
                      <a:pt x="69726" y="11835"/>
                    </a:cubicBezTo>
                    <a:lnTo>
                      <a:pt x="36444" y="103656"/>
                    </a:lnTo>
                    <a:lnTo>
                      <a:pt x="5920" y="3929"/>
                    </a:lnTo>
                    <a:cubicBezTo>
                      <a:pt x="5730" y="3263"/>
                      <a:pt x="5064" y="2786"/>
                      <a:pt x="4303" y="278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Freeform 63">
                <a:extLst>
                  <a:ext uri="{FF2B5EF4-FFF2-40B4-BE49-F238E27FC236}">
                    <a16:creationId xmlns:a16="http://schemas.microsoft.com/office/drawing/2014/main" id="{46F8109C-97E7-924D-A8A9-99A81E68BA0F}"/>
                  </a:ext>
                </a:extLst>
              </p:cNvPr>
              <p:cNvSpPr/>
              <p:nvPr/>
            </p:nvSpPr>
            <p:spPr>
              <a:xfrm>
                <a:off x="12206897" y="979504"/>
                <a:ext cx="286708" cy="339196"/>
              </a:xfrm>
              <a:custGeom>
                <a:avLst/>
                <a:gdLst>
                  <a:gd name="connsiteX0" fmla="*/ 113855 w 286708"/>
                  <a:gd name="connsiteY0" fmla="*/ 339101 h 339196"/>
                  <a:gd name="connsiteX1" fmla="*/ 113855 w 286708"/>
                  <a:gd name="connsiteY1" fmla="*/ 339101 h 339196"/>
                  <a:gd name="connsiteX2" fmla="*/ 66499 w 286708"/>
                  <a:gd name="connsiteY2" fmla="*/ 339101 h 339196"/>
                  <a:gd name="connsiteX3" fmla="*/ 63551 w 286708"/>
                  <a:gd name="connsiteY3" fmla="*/ 336910 h 339196"/>
                  <a:gd name="connsiteX4" fmla="*/ 125 w 286708"/>
                  <a:gd name="connsiteY4" fmla="*/ 120979 h 339196"/>
                  <a:gd name="connsiteX5" fmla="*/ 315 w 286708"/>
                  <a:gd name="connsiteY5" fmla="*/ 118693 h 339196"/>
                  <a:gd name="connsiteX6" fmla="*/ 58226 w 286708"/>
                  <a:gd name="connsiteY6" fmla="*/ 1726 h 339196"/>
                  <a:gd name="connsiteX7" fmla="*/ 61745 w 286708"/>
                  <a:gd name="connsiteY7" fmla="*/ 106 h 339196"/>
                  <a:gd name="connsiteX8" fmla="*/ 64122 w 286708"/>
                  <a:gd name="connsiteY8" fmla="*/ 3154 h 339196"/>
                  <a:gd name="connsiteX9" fmla="*/ 63171 w 286708"/>
                  <a:gd name="connsiteY9" fmla="*/ 131742 h 339196"/>
                  <a:gd name="connsiteX10" fmla="*/ 116327 w 286708"/>
                  <a:gd name="connsiteY10" fmla="*/ 333005 h 339196"/>
                  <a:gd name="connsiteX11" fmla="*/ 231674 w 286708"/>
                  <a:gd name="connsiteY11" fmla="*/ 333005 h 339196"/>
                  <a:gd name="connsiteX12" fmla="*/ 279600 w 286708"/>
                  <a:gd name="connsiteY12" fmla="*/ 214895 h 339196"/>
                  <a:gd name="connsiteX13" fmla="*/ 220168 w 286708"/>
                  <a:gd name="connsiteY13" fmla="*/ 193654 h 339196"/>
                  <a:gd name="connsiteX14" fmla="*/ 157692 w 286708"/>
                  <a:gd name="connsiteY14" fmla="*/ 190225 h 339196"/>
                  <a:gd name="connsiteX15" fmla="*/ 155315 w 286708"/>
                  <a:gd name="connsiteY15" fmla="*/ 188892 h 339196"/>
                  <a:gd name="connsiteX16" fmla="*/ 154935 w 286708"/>
                  <a:gd name="connsiteY16" fmla="*/ 186225 h 339196"/>
                  <a:gd name="connsiteX17" fmla="*/ 185840 w 286708"/>
                  <a:gd name="connsiteY17" fmla="*/ 85260 h 339196"/>
                  <a:gd name="connsiteX18" fmla="*/ 189168 w 286708"/>
                  <a:gd name="connsiteY18" fmla="*/ 83069 h 339196"/>
                  <a:gd name="connsiteX19" fmla="*/ 256018 w 286708"/>
                  <a:gd name="connsiteY19" fmla="*/ 91070 h 339196"/>
                  <a:gd name="connsiteX20" fmla="*/ 258680 w 286708"/>
                  <a:gd name="connsiteY20" fmla="*/ 93451 h 339196"/>
                  <a:gd name="connsiteX21" fmla="*/ 286637 w 286708"/>
                  <a:gd name="connsiteY21" fmla="*/ 212419 h 339196"/>
                  <a:gd name="connsiteX22" fmla="*/ 286637 w 286708"/>
                  <a:gd name="connsiteY22" fmla="*/ 214133 h 339196"/>
                  <a:gd name="connsiteX23" fmla="*/ 286637 w 286708"/>
                  <a:gd name="connsiteY23" fmla="*/ 214324 h 339196"/>
                  <a:gd name="connsiteX24" fmla="*/ 286637 w 286708"/>
                  <a:gd name="connsiteY24" fmla="*/ 214324 h 339196"/>
                  <a:gd name="connsiteX25" fmla="*/ 236714 w 286708"/>
                  <a:gd name="connsiteY25" fmla="*/ 337291 h 339196"/>
                  <a:gd name="connsiteX26" fmla="*/ 233861 w 286708"/>
                  <a:gd name="connsiteY26" fmla="*/ 339196 h 339196"/>
                  <a:gd name="connsiteX27" fmla="*/ 114140 w 286708"/>
                  <a:gd name="connsiteY27" fmla="*/ 339196 h 339196"/>
                  <a:gd name="connsiteX28" fmla="*/ 114140 w 286708"/>
                  <a:gd name="connsiteY28" fmla="*/ 339196 h 339196"/>
                  <a:gd name="connsiteX29" fmla="*/ 68781 w 286708"/>
                  <a:gd name="connsiteY29" fmla="*/ 332910 h 339196"/>
                  <a:gd name="connsiteX30" fmla="*/ 109861 w 286708"/>
                  <a:gd name="connsiteY30" fmla="*/ 332910 h 339196"/>
                  <a:gd name="connsiteX31" fmla="*/ 56990 w 286708"/>
                  <a:gd name="connsiteY31" fmla="*/ 132790 h 339196"/>
                  <a:gd name="connsiteX32" fmla="*/ 56895 w 286708"/>
                  <a:gd name="connsiteY32" fmla="*/ 131932 h 339196"/>
                  <a:gd name="connsiteX33" fmla="*/ 57751 w 286708"/>
                  <a:gd name="connsiteY33" fmla="*/ 16394 h 339196"/>
                  <a:gd name="connsiteX34" fmla="*/ 6306 w 286708"/>
                  <a:gd name="connsiteY34" fmla="*/ 120312 h 339196"/>
                  <a:gd name="connsiteX35" fmla="*/ 68686 w 286708"/>
                  <a:gd name="connsiteY35" fmla="*/ 332910 h 339196"/>
                  <a:gd name="connsiteX36" fmla="*/ 161876 w 286708"/>
                  <a:gd name="connsiteY36" fmla="*/ 184129 h 339196"/>
                  <a:gd name="connsiteX37" fmla="*/ 220834 w 286708"/>
                  <a:gd name="connsiteY37" fmla="*/ 187368 h 339196"/>
                  <a:gd name="connsiteX38" fmla="*/ 221689 w 286708"/>
                  <a:gd name="connsiteY38" fmla="*/ 187558 h 339196"/>
                  <a:gd name="connsiteX39" fmla="*/ 279220 w 286708"/>
                  <a:gd name="connsiteY39" fmla="*/ 208132 h 339196"/>
                  <a:gd name="connsiteX40" fmla="*/ 253070 w 286708"/>
                  <a:gd name="connsiteY40" fmla="*/ 96785 h 339196"/>
                  <a:gd name="connsiteX41" fmla="*/ 190879 w 286708"/>
                  <a:gd name="connsiteY41" fmla="*/ 89356 h 339196"/>
                  <a:gd name="connsiteX42" fmla="*/ 161876 w 286708"/>
                  <a:gd name="connsiteY42" fmla="*/ 184129 h 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708" h="339196">
                    <a:moveTo>
                      <a:pt x="113855" y="339101"/>
                    </a:moveTo>
                    <a:cubicBezTo>
                      <a:pt x="113855" y="339101"/>
                      <a:pt x="113855" y="339101"/>
                      <a:pt x="113855" y="339101"/>
                    </a:cubicBezTo>
                    <a:lnTo>
                      <a:pt x="66499" y="339101"/>
                    </a:lnTo>
                    <a:cubicBezTo>
                      <a:pt x="65168" y="339101"/>
                      <a:pt x="63932" y="338244"/>
                      <a:pt x="63551" y="336910"/>
                    </a:cubicBezTo>
                    <a:lnTo>
                      <a:pt x="125" y="120979"/>
                    </a:lnTo>
                    <a:cubicBezTo>
                      <a:pt x="-65" y="120217"/>
                      <a:pt x="-65" y="119455"/>
                      <a:pt x="315" y="118693"/>
                    </a:cubicBezTo>
                    <a:lnTo>
                      <a:pt x="58226" y="1726"/>
                    </a:lnTo>
                    <a:cubicBezTo>
                      <a:pt x="58892" y="392"/>
                      <a:pt x="60318" y="-275"/>
                      <a:pt x="61745" y="106"/>
                    </a:cubicBezTo>
                    <a:cubicBezTo>
                      <a:pt x="63171" y="392"/>
                      <a:pt x="64122" y="1726"/>
                      <a:pt x="64122" y="3154"/>
                    </a:cubicBezTo>
                    <a:lnTo>
                      <a:pt x="63171" y="131742"/>
                    </a:lnTo>
                    <a:lnTo>
                      <a:pt x="116327" y="333005"/>
                    </a:lnTo>
                    <a:lnTo>
                      <a:pt x="231674" y="333005"/>
                    </a:lnTo>
                    <a:lnTo>
                      <a:pt x="279600" y="214895"/>
                    </a:lnTo>
                    <a:lnTo>
                      <a:pt x="220168" y="193654"/>
                    </a:lnTo>
                    <a:lnTo>
                      <a:pt x="157692" y="190225"/>
                    </a:lnTo>
                    <a:cubicBezTo>
                      <a:pt x="156741" y="190225"/>
                      <a:pt x="155886" y="189654"/>
                      <a:pt x="155315" y="188892"/>
                    </a:cubicBezTo>
                    <a:cubicBezTo>
                      <a:pt x="154745" y="188130"/>
                      <a:pt x="154649" y="187082"/>
                      <a:pt x="154935" y="186225"/>
                    </a:cubicBezTo>
                    <a:lnTo>
                      <a:pt x="185840" y="85260"/>
                    </a:lnTo>
                    <a:cubicBezTo>
                      <a:pt x="186315" y="83831"/>
                      <a:pt x="187646" y="82879"/>
                      <a:pt x="189168" y="83069"/>
                    </a:cubicBezTo>
                    <a:lnTo>
                      <a:pt x="256018" y="91070"/>
                    </a:lnTo>
                    <a:cubicBezTo>
                      <a:pt x="257349" y="91261"/>
                      <a:pt x="258395" y="92118"/>
                      <a:pt x="258680" y="93451"/>
                    </a:cubicBezTo>
                    <a:lnTo>
                      <a:pt x="286637" y="212419"/>
                    </a:lnTo>
                    <a:cubicBezTo>
                      <a:pt x="286732" y="212990"/>
                      <a:pt x="286732" y="213562"/>
                      <a:pt x="286637" y="214133"/>
                    </a:cubicBezTo>
                    <a:cubicBezTo>
                      <a:pt x="286637" y="214133"/>
                      <a:pt x="286637" y="214228"/>
                      <a:pt x="286637" y="214324"/>
                    </a:cubicBezTo>
                    <a:cubicBezTo>
                      <a:pt x="286637" y="214324"/>
                      <a:pt x="286637" y="214324"/>
                      <a:pt x="286637" y="214324"/>
                    </a:cubicBezTo>
                    <a:lnTo>
                      <a:pt x="236714" y="337291"/>
                    </a:lnTo>
                    <a:cubicBezTo>
                      <a:pt x="236239" y="338434"/>
                      <a:pt x="235097" y="339196"/>
                      <a:pt x="233861" y="339196"/>
                    </a:cubicBezTo>
                    <a:lnTo>
                      <a:pt x="114140" y="339196"/>
                    </a:lnTo>
                    <a:cubicBezTo>
                      <a:pt x="114140" y="339196"/>
                      <a:pt x="114140" y="339196"/>
                      <a:pt x="114140" y="339196"/>
                    </a:cubicBezTo>
                    <a:close/>
                    <a:moveTo>
                      <a:pt x="68781" y="332910"/>
                    </a:moveTo>
                    <a:lnTo>
                      <a:pt x="109861" y="332910"/>
                    </a:lnTo>
                    <a:lnTo>
                      <a:pt x="56990" y="132790"/>
                    </a:lnTo>
                    <a:cubicBezTo>
                      <a:pt x="56990" y="132790"/>
                      <a:pt x="56895" y="132218"/>
                      <a:pt x="56895" y="131932"/>
                    </a:cubicBezTo>
                    <a:lnTo>
                      <a:pt x="57751" y="16394"/>
                    </a:lnTo>
                    <a:lnTo>
                      <a:pt x="6306" y="120312"/>
                    </a:lnTo>
                    <a:lnTo>
                      <a:pt x="68686" y="332910"/>
                    </a:lnTo>
                    <a:close/>
                    <a:moveTo>
                      <a:pt x="161876" y="184129"/>
                    </a:moveTo>
                    <a:lnTo>
                      <a:pt x="220834" y="187368"/>
                    </a:lnTo>
                    <a:cubicBezTo>
                      <a:pt x="220834" y="187368"/>
                      <a:pt x="221404" y="187368"/>
                      <a:pt x="221689" y="187558"/>
                    </a:cubicBezTo>
                    <a:lnTo>
                      <a:pt x="279220" y="208132"/>
                    </a:lnTo>
                    <a:lnTo>
                      <a:pt x="253070" y="96785"/>
                    </a:lnTo>
                    <a:lnTo>
                      <a:pt x="190879" y="89356"/>
                    </a:lnTo>
                    <a:lnTo>
                      <a:pt x="161876" y="184129"/>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0" name="Freeform 64">
                <a:extLst>
                  <a:ext uri="{FF2B5EF4-FFF2-40B4-BE49-F238E27FC236}">
                    <a16:creationId xmlns:a16="http://schemas.microsoft.com/office/drawing/2014/main" id="{15E36428-5A4C-1FAC-9D43-11D5B012DBCE}"/>
                  </a:ext>
                </a:extLst>
              </p:cNvPr>
              <p:cNvSpPr/>
              <p:nvPr/>
            </p:nvSpPr>
            <p:spPr>
              <a:xfrm>
                <a:off x="12205530" y="978155"/>
                <a:ext cx="289573" cy="342068"/>
              </a:xfrm>
              <a:custGeom>
                <a:avLst/>
                <a:gdLst>
                  <a:gd name="connsiteX0" fmla="*/ 235038 w 289573"/>
                  <a:gd name="connsiteY0" fmla="*/ 341878 h 342068"/>
                  <a:gd name="connsiteX1" fmla="*/ 67866 w 289573"/>
                  <a:gd name="connsiteY1" fmla="*/ 341878 h 342068"/>
                  <a:gd name="connsiteX2" fmla="*/ 63587 w 289573"/>
                  <a:gd name="connsiteY2" fmla="*/ 338640 h 342068"/>
                  <a:gd name="connsiteX3" fmla="*/ 161 w 289573"/>
                  <a:gd name="connsiteY3" fmla="*/ 122708 h 342068"/>
                  <a:gd name="connsiteX4" fmla="*/ 446 w 289573"/>
                  <a:gd name="connsiteY4" fmla="*/ 119470 h 342068"/>
                  <a:gd name="connsiteX5" fmla="*/ 58357 w 289573"/>
                  <a:gd name="connsiteY5" fmla="*/ 2503 h 342068"/>
                  <a:gd name="connsiteX6" fmla="*/ 63397 w 289573"/>
                  <a:gd name="connsiteY6" fmla="*/ 121 h 342068"/>
                  <a:gd name="connsiteX7" fmla="*/ 66915 w 289573"/>
                  <a:gd name="connsiteY7" fmla="*/ 4503 h 342068"/>
                  <a:gd name="connsiteX8" fmla="*/ 65964 w 289573"/>
                  <a:gd name="connsiteY8" fmla="*/ 132900 h 342068"/>
                  <a:gd name="connsiteX9" fmla="*/ 118835 w 289573"/>
                  <a:gd name="connsiteY9" fmla="*/ 332925 h 342068"/>
                  <a:gd name="connsiteX10" fmla="*/ 232090 w 289573"/>
                  <a:gd name="connsiteY10" fmla="*/ 332925 h 342068"/>
                  <a:gd name="connsiteX11" fmla="*/ 279065 w 289573"/>
                  <a:gd name="connsiteY11" fmla="*/ 217101 h 342068"/>
                  <a:gd name="connsiteX12" fmla="*/ 221250 w 289573"/>
                  <a:gd name="connsiteY12" fmla="*/ 196432 h 342068"/>
                  <a:gd name="connsiteX13" fmla="*/ 159059 w 289573"/>
                  <a:gd name="connsiteY13" fmla="*/ 193003 h 342068"/>
                  <a:gd name="connsiteX14" fmla="*/ 155636 w 289573"/>
                  <a:gd name="connsiteY14" fmla="*/ 191098 h 342068"/>
                  <a:gd name="connsiteX15" fmla="*/ 155065 w 289573"/>
                  <a:gd name="connsiteY15" fmla="*/ 187192 h 342068"/>
                  <a:gd name="connsiteX16" fmla="*/ 185970 w 289573"/>
                  <a:gd name="connsiteY16" fmla="*/ 86227 h 342068"/>
                  <a:gd name="connsiteX17" fmla="*/ 190820 w 289573"/>
                  <a:gd name="connsiteY17" fmla="*/ 83084 h 342068"/>
                  <a:gd name="connsiteX18" fmla="*/ 257670 w 289573"/>
                  <a:gd name="connsiteY18" fmla="*/ 91085 h 342068"/>
                  <a:gd name="connsiteX19" fmla="*/ 261473 w 289573"/>
                  <a:gd name="connsiteY19" fmla="*/ 94514 h 342068"/>
                  <a:gd name="connsiteX20" fmla="*/ 289430 w 289573"/>
                  <a:gd name="connsiteY20" fmla="*/ 213481 h 342068"/>
                  <a:gd name="connsiteX21" fmla="*/ 289430 w 289573"/>
                  <a:gd name="connsiteY21" fmla="*/ 215958 h 342068"/>
                  <a:gd name="connsiteX22" fmla="*/ 289145 w 289573"/>
                  <a:gd name="connsiteY22" fmla="*/ 216529 h 342068"/>
                  <a:gd name="connsiteX23" fmla="*/ 239412 w 289573"/>
                  <a:gd name="connsiteY23" fmla="*/ 339211 h 342068"/>
                  <a:gd name="connsiteX24" fmla="*/ 235228 w 289573"/>
                  <a:gd name="connsiteY24" fmla="*/ 342069 h 342068"/>
                  <a:gd name="connsiteX25" fmla="*/ 62350 w 289573"/>
                  <a:gd name="connsiteY25" fmla="*/ 2788 h 342068"/>
                  <a:gd name="connsiteX26" fmla="*/ 60829 w 289573"/>
                  <a:gd name="connsiteY26" fmla="*/ 3741 h 342068"/>
                  <a:gd name="connsiteX27" fmla="*/ 2918 w 289573"/>
                  <a:gd name="connsiteY27" fmla="*/ 120708 h 342068"/>
                  <a:gd name="connsiteX28" fmla="*/ 2823 w 289573"/>
                  <a:gd name="connsiteY28" fmla="*/ 121946 h 342068"/>
                  <a:gd name="connsiteX29" fmla="*/ 66154 w 289573"/>
                  <a:gd name="connsiteY29" fmla="*/ 337878 h 342068"/>
                  <a:gd name="connsiteX30" fmla="*/ 67771 w 289573"/>
                  <a:gd name="connsiteY30" fmla="*/ 339116 h 342068"/>
                  <a:gd name="connsiteX31" fmla="*/ 234943 w 289573"/>
                  <a:gd name="connsiteY31" fmla="*/ 339116 h 342068"/>
                  <a:gd name="connsiteX32" fmla="*/ 236464 w 289573"/>
                  <a:gd name="connsiteY32" fmla="*/ 338068 h 342068"/>
                  <a:gd name="connsiteX33" fmla="*/ 286388 w 289573"/>
                  <a:gd name="connsiteY33" fmla="*/ 215005 h 342068"/>
                  <a:gd name="connsiteX34" fmla="*/ 286388 w 289573"/>
                  <a:gd name="connsiteY34" fmla="*/ 214053 h 342068"/>
                  <a:gd name="connsiteX35" fmla="*/ 258431 w 289573"/>
                  <a:gd name="connsiteY35" fmla="*/ 95086 h 342068"/>
                  <a:gd name="connsiteX36" fmla="*/ 257004 w 289573"/>
                  <a:gd name="connsiteY36" fmla="*/ 93847 h 342068"/>
                  <a:gd name="connsiteX37" fmla="*/ 190154 w 289573"/>
                  <a:gd name="connsiteY37" fmla="*/ 85846 h 342068"/>
                  <a:gd name="connsiteX38" fmla="*/ 188347 w 289573"/>
                  <a:gd name="connsiteY38" fmla="*/ 86989 h 342068"/>
                  <a:gd name="connsiteX39" fmla="*/ 157443 w 289573"/>
                  <a:gd name="connsiteY39" fmla="*/ 187954 h 342068"/>
                  <a:gd name="connsiteX40" fmla="*/ 157633 w 289573"/>
                  <a:gd name="connsiteY40" fmla="*/ 189383 h 342068"/>
                  <a:gd name="connsiteX41" fmla="*/ 158869 w 289573"/>
                  <a:gd name="connsiteY41" fmla="*/ 190050 h 342068"/>
                  <a:gd name="connsiteX42" fmla="*/ 221725 w 289573"/>
                  <a:gd name="connsiteY42" fmla="*/ 193574 h 342068"/>
                  <a:gd name="connsiteX43" fmla="*/ 282584 w 289573"/>
                  <a:gd name="connsiteY43" fmla="*/ 215386 h 342068"/>
                  <a:gd name="connsiteX44" fmla="*/ 282013 w 289573"/>
                  <a:gd name="connsiteY44" fmla="*/ 216815 h 342068"/>
                  <a:gd name="connsiteX45" fmla="*/ 233707 w 289573"/>
                  <a:gd name="connsiteY45" fmla="*/ 335782 h 342068"/>
                  <a:gd name="connsiteX46" fmla="*/ 116363 w 289573"/>
                  <a:gd name="connsiteY46" fmla="*/ 335782 h 342068"/>
                  <a:gd name="connsiteX47" fmla="*/ 116078 w 289573"/>
                  <a:gd name="connsiteY47" fmla="*/ 334735 h 342068"/>
                  <a:gd name="connsiteX48" fmla="*/ 62826 w 289573"/>
                  <a:gd name="connsiteY48" fmla="*/ 133090 h 342068"/>
                  <a:gd name="connsiteX49" fmla="*/ 63777 w 289573"/>
                  <a:gd name="connsiteY49" fmla="*/ 4503 h 342068"/>
                  <a:gd name="connsiteX50" fmla="*/ 62541 w 289573"/>
                  <a:gd name="connsiteY50" fmla="*/ 2884 h 342068"/>
                  <a:gd name="connsiteX51" fmla="*/ 62160 w 289573"/>
                  <a:gd name="connsiteY51" fmla="*/ 2884 h 342068"/>
                  <a:gd name="connsiteX52" fmla="*/ 113130 w 289573"/>
                  <a:gd name="connsiteY52" fmla="*/ 335687 h 342068"/>
                  <a:gd name="connsiteX53" fmla="*/ 69102 w 289573"/>
                  <a:gd name="connsiteY53" fmla="*/ 335687 h 342068"/>
                  <a:gd name="connsiteX54" fmla="*/ 68817 w 289573"/>
                  <a:gd name="connsiteY54" fmla="*/ 334639 h 342068"/>
                  <a:gd name="connsiteX55" fmla="*/ 6246 w 289573"/>
                  <a:gd name="connsiteY55" fmla="*/ 121565 h 342068"/>
                  <a:gd name="connsiteX56" fmla="*/ 6532 w 289573"/>
                  <a:gd name="connsiteY56" fmla="*/ 121089 h 342068"/>
                  <a:gd name="connsiteX57" fmla="*/ 60734 w 289573"/>
                  <a:gd name="connsiteY57" fmla="*/ 11647 h 342068"/>
                  <a:gd name="connsiteX58" fmla="*/ 59783 w 289573"/>
                  <a:gd name="connsiteY58" fmla="*/ 133376 h 342068"/>
                  <a:gd name="connsiteX59" fmla="*/ 59783 w 289573"/>
                  <a:gd name="connsiteY59" fmla="*/ 133852 h 342068"/>
                  <a:gd name="connsiteX60" fmla="*/ 113130 w 289573"/>
                  <a:gd name="connsiteY60" fmla="*/ 335687 h 342068"/>
                  <a:gd name="connsiteX61" fmla="*/ 71194 w 289573"/>
                  <a:gd name="connsiteY61" fmla="*/ 332830 h 342068"/>
                  <a:gd name="connsiteX62" fmla="*/ 109326 w 289573"/>
                  <a:gd name="connsiteY62" fmla="*/ 332830 h 342068"/>
                  <a:gd name="connsiteX63" fmla="*/ 56930 w 289573"/>
                  <a:gd name="connsiteY63" fmla="*/ 134519 h 342068"/>
                  <a:gd name="connsiteX64" fmla="*/ 56740 w 289573"/>
                  <a:gd name="connsiteY64" fmla="*/ 133376 h 342068"/>
                  <a:gd name="connsiteX65" fmla="*/ 57596 w 289573"/>
                  <a:gd name="connsiteY65" fmla="*/ 24029 h 342068"/>
                  <a:gd name="connsiteX66" fmla="*/ 9194 w 289573"/>
                  <a:gd name="connsiteY66" fmla="*/ 121851 h 342068"/>
                  <a:gd name="connsiteX67" fmla="*/ 71099 w 289573"/>
                  <a:gd name="connsiteY67" fmla="*/ 332830 h 342068"/>
                  <a:gd name="connsiteX68" fmla="*/ 282584 w 289573"/>
                  <a:gd name="connsiteY68" fmla="*/ 211767 h 342068"/>
                  <a:gd name="connsiteX69" fmla="*/ 222581 w 289573"/>
                  <a:gd name="connsiteY69" fmla="*/ 190336 h 342068"/>
                  <a:gd name="connsiteX70" fmla="*/ 222105 w 289573"/>
                  <a:gd name="connsiteY70" fmla="*/ 190336 h 342068"/>
                  <a:gd name="connsiteX71" fmla="*/ 161341 w 289573"/>
                  <a:gd name="connsiteY71" fmla="*/ 187002 h 342068"/>
                  <a:gd name="connsiteX72" fmla="*/ 161912 w 289573"/>
                  <a:gd name="connsiteY72" fmla="*/ 185287 h 342068"/>
                  <a:gd name="connsiteX73" fmla="*/ 191296 w 289573"/>
                  <a:gd name="connsiteY73" fmla="*/ 89371 h 342068"/>
                  <a:gd name="connsiteX74" fmla="*/ 255673 w 289573"/>
                  <a:gd name="connsiteY74" fmla="*/ 97086 h 342068"/>
                  <a:gd name="connsiteX75" fmla="*/ 255863 w 289573"/>
                  <a:gd name="connsiteY75" fmla="*/ 98038 h 342068"/>
                  <a:gd name="connsiteX76" fmla="*/ 282584 w 289573"/>
                  <a:gd name="connsiteY76" fmla="*/ 211957 h 342068"/>
                  <a:gd name="connsiteX77" fmla="*/ 165145 w 289573"/>
                  <a:gd name="connsiteY77" fmla="*/ 184144 h 342068"/>
                  <a:gd name="connsiteX78" fmla="*/ 222295 w 289573"/>
                  <a:gd name="connsiteY78" fmla="*/ 187288 h 342068"/>
                  <a:gd name="connsiteX79" fmla="*/ 223532 w 289573"/>
                  <a:gd name="connsiteY79" fmla="*/ 187573 h 342068"/>
                  <a:gd name="connsiteX80" fmla="*/ 278590 w 289573"/>
                  <a:gd name="connsiteY80" fmla="*/ 207290 h 342068"/>
                  <a:gd name="connsiteX81" fmla="*/ 253295 w 289573"/>
                  <a:gd name="connsiteY81" fmla="*/ 99467 h 342068"/>
                  <a:gd name="connsiteX82" fmla="*/ 193292 w 289573"/>
                  <a:gd name="connsiteY82" fmla="*/ 92323 h 342068"/>
                  <a:gd name="connsiteX83" fmla="*/ 165145 w 289573"/>
                  <a:gd name="connsiteY83" fmla="*/ 184144 h 3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9573" h="342068">
                    <a:moveTo>
                      <a:pt x="235038" y="341878"/>
                    </a:moveTo>
                    <a:lnTo>
                      <a:pt x="67866" y="341878"/>
                    </a:lnTo>
                    <a:cubicBezTo>
                      <a:pt x="65869" y="341878"/>
                      <a:pt x="64157" y="340545"/>
                      <a:pt x="63587" y="338640"/>
                    </a:cubicBezTo>
                    <a:lnTo>
                      <a:pt x="161" y="122708"/>
                    </a:lnTo>
                    <a:cubicBezTo>
                      <a:pt x="-125" y="121565"/>
                      <a:pt x="-30" y="120422"/>
                      <a:pt x="446" y="119470"/>
                    </a:cubicBezTo>
                    <a:lnTo>
                      <a:pt x="58357" y="2503"/>
                    </a:lnTo>
                    <a:cubicBezTo>
                      <a:pt x="59308" y="598"/>
                      <a:pt x="61495" y="-355"/>
                      <a:pt x="63397" y="121"/>
                    </a:cubicBezTo>
                    <a:cubicBezTo>
                      <a:pt x="65489" y="598"/>
                      <a:pt x="66915" y="2407"/>
                      <a:pt x="66915" y="4503"/>
                    </a:cubicBezTo>
                    <a:lnTo>
                      <a:pt x="65964" y="132900"/>
                    </a:lnTo>
                    <a:lnTo>
                      <a:pt x="118835" y="332925"/>
                    </a:lnTo>
                    <a:lnTo>
                      <a:pt x="232090" y="332925"/>
                    </a:lnTo>
                    <a:lnTo>
                      <a:pt x="279065" y="217101"/>
                    </a:lnTo>
                    <a:lnTo>
                      <a:pt x="221250" y="196432"/>
                    </a:lnTo>
                    <a:lnTo>
                      <a:pt x="159059" y="193003"/>
                    </a:lnTo>
                    <a:cubicBezTo>
                      <a:pt x="157728" y="193003"/>
                      <a:pt x="156397" y="192241"/>
                      <a:pt x="155636" y="191098"/>
                    </a:cubicBezTo>
                    <a:cubicBezTo>
                      <a:pt x="154875" y="189955"/>
                      <a:pt x="154590" y="188526"/>
                      <a:pt x="155065" y="187192"/>
                    </a:cubicBezTo>
                    <a:lnTo>
                      <a:pt x="185970" y="86227"/>
                    </a:lnTo>
                    <a:cubicBezTo>
                      <a:pt x="186636" y="84132"/>
                      <a:pt x="188633" y="82798"/>
                      <a:pt x="190820" y="83084"/>
                    </a:cubicBezTo>
                    <a:lnTo>
                      <a:pt x="257670" y="91085"/>
                    </a:lnTo>
                    <a:cubicBezTo>
                      <a:pt x="259572" y="91276"/>
                      <a:pt x="261093" y="92704"/>
                      <a:pt x="261473" y="94514"/>
                    </a:cubicBezTo>
                    <a:lnTo>
                      <a:pt x="289430" y="213481"/>
                    </a:lnTo>
                    <a:cubicBezTo>
                      <a:pt x="289621" y="214243"/>
                      <a:pt x="289621" y="215101"/>
                      <a:pt x="289430" y="215958"/>
                    </a:cubicBezTo>
                    <a:lnTo>
                      <a:pt x="289145" y="216529"/>
                    </a:lnTo>
                    <a:lnTo>
                      <a:pt x="239412" y="339211"/>
                    </a:lnTo>
                    <a:cubicBezTo>
                      <a:pt x="238746" y="340926"/>
                      <a:pt x="237035" y="342069"/>
                      <a:pt x="235228" y="342069"/>
                    </a:cubicBezTo>
                    <a:close/>
                    <a:moveTo>
                      <a:pt x="62350" y="2788"/>
                    </a:moveTo>
                    <a:cubicBezTo>
                      <a:pt x="61780" y="2788"/>
                      <a:pt x="61115" y="3169"/>
                      <a:pt x="60829" y="3741"/>
                    </a:cubicBezTo>
                    <a:lnTo>
                      <a:pt x="2918" y="120708"/>
                    </a:lnTo>
                    <a:cubicBezTo>
                      <a:pt x="2918" y="120708"/>
                      <a:pt x="2728" y="121470"/>
                      <a:pt x="2823" y="121946"/>
                    </a:cubicBezTo>
                    <a:lnTo>
                      <a:pt x="66154" y="337878"/>
                    </a:lnTo>
                    <a:cubicBezTo>
                      <a:pt x="66344" y="338545"/>
                      <a:pt x="67010" y="339116"/>
                      <a:pt x="67771" y="339116"/>
                    </a:cubicBezTo>
                    <a:lnTo>
                      <a:pt x="234943" y="339116"/>
                    </a:lnTo>
                    <a:cubicBezTo>
                      <a:pt x="235608" y="339116"/>
                      <a:pt x="236179" y="338735"/>
                      <a:pt x="236464" y="338068"/>
                    </a:cubicBezTo>
                    <a:lnTo>
                      <a:pt x="286388" y="215005"/>
                    </a:lnTo>
                    <a:cubicBezTo>
                      <a:pt x="286388" y="215005"/>
                      <a:pt x="286483" y="214339"/>
                      <a:pt x="286388" y="214053"/>
                    </a:cubicBezTo>
                    <a:lnTo>
                      <a:pt x="258431" y="95086"/>
                    </a:lnTo>
                    <a:cubicBezTo>
                      <a:pt x="258240" y="94419"/>
                      <a:pt x="257670" y="93943"/>
                      <a:pt x="257004" y="93847"/>
                    </a:cubicBezTo>
                    <a:lnTo>
                      <a:pt x="190154" y="85846"/>
                    </a:lnTo>
                    <a:cubicBezTo>
                      <a:pt x="189394" y="85751"/>
                      <a:pt x="188633" y="86227"/>
                      <a:pt x="188347" y="86989"/>
                    </a:cubicBezTo>
                    <a:lnTo>
                      <a:pt x="157443" y="187954"/>
                    </a:lnTo>
                    <a:cubicBezTo>
                      <a:pt x="157252" y="188431"/>
                      <a:pt x="157443" y="189002"/>
                      <a:pt x="157633" y="189383"/>
                    </a:cubicBezTo>
                    <a:cubicBezTo>
                      <a:pt x="157918" y="189764"/>
                      <a:pt x="158394" y="190050"/>
                      <a:pt x="158869" y="190050"/>
                    </a:cubicBezTo>
                    <a:lnTo>
                      <a:pt x="221725" y="193574"/>
                    </a:lnTo>
                    <a:lnTo>
                      <a:pt x="282584" y="215386"/>
                    </a:lnTo>
                    <a:lnTo>
                      <a:pt x="282013" y="216815"/>
                    </a:lnTo>
                    <a:lnTo>
                      <a:pt x="233707" y="335782"/>
                    </a:lnTo>
                    <a:lnTo>
                      <a:pt x="116363" y="335782"/>
                    </a:lnTo>
                    <a:lnTo>
                      <a:pt x="116078" y="334735"/>
                    </a:lnTo>
                    <a:lnTo>
                      <a:pt x="62826" y="133090"/>
                    </a:lnTo>
                    <a:lnTo>
                      <a:pt x="63777" y="4503"/>
                    </a:lnTo>
                    <a:cubicBezTo>
                      <a:pt x="63777" y="3741"/>
                      <a:pt x="63301" y="3074"/>
                      <a:pt x="62541" y="2884"/>
                    </a:cubicBezTo>
                    <a:cubicBezTo>
                      <a:pt x="62446" y="2884"/>
                      <a:pt x="62256" y="2884"/>
                      <a:pt x="62160" y="2884"/>
                    </a:cubicBezTo>
                    <a:close/>
                    <a:moveTo>
                      <a:pt x="113130" y="335687"/>
                    </a:moveTo>
                    <a:lnTo>
                      <a:pt x="69102" y="335687"/>
                    </a:lnTo>
                    <a:lnTo>
                      <a:pt x="68817" y="334639"/>
                    </a:lnTo>
                    <a:lnTo>
                      <a:pt x="6246" y="121565"/>
                    </a:lnTo>
                    <a:lnTo>
                      <a:pt x="6532" y="121089"/>
                    </a:lnTo>
                    <a:lnTo>
                      <a:pt x="60734" y="11647"/>
                    </a:lnTo>
                    <a:lnTo>
                      <a:pt x="59783" y="133376"/>
                    </a:lnTo>
                    <a:cubicBezTo>
                      <a:pt x="59783" y="133376"/>
                      <a:pt x="59783" y="133662"/>
                      <a:pt x="59783" y="133852"/>
                    </a:cubicBezTo>
                    <a:lnTo>
                      <a:pt x="113130" y="335687"/>
                    </a:lnTo>
                    <a:close/>
                    <a:moveTo>
                      <a:pt x="71194" y="332830"/>
                    </a:moveTo>
                    <a:lnTo>
                      <a:pt x="109326" y="332830"/>
                    </a:lnTo>
                    <a:lnTo>
                      <a:pt x="56930" y="134519"/>
                    </a:lnTo>
                    <a:cubicBezTo>
                      <a:pt x="56930" y="134519"/>
                      <a:pt x="56740" y="133757"/>
                      <a:pt x="56740" y="133376"/>
                    </a:cubicBezTo>
                    <a:lnTo>
                      <a:pt x="57596" y="24029"/>
                    </a:lnTo>
                    <a:lnTo>
                      <a:pt x="9194" y="121851"/>
                    </a:lnTo>
                    <a:lnTo>
                      <a:pt x="71099" y="332830"/>
                    </a:lnTo>
                    <a:close/>
                    <a:moveTo>
                      <a:pt x="282584" y="211767"/>
                    </a:moveTo>
                    <a:lnTo>
                      <a:pt x="222581" y="190336"/>
                    </a:lnTo>
                    <a:cubicBezTo>
                      <a:pt x="222581" y="190336"/>
                      <a:pt x="222295" y="190336"/>
                      <a:pt x="222105" y="190336"/>
                    </a:cubicBezTo>
                    <a:lnTo>
                      <a:pt x="161341" y="187002"/>
                    </a:lnTo>
                    <a:lnTo>
                      <a:pt x="161912" y="185287"/>
                    </a:lnTo>
                    <a:lnTo>
                      <a:pt x="191296" y="89371"/>
                    </a:lnTo>
                    <a:lnTo>
                      <a:pt x="255673" y="97086"/>
                    </a:lnTo>
                    <a:lnTo>
                      <a:pt x="255863" y="98038"/>
                    </a:lnTo>
                    <a:lnTo>
                      <a:pt x="282584" y="211957"/>
                    </a:lnTo>
                    <a:close/>
                    <a:moveTo>
                      <a:pt x="165145" y="184144"/>
                    </a:moveTo>
                    <a:lnTo>
                      <a:pt x="222295" y="187288"/>
                    </a:lnTo>
                    <a:cubicBezTo>
                      <a:pt x="222295" y="187288"/>
                      <a:pt x="223151" y="187383"/>
                      <a:pt x="223532" y="187573"/>
                    </a:cubicBezTo>
                    <a:lnTo>
                      <a:pt x="278590" y="207290"/>
                    </a:lnTo>
                    <a:lnTo>
                      <a:pt x="253295" y="99467"/>
                    </a:lnTo>
                    <a:lnTo>
                      <a:pt x="193292" y="92323"/>
                    </a:lnTo>
                    <a:lnTo>
                      <a:pt x="165145" y="184144"/>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1" name="Freeform 65">
                <a:extLst>
                  <a:ext uri="{FF2B5EF4-FFF2-40B4-BE49-F238E27FC236}">
                    <a16:creationId xmlns:a16="http://schemas.microsoft.com/office/drawing/2014/main" id="{B7353635-8585-C737-4291-74F350339885}"/>
                  </a:ext>
                </a:extLst>
              </p:cNvPr>
              <p:cNvSpPr/>
              <p:nvPr/>
            </p:nvSpPr>
            <p:spPr>
              <a:xfrm>
                <a:off x="12347168" y="1037979"/>
                <a:ext cx="38075" cy="280625"/>
              </a:xfrm>
              <a:custGeom>
                <a:avLst/>
                <a:gdLst>
                  <a:gd name="connsiteX0" fmla="*/ 35013 w 38075"/>
                  <a:gd name="connsiteY0" fmla="*/ 280626 h 280625"/>
                  <a:gd name="connsiteX1" fmla="*/ 31970 w 38075"/>
                  <a:gd name="connsiteY1" fmla="*/ 277864 h 280625"/>
                  <a:gd name="connsiteX2" fmla="*/ 19 w 38075"/>
                  <a:gd name="connsiteY2" fmla="*/ 3448 h 280625"/>
                  <a:gd name="connsiteX3" fmla="*/ 2682 w 38075"/>
                  <a:gd name="connsiteY3" fmla="*/ 19 h 280625"/>
                  <a:gd name="connsiteX4" fmla="*/ 6105 w 38075"/>
                  <a:gd name="connsiteY4" fmla="*/ 2686 h 280625"/>
                  <a:gd name="connsiteX5" fmla="*/ 38056 w 38075"/>
                  <a:gd name="connsiteY5" fmla="*/ 277102 h 280625"/>
                  <a:gd name="connsiteX6" fmla="*/ 35394 w 38075"/>
                  <a:gd name="connsiteY6" fmla="*/ 280531 h 280625"/>
                  <a:gd name="connsiteX7" fmla="*/ 35013 w 38075"/>
                  <a:gd name="connsiteY7" fmla="*/ 280531 h 28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75" h="280625">
                    <a:moveTo>
                      <a:pt x="35013" y="280626"/>
                    </a:moveTo>
                    <a:cubicBezTo>
                      <a:pt x="33492" y="280626"/>
                      <a:pt x="32160" y="279483"/>
                      <a:pt x="31970" y="277864"/>
                    </a:cubicBezTo>
                    <a:lnTo>
                      <a:pt x="19" y="3448"/>
                    </a:lnTo>
                    <a:cubicBezTo>
                      <a:pt x="-171" y="1734"/>
                      <a:pt x="1065" y="210"/>
                      <a:pt x="2682" y="19"/>
                    </a:cubicBezTo>
                    <a:cubicBezTo>
                      <a:pt x="4394" y="-171"/>
                      <a:pt x="5915" y="1067"/>
                      <a:pt x="6105" y="2686"/>
                    </a:cubicBezTo>
                    <a:lnTo>
                      <a:pt x="38056" y="277102"/>
                    </a:lnTo>
                    <a:cubicBezTo>
                      <a:pt x="38246" y="278816"/>
                      <a:pt x="37010" y="280340"/>
                      <a:pt x="35394" y="280531"/>
                    </a:cubicBezTo>
                    <a:cubicBezTo>
                      <a:pt x="35298" y="280531"/>
                      <a:pt x="35108" y="280531"/>
                      <a:pt x="35013" y="280531"/>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2" name="Freeform 66">
                <a:extLst>
                  <a:ext uri="{FF2B5EF4-FFF2-40B4-BE49-F238E27FC236}">
                    <a16:creationId xmlns:a16="http://schemas.microsoft.com/office/drawing/2014/main" id="{B847253D-66D8-86A8-F559-D19A72FCD6F8}"/>
                  </a:ext>
                </a:extLst>
              </p:cNvPr>
              <p:cNvSpPr/>
              <p:nvPr/>
            </p:nvSpPr>
            <p:spPr>
              <a:xfrm>
                <a:off x="12345744" y="1036521"/>
                <a:ext cx="41019" cy="283512"/>
              </a:xfrm>
              <a:custGeom>
                <a:avLst/>
                <a:gdLst>
                  <a:gd name="connsiteX0" fmla="*/ 36438 w 41019"/>
                  <a:gd name="connsiteY0" fmla="*/ 283513 h 283512"/>
                  <a:gd name="connsiteX1" fmla="*/ 31969 w 41019"/>
                  <a:gd name="connsiteY1" fmla="*/ 279512 h 283512"/>
                  <a:gd name="connsiteX2" fmla="*/ 18 w 41019"/>
                  <a:gd name="connsiteY2" fmla="*/ 5097 h 283512"/>
                  <a:gd name="connsiteX3" fmla="*/ 969 w 41019"/>
                  <a:gd name="connsiteY3" fmla="*/ 1763 h 283512"/>
                  <a:gd name="connsiteX4" fmla="*/ 4012 w 41019"/>
                  <a:gd name="connsiteY4" fmla="*/ 49 h 283512"/>
                  <a:gd name="connsiteX5" fmla="*/ 7340 w 41019"/>
                  <a:gd name="connsiteY5" fmla="*/ 1001 h 283512"/>
                  <a:gd name="connsiteX6" fmla="*/ 9051 w 41019"/>
                  <a:gd name="connsiteY6" fmla="*/ 4049 h 283512"/>
                  <a:gd name="connsiteX7" fmla="*/ 41002 w 41019"/>
                  <a:gd name="connsiteY7" fmla="*/ 278464 h 283512"/>
                  <a:gd name="connsiteX8" fmla="*/ 40052 w 41019"/>
                  <a:gd name="connsiteY8" fmla="*/ 281798 h 283512"/>
                  <a:gd name="connsiteX9" fmla="*/ 37009 w 41019"/>
                  <a:gd name="connsiteY9" fmla="*/ 283513 h 283512"/>
                  <a:gd name="connsiteX10" fmla="*/ 36438 w 41019"/>
                  <a:gd name="connsiteY10" fmla="*/ 283513 h 283512"/>
                  <a:gd name="connsiteX11" fmla="*/ 4487 w 41019"/>
                  <a:gd name="connsiteY11" fmla="*/ 2906 h 283512"/>
                  <a:gd name="connsiteX12" fmla="*/ 4297 w 41019"/>
                  <a:gd name="connsiteY12" fmla="*/ 2906 h 283512"/>
                  <a:gd name="connsiteX13" fmla="*/ 3156 w 41019"/>
                  <a:gd name="connsiteY13" fmla="*/ 3478 h 283512"/>
                  <a:gd name="connsiteX14" fmla="*/ 2775 w 41019"/>
                  <a:gd name="connsiteY14" fmla="*/ 4716 h 283512"/>
                  <a:gd name="connsiteX15" fmla="*/ 34726 w 41019"/>
                  <a:gd name="connsiteY15" fmla="*/ 279131 h 283512"/>
                  <a:gd name="connsiteX16" fmla="*/ 36343 w 41019"/>
                  <a:gd name="connsiteY16" fmla="*/ 280560 h 283512"/>
                  <a:gd name="connsiteX17" fmla="*/ 36533 w 41019"/>
                  <a:gd name="connsiteY17" fmla="*/ 280560 h 283512"/>
                  <a:gd name="connsiteX18" fmla="*/ 37674 w 41019"/>
                  <a:gd name="connsiteY18" fmla="*/ 279893 h 283512"/>
                  <a:gd name="connsiteX19" fmla="*/ 38054 w 41019"/>
                  <a:gd name="connsiteY19" fmla="*/ 278655 h 283512"/>
                  <a:gd name="connsiteX20" fmla="*/ 6104 w 41019"/>
                  <a:gd name="connsiteY20" fmla="*/ 4240 h 283512"/>
                  <a:gd name="connsiteX21" fmla="*/ 5533 w 41019"/>
                  <a:gd name="connsiteY21" fmla="*/ 3097 h 283512"/>
                  <a:gd name="connsiteX22" fmla="*/ 4487 w 41019"/>
                  <a:gd name="connsiteY22" fmla="*/ 271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019" h="283512">
                    <a:moveTo>
                      <a:pt x="36438" y="283513"/>
                    </a:moveTo>
                    <a:cubicBezTo>
                      <a:pt x="34156" y="283513"/>
                      <a:pt x="32254" y="281798"/>
                      <a:pt x="31969" y="279512"/>
                    </a:cubicBezTo>
                    <a:lnTo>
                      <a:pt x="18" y="5097"/>
                    </a:lnTo>
                    <a:cubicBezTo>
                      <a:pt x="-77" y="3859"/>
                      <a:pt x="208" y="2716"/>
                      <a:pt x="969" y="1763"/>
                    </a:cubicBezTo>
                    <a:cubicBezTo>
                      <a:pt x="1729" y="811"/>
                      <a:pt x="2775" y="239"/>
                      <a:pt x="4012" y="49"/>
                    </a:cubicBezTo>
                    <a:cubicBezTo>
                      <a:pt x="5248" y="-142"/>
                      <a:pt x="6389" y="239"/>
                      <a:pt x="7340" y="1001"/>
                    </a:cubicBezTo>
                    <a:cubicBezTo>
                      <a:pt x="8291" y="1763"/>
                      <a:pt x="8861" y="2811"/>
                      <a:pt x="9051" y="4049"/>
                    </a:cubicBezTo>
                    <a:lnTo>
                      <a:pt x="41002" y="278464"/>
                    </a:lnTo>
                    <a:cubicBezTo>
                      <a:pt x="41097" y="279607"/>
                      <a:pt x="40812" y="280846"/>
                      <a:pt x="40052" y="281798"/>
                    </a:cubicBezTo>
                    <a:cubicBezTo>
                      <a:pt x="39291" y="282751"/>
                      <a:pt x="38245" y="283322"/>
                      <a:pt x="37009" y="283513"/>
                    </a:cubicBezTo>
                    <a:cubicBezTo>
                      <a:pt x="36818" y="283513"/>
                      <a:pt x="36628" y="283513"/>
                      <a:pt x="36438" y="283513"/>
                    </a:cubicBezTo>
                    <a:close/>
                    <a:moveTo>
                      <a:pt x="4487" y="2906"/>
                    </a:moveTo>
                    <a:cubicBezTo>
                      <a:pt x="4487" y="2906"/>
                      <a:pt x="4392" y="2906"/>
                      <a:pt x="4297" y="2906"/>
                    </a:cubicBezTo>
                    <a:cubicBezTo>
                      <a:pt x="3821" y="2906"/>
                      <a:pt x="3441" y="3192"/>
                      <a:pt x="3156" y="3478"/>
                    </a:cubicBezTo>
                    <a:cubicBezTo>
                      <a:pt x="2871" y="3859"/>
                      <a:pt x="2775" y="4240"/>
                      <a:pt x="2775" y="4716"/>
                    </a:cubicBezTo>
                    <a:lnTo>
                      <a:pt x="34726" y="279131"/>
                    </a:lnTo>
                    <a:cubicBezTo>
                      <a:pt x="34726" y="279988"/>
                      <a:pt x="35487" y="280560"/>
                      <a:pt x="36343" y="280560"/>
                    </a:cubicBezTo>
                    <a:lnTo>
                      <a:pt x="36533" y="280560"/>
                    </a:lnTo>
                    <a:cubicBezTo>
                      <a:pt x="36533" y="280560"/>
                      <a:pt x="37389" y="280274"/>
                      <a:pt x="37674" y="279893"/>
                    </a:cubicBezTo>
                    <a:cubicBezTo>
                      <a:pt x="37960" y="279512"/>
                      <a:pt x="38054" y="279131"/>
                      <a:pt x="38054" y="278655"/>
                    </a:cubicBezTo>
                    <a:lnTo>
                      <a:pt x="6104" y="4240"/>
                    </a:lnTo>
                    <a:cubicBezTo>
                      <a:pt x="6104" y="4240"/>
                      <a:pt x="5818" y="3382"/>
                      <a:pt x="5533" y="3097"/>
                    </a:cubicBezTo>
                    <a:cubicBezTo>
                      <a:pt x="5248" y="2906"/>
                      <a:pt x="4867" y="2716"/>
                      <a:pt x="4487" y="271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3" name="Freeform 81">
                <a:extLst>
                  <a:ext uri="{FF2B5EF4-FFF2-40B4-BE49-F238E27FC236}">
                    <a16:creationId xmlns:a16="http://schemas.microsoft.com/office/drawing/2014/main" id="{5A12239C-579E-0974-DB43-9405C0D147B5}"/>
                  </a:ext>
                </a:extLst>
              </p:cNvPr>
              <p:cNvSpPr/>
              <p:nvPr/>
            </p:nvSpPr>
            <p:spPr>
              <a:xfrm>
                <a:off x="12396589" y="1167015"/>
                <a:ext cx="34136" cy="151589"/>
              </a:xfrm>
              <a:custGeom>
                <a:avLst/>
                <a:gdLst>
                  <a:gd name="connsiteX0" fmla="*/ 3090 w 34136"/>
                  <a:gd name="connsiteY0" fmla="*/ 151590 h 151589"/>
                  <a:gd name="connsiteX1" fmla="*/ 2519 w 34136"/>
                  <a:gd name="connsiteY1" fmla="*/ 151590 h 151589"/>
                  <a:gd name="connsiteX2" fmla="*/ 47 w 34136"/>
                  <a:gd name="connsiteY2" fmla="*/ 147970 h 151589"/>
                  <a:gd name="connsiteX3" fmla="*/ 28004 w 34136"/>
                  <a:gd name="connsiteY3" fmla="*/ 2523 h 151589"/>
                  <a:gd name="connsiteX4" fmla="*/ 31617 w 34136"/>
                  <a:gd name="connsiteY4" fmla="*/ 47 h 151589"/>
                  <a:gd name="connsiteX5" fmla="*/ 34090 w 34136"/>
                  <a:gd name="connsiteY5" fmla="*/ 3666 h 151589"/>
                  <a:gd name="connsiteX6" fmla="*/ 6133 w 34136"/>
                  <a:gd name="connsiteY6" fmla="*/ 149113 h 151589"/>
                  <a:gd name="connsiteX7" fmla="*/ 3090 w 34136"/>
                  <a:gd name="connsiteY7" fmla="*/ 151590 h 15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36" h="151589">
                    <a:moveTo>
                      <a:pt x="3090" y="151590"/>
                    </a:moveTo>
                    <a:cubicBezTo>
                      <a:pt x="3090" y="151590"/>
                      <a:pt x="2709" y="151590"/>
                      <a:pt x="2519" y="151590"/>
                    </a:cubicBezTo>
                    <a:cubicBezTo>
                      <a:pt x="808" y="151304"/>
                      <a:pt x="-239" y="149685"/>
                      <a:pt x="47" y="147970"/>
                    </a:cubicBezTo>
                    <a:lnTo>
                      <a:pt x="28004" y="2523"/>
                    </a:lnTo>
                    <a:cubicBezTo>
                      <a:pt x="28289" y="809"/>
                      <a:pt x="29906" y="-239"/>
                      <a:pt x="31617" y="47"/>
                    </a:cubicBezTo>
                    <a:cubicBezTo>
                      <a:pt x="33329" y="333"/>
                      <a:pt x="34375" y="1952"/>
                      <a:pt x="34090" y="3666"/>
                    </a:cubicBezTo>
                    <a:lnTo>
                      <a:pt x="6133" y="149113"/>
                    </a:lnTo>
                    <a:cubicBezTo>
                      <a:pt x="5847" y="150542"/>
                      <a:pt x="4516" y="151590"/>
                      <a:pt x="3090" y="151590"/>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4" name="Freeform 82">
                <a:extLst>
                  <a:ext uri="{FF2B5EF4-FFF2-40B4-BE49-F238E27FC236}">
                    <a16:creationId xmlns:a16="http://schemas.microsoft.com/office/drawing/2014/main" id="{53CDD1FF-44F5-F0D0-7547-7A1C744F2040}"/>
                  </a:ext>
                </a:extLst>
              </p:cNvPr>
              <p:cNvSpPr/>
              <p:nvPr/>
            </p:nvSpPr>
            <p:spPr>
              <a:xfrm>
                <a:off x="12395151" y="1165714"/>
                <a:ext cx="36968" cy="154415"/>
              </a:xfrm>
              <a:custGeom>
                <a:avLst/>
                <a:gdLst>
                  <a:gd name="connsiteX0" fmla="*/ 4527 w 36968"/>
                  <a:gd name="connsiteY0" fmla="*/ 154320 h 154415"/>
                  <a:gd name="connsiteX1" fmla="*/ 3672 w 36968"/>
                  <a:gd name="connsiteY1" fmla="*/ 154320 h 154415"/>
                  <a:gd name="connsiteX2" fmla="*/ 58 w 36968"/>
                  <a:gd name="connsiteY2" fmla="*/ 149081 h 154415"/>
                  <a:gd name="connsiteX3" fmla="*/ 28015 w 36968"/>
                  <a:gd name="connsiteY3" fmla="*/ 3635 h 154415"/>
                  <a:gd name="connsiteX4" fmla="*/ 29917 w 36968"/>
                  <a:gd name="connsiteY4" fmla="*/ 777 h 154415"/>
                  <a:gd name="connsiteX5" fmla="*/ 33340 w 36968"/>
                  <a:gd name="connsiteY5" fmla="*/ 110 h 154415"/>
                  <a:gd name="connsiteX6" fmla="*/ 36193 w 36968"/>
                  <a:gd name="connsiteY6" fmla="*/ 2015 h 154415"/>
                  <a:gd name="connsiteX7" fmla="*/ 36859 w 36968"/>
                  <a:gd name="connsiteY7" fmla="*/ 5349 h 154415"/>
                  <a:gd name="connsiteX8" fmla="*/ 8902 w 36968"/>
                  <a:gd name="connsiteY8" fmla="*/ 150796 h 154415"/>
                  <a:gd name="connsiteX9" fmla="*/ 4527 w 36968"/>
                  <a:gd name="connsiteY9" fmla="*/ 154415 h 154415"/>
                  <a:gd name="connsiteX10" fmla="*/ 32484 w 36968"/>
                  <a:gd name="connsiteY10" fmla="*/ 2682 h 154415"/>
                  <a:gd name="connsiteX11" fmla="*/ 31534 w 36968"/>
                  <a:gd name="connsiteY11" fmla="*/ 2968 h 154415"/>
                  <a:gd name="connsiteX12" fmla="*/ 30868 w 36968"/>
                  <a:gd name="connsiteY12" fmla="*/ 4016 h 154415"/>
                  <a:gd name="connsiteX13" fmla="*/ 2911 w 36968"/>
                  <a:gd name="connsiteY13" fmla="*/ 149462 h 154415"/>
                  <a:gd name="connsiteX14" fmla="*/ 4242 w 36968"/>
                  <a:gd name="connsiteY14" fmla="*/ 151367 h 154415"/>
                  <a:gd name="connsiteX15" fmla="*/ 4527 w 36968"/>
                  <a:gd name="connsiteY15" fmla="*/ 151367 h 154415"/>
                  <a:gd name="connsiteX16" fmla="*/ 6144 w 36968"/>
                  <a:gd name="connsiteY16" fmla="*/ 150034 h 154415"/>
                  <a:gd name="connsiteX17" fmla="*/ 34101 w 36968"/>
                  <a:gd name="connsiteY17" fmla="*/ 4587 h 154415"/>
                  <a:gd name="connsiteX18" fmla="*/ 33816 w 36968"/>
                  <a:gd name="connsiteY18" fmla="*/ 3349 h 154415"/>
                  <a:gd name="connsiteX19" fmla="*/ 32770 w 36968"/>
                  <a:gd name="connsiteY19" fmla="*/ 2682 h 154415"/>
                  <a:gd name="connsiteX20" fmla="*/ 32484 w 36968"/>
                  <a:gd name="connsiteY20" fmla="*/ 2682 h 1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68" h="154415">
                    <a:moveTo>
                      <a:pt x="4527" y="154320"/>
                    </a:moveTo>
                    <a:cubicBezTo>
                      <a:pt x="4527" y="154320"/>
                      <a:pt x="3957" y="154320"/>
                      <a:pt x="3672" y="154320"/>
                    </a:cubicBezTo>
                    <a:cubicBezTo>
                      <a:pt x="1199" y="153844"/>
                      <a:pt x="-322" y="151463"/>
                      <a:pt x="58" y="149081"/>
                    </a:cubicBezTo>
                    <a:lnTo>
                      <a:pt x="28015" y="3635"/>
                    </a:lnTo>
                    <a:cubicBezTo>
                      <a:pt x="28205" y="2492"/>
                      <a:pt x="28871" y="1444"/>
                      <a:pt x="29917" y="777"/>
                    </a:cubicBezTo>
                    <a:cubicBezTo>
                      <a:pt x="30963" y="110"/>
                      <a:pt x="32104" y="-175"/>
                      <a:pt x="33340" y="110"/>
                    </a:cubicBezTo>
                    <a:cubicBezTo>
                      <a:pt x="34481" y="301"/>
                      <a:pt x="35528" y="968"/>
                      <a:pt x="36193" y="2015"/>
                    </a:cubicBezTo>
                    <a:cubicBezTo>
                      <a:pt x="36859" y="2968"/>
                      <a:pt x="37144" y="4206"/>
                      <a:pt x="36859" y="5349"/>
                    </a:cubicBezTo>
                    <a:lnTo>
                      <a:pt x="8902" y="150796"/>
                    </a:lnTo>
                    <a:cubicBezTo>
                      <a:pt x="8521" y="152891"/>
                      <a:pt x="6619" y="154415"/>
                      <a:pt x="4527" y="154415"/>
                    </a:cubicBezTo>
                    <a:close/>
                    <a:moveTo>
                      <a:pt x="32484" y="2682"/>
                    </a:moveTo>
                    <a:cubicBezTo>
                      <a:pt x="32484" y="2682"/>
                      <a:pt x="31819" y="2682"/>
                      <a:pt x="31534" y="2968"/>
                    </a:cubicBezTo>
                    <a:cubicBezTo>
                      <a:pt x="31153" y="3254"/>
                      <a:pt x="30963" y="3635"/>
                      <a:pt x="30868" y="4016"/>
                    </a:cubicBezTo>
                    <a:lnTo>
                      <a:pt x="2911" y="149462"/>
                    </a:lnTo>
                    <a:cubicBezTo>
                      <a:pt x="2721" y="150320"/>
                      <a:pt x="3291" y="151272"/>
                      <a:pt x="4242" y="151367"/>
                    </a:cubicBezTo>
                    <a:lnTo>
                      <a:pt x="4527" y="151367"/>
                    </a:lnTo>
                    <a:cubicBezTo>
                      <a:pt x="5288" y="151367"/>
                      <a:pt x="5954" y="150796"/>
                      <a:pt x="6144" y="150034"/>
                    </a:cubicBezTo>
                    <a:lnTo>
                      <a:pt x="34101" y="4587"/>
                    </a:lnTo>
                    <a:cubicBezTo>
                      <a:pt x="34101" y="4587"/>
                      <a:pt x="34101" y="3730"/>
                      <a:pt x="33816" y="3349"/>
                    </a:cubicBezTo>
                    <a:cubicBezTo>
                      <a:pt x="33530" y="2968"/>
                      <a:pt x="33150" y="2777"/>
                      <a:pt x="32770" y="2682"/>
                    </a:cubicBezTo>
                    <a:cubicBezTo>
                      <a:pt x="32675" y="2682"/>
                      <a:pt x="32580" y="2682"/>
                      <a:pt x="32484" y="2682"/>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85" name="Graphic 78">
              <a:extLst>
                <a:ext uri="{FF2B5EF4-FFF2-40B4-BE49-F238E27FC236}">
                  <a16:creationId xmlns:a16="http://schemas.microsoft.com/office/drawing/2014/main" id="{17178C1F-BBFA-6073-0D3C-CED4E8D06739}"/>
                </a:ext>
              </a:extLst>
            </p:cNvPr>
            <p:cNvGrpSpPr/>
            <p:nvPr/>
          </p:nvGrpSpPr>
          <p:grpSpPr>
            <a:xfrm>
              <a:off x="4514144" y="3002065"/>
              <a:ext cx="196317" cy="209412"/>
              <a:chOff x="12205514" y="977865"/>
              <a:chExt cx="289589" cy="342358"/>
            </a:xfrm>
            <a:solidFill>
              <a:srgbClr val="F2F2F2"/>
            </a:solidFill>
          </p:grpSpPr>
          <p:sp>
            <p:nvSpPr>
              <p:cNvPr id="186" name="Freeform 27">
                <a:extLst>
                  <a:ext uri="{FF2B5EF4-FFF2-40B4-BE49-F238E27FC236}">
                    <a16:creationId xmlns:a16="http://schemas.microsoft.com/office/drawing/2014/main" id="{5EB77067-34A1-D4EC-C183-D3B968072BCE}"/>
                  </a:ext>
                </a:extLst>
              </p:cNvPr>
              <p:cNvSpPr/>
              <p:nvPr/>
            </p:nvSpPr>
            <p:spPr>
              <a:xfrm>
                <a:off x="12206944" y="979632"/>
                <a:ext cx="153790" cy="338972"/>
              </a:xfrm>
              <a:custGeom>
                <a:avLst/>
                <a:gdLst>
                  <a:gd name="connsiteX0" fmla="*/ 150799 w 153790"/>
                  <a:gd name="connsiteY0" fmla="*/ 338973 h 338972"/>
                  <a:gd name="connsiteX1" fmla="*/ 147756 w 153790"/>
                  <a:gd name="connsiteY1" fmla="*/ 336401 h 338972"/>
                  <a:gd name="connsiteX2" fmla="*/ 111431 w 153790"/>
                  <a:gd name="connsiteY2" fmla="*/ 115231 h 338972"/>
                  <a:gd name="connsiteX3" fmla="*/ 61032 w 153790"/>
                  <a:gd name="connsiteY3" fmla="*/ 134852 h 338972"/>
                  <a:gd name="connsiteX4" fmla="*/ 59320 w 153790"/>
                  <a:gd name="connsiteY4" fmla="*/ 135043 h 338972"/>
                  <a:gd name="connsiteX5" fmla="*/ 2455 w 153790"/>
                  <a:gd name="connsiteY5" fmla="*/ 123041 h 338972"/>
                  <a:gd name="connsiteX6" fmla="*/ 78 w 153790"/>
                  <a:gd name="connsiteY6" fmla="*/ 119422 h 338972"/>
                  <a:gd name="connsiteX7" fmla="*/ 3691 w 153790"/>
                  <a:gd name="connsiteY7" fmla="*/ 117040 h 338972"/>
                  <a:gd name="connsiteX8" fmla="*/ 59701 w 153790"/>
                  <a:gd name="connsiteY8" fmla="*/ 128851 h 338972"/>
                  <a:gd name="connsiteX9" fmla="*/ 109624 w 153790"/>
                  <a:gd name="connsiteY9" fmla="*/ 109420 h 338972"/>
                  <a:gd name="connsiteX10" fmla="*/ 58179 w 153790"/>
                  <a:gd name="connsiteY10" fmla="*/ 4455 h 338972"/>
                  <a:gd name="connsiteX11" fmla="*/ 58940 w 153790"/>
                  <a:gd name="connsiteY11" fmla="*/ 740 h 338972"/>
                  <a:gd name="connsiteX12" fmla="*/ 62744 w 153790"/>
                  <a:gd name="connsiteY12" fmla="*/ 550 h 338972"/>
                  <a:gd name="connsiteX13" fmla="*/ 145093 w 153790"/>
                  <a:gd name="connsiteY13" fmla="*/ 59033 h 338972"/>
                  <a:gd name="connsiteX14" fmla="*/ 145949 w 153790"/>
                  <a:gd name="connsiteY14" fmla="*/ 63129 h 338972"/>
                  <a:gd name="connsiteX15" fmla="*/ 117041 w 153790"/>
                  <a:gd name="connsiteY15" fmla="*/ 111611 h 338972"/>
                  <a:gd name="connsiteX16" fmla="*/ 153747 w 153790"/>
                  <a:gd name="connsiteY16" fmla="*/ 335449 h 338972"/>
                  <a:gd name="connsiteX17" fmla="*/ 151179 w 153790"/>
                  <a:gd name="connsiteY17" fmla="*/ 338973 h 338972"/>
                  <a:gd name="connsiteX18" fmla="*/ 150704 w 153790"/>
                  <a:gd name="connsiteY18" fmla="*/ 338973 h 338972"/>
                  <a:gd name="connsiteX19" fmla="*/ 69115 w 153790"/>
                  <a:gd name="connsiteY19" fmla="*/ 12456 h 338972"/>
                  <a:gd name="connsiteX20" fmla="*/ 114188 w 153790"/>
                  <a:gd name="connsiteY20" fmla="*/ 104467 h 338972"/>
                  <a:gd name="connsiteX21" fmla="*/ 139293 w 153790"/>
                  <a:gd name="connsiteY21" fmla="*/ 62272 h 338972"/>
                  <a:gd name="connsiteX22" fmla="*/ 69115 w 153790"/>
                  <a:gd name="connsiteY22" fmla="*/ 12456 h 3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790" h="338972">
                    <a:moveTo>
                      <a:pt x="150799" y="338973"/>
                    </a:moveTo>
                    <a:cubicBezTo>
                      <a:pt x="149277" y="338973"/>
                      <a:pt x="148041" y="337925"/>
                      <a:pt x="147756" y="336401"/>
                    </a:cubicBezTo>
                    <a:lnTo>
                      <a:pt x="111431" y="115231"/>
                    </a:lnTo>
                    <a:lnTo>
                      <a:pt x="61032" y="134852"/>
                    </a:lnTo>
                    <a:cubicBezTo>
                      <a:pt x="60461" y="135043"/>
                      <a:pt x="59891" y="135138"/>
                      <a:pt x="59320" y="135043"/>
                    </a:cubicBezTo>
                    <a:lnTo>
                      <a:pt x="2455" y="123041"/>
                    </a:lnTo>
                    <a:cubicBezTo>
                      <a:pt x="744" y="122660"/>
                      <a:pt x="-302" y="121041"/>
                      <a:pt x="78" y="119422"/>
                    </a:cubicBezTo>
                    <a:cubicBezTo>
                      <a:pt x="458" y="117707"/>
                      <a:pt x="2075" y="116659"/>
                      <a:pt x="3691" y="117040"/>
                    </a:cubicBezTo>
                    <a:lnTo>
                      <a:pt x="59701" y="128851"/>
                    </a:lnTo>
                    <a:lnTo>
                      <a:pt x="109624" y="109420"/>
                    </a:lnTo>
                    <a:lnTo>
                      <a:pt x="58179" y="4455"/>
                    </a:lnTo>
                    <a:cubicBezTo>
                      <a:pt x="57514" y="3217"/>
                      <a:pt x="57894" y="1693"/>
                      <a:pt x="58940" y="740"/>
                    </a:cubicBezTo>
                    <a:cubicBezTo>
                      <a:pt x="59986" y="-212"/>
                      <a:pt x="61602" y="-212"/>
                      <a:pt x="62744" y="550"/>
                    </a:cubicBezTo>
                    <a:lnTo>
                      <a:pt x="145093" y="59033"/>
                    </a:lnTo>
                    <a:cubicBezTo>
                      <a:pt x="146425" y="59986"/>
                      <a:pt x="146805" y="61700"/>
                      <a:pt x="145949" y="63129"/>
                    </a:cubicBezTo>
                    <a:lnTo>
                      <a:pt x="117041" y="111611"/>
                    </a:lnTo>
                    <a:lnTo>
                      <a:pt x="153747" y="335449"/>
                    </a:lnTo>
                    <a:cubicBezTo>
                      <a:pt x="154032" y="337163"/>
                      <a:pt x="152891" y="338687"/>
                      <a:pt x="151179" y="338973"/>
                    </a:cubicBezTo>
                    <a:cubicBezTo>
                      <a:pt x="150989" y="338973"/>
                      <a:pt x="150799" y="338973"/>
                      <a:pt x="150704" y="338973"/>
                    </a:cubicBezTo>
                    <a:close/>
                    <a:moveTo>
                      <a:pt x="69115" y="12456"/>
                    </a:moveTo>
                    <a:lnTo>
                      <a:pt x="114188" y="104467"/>
                    </a:lnTo>
                    <a:lnTo>
                      <a:pt x="139293" y="62272"/>
                    </a:lnTo>
                    <a:lnTo>
                      <a:pt x="69115" y="12456"/>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7" name="Freeform 28">
                <a:extLst>
                  <a:ext uri="{FF2B5EF4-FFF2-40B4-BE49-F238E27FC236}">
                    <a16:creationId xmlns:a16="http://schemas.microsoft.com/office/drawing/2014/main" id="{73A55B74-97FA-8711-D4C6-38577DBBB207}"/>
                  </a:ext>
                </a:extLst>
              </p:cNvPr>
              <p:cNvSpPr/>
              <p:nvPr/>
            </p:nvSpPr>
            <p:spPr>
              <a:xfrm>
                <a:off x="12205514" y="977865"/>
                <a:ext cx="156659" cy="342167"/>
              </a:xfrm>
              <a:custGeom>
                <a:avLst/>
                <a:gdLst>
                  <a:gd name="connsiteX0" fmla="*/ 152217 w 156659"/>
                  <a:gd name="connsiteY0" fmla="*/ 342167 h 342167"/>
                  <a:gd name="connsiteX1" fmla="*/ 147748 w 156659"/>
                  <a:gd name="connsiteY1" fmla="*/ 338357 h 342167"/>
                  <a:gd name="connsiteX2" fmla="*/ 111708 w 156659"/>
                  <a:gd name="connsiteY2" fmla="*/ 118901 h 342167"/>
                  <a:gd name="connsiteX3" fmla="*/ 63021 w 156659"/>
                  <a:gd name="connsiteY3" fmla="*/ 137856 h 342167"/>
                  <a:gd name="connsiteX4" fmla="*/ 60453 w 156659"/>
                  <a:gd name="connsiteY4" fmla="*/ 138047 h 342167"/>
                  <a:gd name="connsiteX5" fmla="*/ 3588 w 156659"/>
                  <a:gd name="connsiteY5" fmla="*/ 126045 h 342167"/>
                  <a:gd name="connsiteX6" fmla="*/ 736 w 156659"/>
                  <a:gd name="connsiteY6" fmla="*/ 124045 h 342167"/>
                  <a:gd name="connsiteX7" fmla="*/ 70 w 156659"/>
                  <a:gd name="connsiteY7" fmla="*/ 120616 h 342167"/>
                  <a:gd name="connsiteX8" fmla="*/ 5395 w 156659"/>
                  <a:gd name="connsiteY8" fmla="*/ 117092 h 342167"/>
                  <a:gd name="connsiteX9" fmla="*/ 60929 w 156659"/>
                  <a:gd name="connsiteY9" fmla="*/ 128807 h 342167"/>
                  <a:gd name="connsiteX10" fmla="*/ 108950 w 156659"/>
                  <a:gd name="connsiteY10" fmla="*/ 110043 h 342167"/>
                  <a:gd name="connsiteX11" fmla="*/ 58266 w 156659"/>
                  <a:gd name="connsiteY11" fmla="*/ 6506 h 342167"/>
                  <a:gd name="connsiteX12" fmla="*/ 59407 w 156659"/>
                  <a:gd name="connsiteY12" fmla="*/ 1077 h 342167"/>
                  <a:gd name="connsiteX13" fmla="*/ 64923 w 156659"/>
                  <a:gd name="connsiteY13" fmla="*/ 791 h 342167"/>
                  <a:gd name="connsiteX14" fmla="*/ 147272 w 156659"/>
                  <a:gd name="connsiteY14" fmla="*/ 59275 h 342167"/>
                  <a:gd name="connsiteX15" fmla="*/ 148509 w 156659"/>
                  <a:gd name="connsiteY15" fmla="*/ 65276 h 342167"/>
                  <a:gd name="connsiteX16" fmla="*/ 119886 w 156659"/>
                  <a:gd name="connsiteY16" fmla="*/ 113377 h 342167"/>
                  <a:gd name="connsiteX17" fmla="*/ 156591 w 156659"/>
                  <a:gd name="connsiteY17" fmla="*/ 336738 h 342167"/>
                  <a:gd name="connsiteX18" fmla="*/ 155831 w 156659"/>
                  <a:gd name="connsiteY18" fmla="*/ 340072 h 342167"/>
                  <a:gd name="connsiteX19" fmla="*/ 152883 w 156659"/>
                  <a:gd name="connsiteY19" fmla="*/ 341882 h 342167"/>
                  <a:gd name="connsiteX20" fmla="*/ 152122 w 156659"/>
                  <a:gd name="connsiteY20" fmla="*/ 341882 h 342167"/>
                  <a:gd name="connsiteX21" fmla="*/ 113990 w 156659"/>
                  <a:gd name="connsiteY21" fmla="*/ 114996 h 342167"/>
                  <a:gd name="connsiteX22" fmla="*/ 114275 w 156659"/>
                  <a:gd name="connsiteY22" fmla="*/ 116711 h 342167"/>
                  <a:gd name="connsiteX23" fmla="*/ 150601 w 156659"/>
                  <a:gd name="connsiteY23" fmla="*/ 337881 h 342167"/>
                  <a:gd name="connsiteX24" fmla="*/ 152502 w 156659"/>
                  <a:gd name="connsiteY24" fmla="*/ 339215 h 342167"/>
                  <a:gd name="connsiteX25" fmla="*/ 153549 w 156659"/>
                  <a:gd name="connsiteY25" fmla="*/ 338548 h 342167"/>
                  <a:gd name="connsiteX26" fmla="*/ 153834 w 156659"/>
                  <a:gd name="connsiteY26" fmla="*/ 337310 h 342167"/>
                  <a:gd name="connsiteX27" fmla="*/ 117033 w 156659"/>
                  <a:gd name="connsiteY27" fmla="*/ 112996 h 342167"/>
                  <a:gd name="connsiteX28" fmla="*/ 117319 w 156659"/>
                  <a:gd name="connsiteY28" fmla="*/ 112520 h 342167"/>
                  <a:gd name="connsiteX29" fmla="*/ 146226 w 156659"/>
                  <a:gd name="connsiteY29" fmla="*/ 64037 h 342167"/>
                  <a:gd name="connsiteX30" fmla="*/ 145751 w 156659"/>
                  <a:gd name="connsiteY30" fmla="*/ 61847 h 342167"/>
                  <a:gd name="connsiteX31" fmla="*/ 63401 w 156659"/>
                  <a:gd name="connsiteY31" fmla="*/ 3363 h 342167"/>
                  <a:gd name="connsiteX32" fmla="*/ 61404 w 156659"/>
                  <a:gd name="connsiteY32" fmla="*/ 3363 h 342167"/>
                  <a:gd name="connsiteX33" fmla="*/ 61024 w 156659"/>
                  <a:gd name="connsiteY33" fmla="*/ 5363 h 342167"/>
                  <a:gd name="connsiteX34" fmla="*/ 113134 w 156659"/>
                  <a:gd name="connsiteY34" fmla="*/ 111758 h 342167"/>
                  <a:gd name="connsiteX35" fmla="*/ 61404 w 156659"/>
                  <a:gd name="connsiteY35" fmla="*/ 131951 h 342167"/>
                  <a:gd name="connsiteX36" fmla="*/ 61024 w 156659"/>
                  <a:gd name="connsiteY36" fmla="*/ 131951 h 342167"/>
                  <a:gd name="connsiteX37" fmla="*/ 5015 w 156659"/>
                  <a:gd name="connsiteY37" fmla="*/ 120044 h 342167"/>
                  <a:gd name="connsiteX38" fmla="*/ 3018 w 156659"/>
                  <a:gd name="connsiteY38" fmla="*/ 121283 h 342167"/>
                  <a:gd name="connsiteX39" fmla="*/ 3208 w 156659"/>
                  <a:gd name="connsiteY39" fmla="*/ 122521 h 342167"/>
                  <a:gd name="connsiteX40" fmla="*/ 4254 w 156659"/>
                  <a:gd name="connsiteY40" fmla="*/ 123188 h 342167"/>
                  <a:gd name="connsiteX41" fmla="*/ 61119 w 156659"/>
                  <a:gd name="connsiteY41" fmla="*/ 135189 h 342167"/>
                  <a:gd name="connsiteX42" fmla="*/ 62070 w 156659"/>
                  <a:gd name="connsiteY42" fmla="*/ 135189 h 342167"/>
                  <a:gd name="connsiteX43" fmla="*/ 114085 w 156659"/>
                  <a:gd name="connsiteY43" fmla="*/ 114901 h 342167"/>
                  <a:gd name="connsiteX44" fmla="*/ 115417 w 156659"/>
                  <a:gd name="connsiteY44" fmla="*/ 109281 h 342167"/>
                  <a:gd name="connsiteX45" fmla="*/ 66729 w 156659"/>
                  <a:gd name="connsiteY45" fmla="*/ 9935 h 342167"/>
                  <a:gd name="connsiteX46" fmla="*/ 142518 w 156659"/>
                  <a:gd name="connsiteY46" fmla="*/ 63752 h 342167"/>
                  <a:gd name="connsiteX47" fmla="*/ 115417 w 156659"/>
                  <a:gd name="connsiteY47" fmla="*/ 109281 h 342167"/>
                  <a:gd name="connsiteX48" fmla="*/ 74242 w 156659"/>
                  <a:gd name="connsiteY48" fmla="*/ 18698 h 342167"/>
                  <a:gd name="connsiteX49" fmla="*/ 115702 w 156659"/>
                  <a:gd name="connsiteY49" fmla="*/ 103280 h 342167"/>
                  <a:gd name="connsiteX50" fmla="*/ 138714 w 156659"/>
                  <a:gd name="connsiteY50" fmla="*/ 64514 h 342167"/>
                  <a:gd name="connsiteX51" fmla="*/ 74242 w 156659"/>
                  <a:gd name="connsiteY51" fmla="*/ 18698 h 3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659" h="342167">
                    <a:moveTo>
                      <a:pt x="152217" y="342167"/>
                    </a:moveTo>
                    <a:cubicBezTo>
                      <a:pt x="150030" y="342167"/>
                      <a:pt x="148128" y="340548"/>
                      <a:pt x="147748" y="338357"/>
                    </a:cubicBezTo>
                    <a:lnTo>
                      <a:pt x="111708" y="118901"/>
                    </a:lnTo>
                    <a:lnTo>
                      <a:pt x="63021" y="137856"/>
                    </a:lnTo>
                    <a:cubicBezTo>
                      <a:pt x="62260" y="138142"/>
                      <a:pt x="61309" y="138237"/>
                      <a:pt x="60453" y="138047"/>
                    </a:cubicBezTo>
                    <a:lnTo>
                      <a:pt x="3588" y="126045"/>
                    </a:lnTo>
                    <a:cubicBezTo>
                      <a:pt x="2447" y="125759"/>
                      <a:pt x="1401" y="125093"/>
                      <a:pt x="736" y="124045"/>
                    </a:cubicBezTo>
                    <a:cubicBezTo>
                      <a:pt x="70" y="122997"/>
                      <a:pt x="-120" y="121854"/>
                      <a:pt x="70" y="120616"/>
                    </a:cubicBezTo>
                    <a:cubicBezTo>
                      <a:pt x="545" y="118235"/>
                      <a:pt x="2922" y="116615"/>
                      <a:pt x="5395" y="117092"/>
                    </a:cubicBezTo>
                    <a:lnTo>
                      <a:pt x="60929" y="128807"/>
                    </a:lnTo>
                    <a:lnTo>
                      <a:pt x="108950" y="110043"/>
                    </a:lnTo>
                    <a:lnTo>
                      <a:pt x="58266" y="6506"/>
                    </a:lnTo>
                    <a:cubicBezTo>
                      <a:pt x="57315" y="4697"/>
                      <a:pt x="57791" y="2411"/>
                      <a:pt x="59407" y="1077"/>
                    </a:cubicBezTo>
                    <a:cubicBezTo>
                      <a:pt x="61024" y="-256"/>
                      <a:pt x="63211" y="-352"/>
                      <a:pt x="64923" y="791"/>
                    </a:cubicBezTo>
                    <a:lnTo>
                      <a:pt x="147272" y="59275"/>
                    </a:lnTo>
                    <a:cubicBezTo>
                      <a:pt x="149174" y="60608"/>
                      <a:pt x="149745" y="63275"/>
                      <a:pt x="148509" y="65276"/>
                    </a:cubicBezTo>
                    <a:lnTo>
                      <a:pt x="119886" y="113377"/>
                    </a:lnTo>
                    <a:lnTo>
                      <a:pt x="156591" y="336738"/>
                    </a:lnTo>
                    <a:cubicBezTo>
                      <a:pt x="156782" y="337881"/>
                      <a:pt x="156591" y="339119"/>
                      <a:pt x="155831" y="340072"/>
                    </a:cubicBezTo>
                    <a:cubicBezTo>
                      <a:pt x="155070" y="341024"/>
                      <a:pt x="154119" y="341691"/>
                      <a:pt x="152883" y="341882"/>
                    </a:cubicBezTo>
                    <a:cubicBezTo>
                      <a:pt x="152598" y="341882"/>
                      <a:pt x="152407" y="341882"/>
                      <a:pt x="152122" y="341882"/>
                    </a:cubicBezTo>
                    <a:close/>
                    <a:moveTo>
                      <a:pt x="113990" y="114996"/>
                    </a:moveTo>
                    <a:lnTo>
                      <a:pt x="114275" y="116711"/>
                    </a:lnTo>
                    <a:lnTo>
                      <a:pt x="150601" y="337881"/>
                    </a:lnTo>
                    <a:cubicBezTo>
                      <a:pt x="150791" y="338738"/>
                      <a:pt x="151647" y="339405"/>
                      <a:pt x="152502" y="339215"/>
                    </a:cubicBezTo>
                    <a:cubicBezTo>
                      <a:pt x="152978" y="339215"/>
                      <a:pt x="153358" y="338929"/>
                      <a:pt x="153549" y="338548"/>
                    </a:cubicBezTo>
                    <a:cubicBezTo>
                      <a:pt x="153834" y="338167"/>
                      <a:pt x="153929" y="337786"/>
                      <a:pt x="153834" y="337310"/>
                    </a:cubicBezTo>
                    <a:lnTo>
                      <a:pt x="117033" y="112996"/>
                    </a:lnTo>
                    <a:lnTo>
                      <a:pt x="117319" y="112520"/>
                    </a:lnTo>
                    <a:lnTo>
                      <a:pt x="146226" y="64037"/>
                    </a:lnTo>
                    <a:cubicBezTo>
                      <a:pt x="146702" y="63275"/>
                      <a:pt x="146417" y="62323"/>
                      <a:pt x="145751" y="61847"/>
                    </a:cubicBezTo>
                    <a:lnTo>
                      <a:pt x="63401" y="3363"/>
                    </a:lnTo>
                    <a:cubicBezTo>
                      <a:pt x="62831" y="2887"/>
                      <a:pt x="61975" y="2982"/>
                      <a:pt x="61404" y="3363"/>
                    </a:cubicBezTo>
                    <a:cubicBezTo>
                      <a:pt x="60834" y="3839"/>
                      <a:pt x="60643" y="4697"/>
                      <a:pt x="61024" y="5363"/>
                    </a:cubicBezTo>
                    <a:lnTo>
                      <a:pt x="113134" y="111758"/>
                    </a:lnTo>
                    <a:lnTo>
                      <a:pt x="61404" y="131951"/>
                    </a:lnTo>
                    <a:lnTo>
                      <a:pt x="61024" y="131951"/>
                    </a:lnTo>
                    <a:cubicBezTo>
                      <a:pt x="61024" y="131951"/>
                      <a:pt x="5015" y="120044"/>
                      <a:pt x="5015" y="120044"/>
                    </a:cubicBezTo>
                    <a:cubicBezTo>
                      <a:pt x="4159" y="119854"/>
                      <a:pt x="3208" y="120425"/>
                      <a:pt x="3018" y="121283"/>
                    </a:cubicBezTo>
                    <a:cubicBezTo>
                      <a:pt x="3018" y="121664"/>
                      <a:pt x="3018" y="122140"/>
                      <a:pt x="3208" y="122521"/>
                    </a:cubicBezTo>
                    <a:cubicBezTo>
                      <a:pt x="3493" y="122902"/>
                      <a:pt x="3779" y="123188"/>
                      <a:pt x="4254" y="123188"/>
                    </a:cubicBezTo>
                    <a:lnTo>
                      <a:pt x="61119" y="135189"/>
                    </a:lnTo>
                    <a:cubicBezTo>
                      <a:pt x="61119" y="135189"/>
                      <a:pt x="61784" y="135189"/>
                      <a:pt x="62070" y="135189"/>
                    </a:cubicBezTo>
                    <a:lnTo>
                      <a:pt x="114085" y="114901"/>
                    </a:lnTo>
                    <a:close/>
                    <a:moveTo>
                      <a:pt x="115417" y="109281"/>
                    </a:moveTo>
                    <a:lnTo>
                      <a:pt x="66729" y="9935"/>
                    </a:lnTo>
                    <a:lnTo>
                      <a:pt x="142518" y="63752"/>
                    </a:lnTo>
                    <a:lnTo>
                      <a:pt x="115417" y="109281"/>
                    </a:lnTo>
                    <a:close/>
                    <a:moveTo>
                      <a:pt x="74242" y="18698"/>
                    </a:moveTo>
                    <a:lnTo>
                      <a:pt x="115702" y="103280"/>
                    </a:lnTo>
                    <a:lnTo>
                      <a:pt x="138714" y="64514"/>
                    </a:lnTo>
                    <a:lnTo>
                      <a:pt x="74242" y="18698"/>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8" name="Freeform 30">
                <a:extLst>
                  <a:ext uri="{FF2B5EF4-FFF2-40B4-BE49-F238E27FC236}">
                    <a16:creationId xmlns:a16="http://schemas.microsoft.com/office/drawing/2014/main" id="{FB02DE0E-0FA7-2784-FDC6-A21D61CE36E1}"/>
                  </a:ext>
                </a:extLst>
              </p:cNvPr>
              <p:cNvSpPr/>
              <p:nvPr/>
            </p:nvSpPr>
            <p:spPr>
              <a:xfrm>
                <a:off x="12392606" y="1062442"/>
                <a:ext cx="72913" cy="110621"/>
              </a:xfrm>
              <a:custGeom>
                <a:avLst/>
                <a:gdLst>
                  <a:gd name="connsiteX0" fmla="*/ 34934 w 72913"/>
                  <a:gd name="connsiteY0" fmla="*/ 110621 h 110621"/>
                  <a:gd name="connsiteX1" fmla="*/ 34934 w 72913"/>
                  <a:gd name="connsiteY1" fmla="*/ 110621 h 110621"/>
                  <a:gd name="connsiteX2" fmla="*/ 32082 w 72913"/>
                  <a:gd name="connsiteY2" fmla="*/ 108430 h 110621"/>
                  <a:gd name="connsiteX3" fmla="*/ 131 w 72913"/>
                  <a:gd name="connsiteY3" fmla="*/ 3941 h 110621"/>
                  <a:gd name="connsiteX4" fmla="*/ 2128 w 72913"/>
                  <a:gd name="connsiteY4" fmla="*/ 131 h 110621"/>
                  <a:gd name="connsiteX5" fmla="*/ 5932 w 72913"/>
                  <a:gd name="connsiteY5" fmla="*/ 2131 h 110621"/>
                  <a:gd name="connsiteX6" fmla="*/ 35220 w 72913"/>
                  <a:gd name="connsiteY6" fmla="*/ 97762 h 110621"/>
                  <a:gd name="connsiteX7" fmla="*/ 66980 w 72913"/>
                  <a:gd name="connsiteY7" fmla="*/ 9942 h 110621"/>
                  <a:gd name="connsiteX8" fmla="*/ 70879 w 72913"/>
                  <a:gd name="connsiteY8" fmla="*/ 8132 h 110621"/>
                  <a:gd name="connsiteX9" fmla="*/ 72686 w 72913"/>
                  <a:gd name="connsiteY9" fmla="*/ 12037 h 110621"/>
                  <a:gd name="connsiteX10" fmla="*/ 37787 w 72913"/>
                  <a:gd name="connsiteY10" fmla="*/ 108526 h 110621"/>
                  <a:gd name="connsiteX11" fmla="*/ 34934 w 72913"/>
                  <a:gd name="connsiteY11" fmla="*/ 110526 h 11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3" h="110621">
                    <a:moveTo>
                      <a:pt x="34934" y="110621"/>
                    </a:moveTo>
                    <a:cubicBezTo>
                      <a:pt x="34934" y="110621"/>
                      <a:pt x="34934" y="110621"/>
                      <a:pt x="34934" y="110621"/>
                    </a:cubicBezTo>
                    <a:cubicBezTo>
                      <a:pt x="33603" y="110621"/>
                      <a:pt x="32462" y="109669"/>
                      <a:pt x="32082" y="108430"/>
                    </a:cubicBezTo>
                    <a:lnTo>
                      <a:pt x="131" y="3941"/>
                    </a:lnTo>
                    <a:cubicBezTo>
                      <a:pt x="-345" y="2322"/>
                      <a:pt x="511" y="607"/>
                      <a:pt x="2128" y="131"/>
                    </a:cubicBezTo>
                    <a:cubicBezTo>
                      <a:pt x="3744" y="-345"/>
                      <a:pt x="5456" y="512"/>
                      <a:pt x="5932" y="2131"/>
                    </a:cubicBezTo>
                    <a:lnTo>
                      <a:pt x="35220" y="97762"/>
                    </a:lnTo>
                    <a:lnTo>
                      <a:pt x="66980" y="9942"/>
                    </a:lnTo>
                    <a:cubicBezTo>
                      <a:pt x="67551" y="8323"/>
                      <a:pt x="69358" y="7561"/>
                      <a:pt x="70879" y="8132"/>
                    </a:cubicBezTo>
                    <a:cubicBezTo>
                      <a:pt x="72496" y="8704"/>
                      <a:pt x="73352" y="10513"/>
                      <a:pt x="72686" y="12037"/>
                    </a:cubicBezTo>
                    <a:lnTo>
                      <a:pt x="37787" y="108526"/>
                    </a:lnTo>
                    <a:cubicBezTo>
                      <a:pt x="37312" y="109764"/>
                      <a:pt x="36171" y="110526"/>
                      <a:pt x="34934" y="11052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9" name="Freeform 62">
                <a:extLst>
                  <a:ext uri="{FF2B5EF4-FFF2-40B4-BE49-F238E27FC236}">
                    <a16:creationId xmlns:a16="http://schemas.microsoft.com/office/drawing/2014/main" id="{397AC075-67BE-D330-F5E9-B8B5F5B53AE5}"/>
                  </a:ext>
                </a:extLst>
              </p:cNvPr>
              <p:cNvSpPr/>
              <p:nvPr/>
            </p:nvSpPr>
            <p:spPr>
              <a:xfrm>
                <a:off x="12391096" y="1061025"/>
                <a:ext cx="75856" cy="113466"/>
              </a:xfrm>
              <a:custGeom>
                <a:avLst/>
                <a:gdLst>
                  <a:gd name="connsiteX0" fmla="*/ 36444 w 75856"/>
                  <a:gd name="connsiteY0" fmla="*/ 113467 h 113466"/>
                  <a:gd name="connsiteX1" fmla="*/ 36444 w 75856"/>
                  <a:gd name="connsiteY1" fmla="*/ 113467 h 113466"/>
                  <a:gd name="connsiteX2" fmla="*/ 32165 w 75856"/>
                  <a:gd name="connsiteY2" fmla="*/ 110324 h 113466"/>
                  <a:gd name="connsiteX3" fmla="*/ 214 w 75856"/>
                  <a:gd name="connsiteY3" fmla="*/ 5834 h 113466"/>
                  <a:gd name="connsiteX4" fmla="*/ 3162 w 75856"/>
                  <a:gd name="connsiteY4" fmla="*/ 215 h 113466"/>
                  <a:gd name="connsiteX5" fmla="*/ 8772 w 75856"/>
                  <a:gd name="connsiteY5" fmla="*/ 3167 h 113466"/>
                  <a:gd name="connsiteX6" fmla="*/ 36729 w 75856"/>
                  <a:gd name="connsiteY6" fmla="*/ 94703 h 113466"/>
                  <a:gd name="connsiteX7" fmla="*/ 67064 w 75856"/>
                  <a:gd name="connsiteY7" fmla="*/ 10883 h 113466"/>
                  <a:gd name="connsiteX8" fmla="*/ 72865 w 75856"/>
                  <a:gd name="connsiteY8" fmla="*/ 8216 h 113466"/>
                  <a:gd name="connsiteX9" fmla="*/ 75622 w 75856"/>
                  <a:gd name="connsiteY9" fmla="*/ 14026 h 113466"/>
                  <a:gd name="connsiteX10" fmla="*/ 40723 w 75856"/>
                  <a:gd name="connsiteY10" fmla="*/ 110514 h 113466"/>
                  <a:gd name="connsiteX11" fmla="*/ 36444 w 75856"/>
                  <a:gd name="connsiteY11" fmla="*/ 113467 h 113466"/>
                  <a:gd name="connsiteX12" fmla="*/ 4493 w 75856"/>
                  <a:gd name="connsiteY12" fmla="*/ 2786 h 113466"/>
                  <a:gd name="connsiteX13" fmla="*/ 4018 w 75856"/>
                  <a:gd name="connsiteY13" fmla="*/ 2786 h 113466"/>
                  <a:gd name="connsiteX14" fmla="*/ 2877 w 75856"/>
                  <a:gd name="connsiteY14" fmla="*/ 4882 h 113466"/>
                  <a:gd name="connsiteX15" fmla="*/ 34828 w 75856"/>
                  <a:gd name="connsiteY15" fmla="*/ 109371 h 113466"/>
                  <a:gd name="connsiteX16" fmla="*/ 36349 w 75856"/>
                  <a:gd name="connsiteY16" fmla="*/ 110514 h 113466"/>
                  <a:gd name="connsiteX17" fmla="*/ 36349 w 75856"/>
                  <a:gd name="connsiteY17" fmla="*/ 111943 h 113466"/>
                  <a:gd name="connsiteX18" fmla="*/ 36349 w 75856"/>
                  <a:gd name="connsiteY18" fmla="*/ 110514 h 113466"/>
                  <a:gd name="connsiteX19" fmla="*/ 37871 w 75856"/>
                  <a:gd name="connsiteY19" fmla="*/ 109466 h 113466"/>
                  <a:gd name="connsiteX20" fmla="*/ 72769 w 75856"/>
                  <a:gd name="connsiteY20" fmla="*/ 12978 h 113466"/>
                  <a:gd name="connsiteX21" fmla="*/ 71818 w 75856"/>
                  <a:gd name="connsiteY21" fmla="*/ 10883 h 113466"/>
                  <a:gd name="connsiteX22" fmla="*/ 69726 w 75856"/>
                  <a:gd name="connsiteY22" fmla="*/ 11835 h 113466"/>
                  <a:gd name="connsiteX23" fmla="*/ 36444 w 75856"/>
                  <a:gd name="connsiteY23" fmla="*/ 103656 h 113466"/>
                  <a:gd name="connsiteX24" fmla="*/ 5920 w 75856"/>
                  <a:gd name="connsiteY24" fmla="*/ 3929 h 113466"/>
                  <a:gd name="connsiteX25" fmla="*/ 4303 w 75856"/>
                  <a:gd name="connsiteY25" fmla="*/ 2786 h 1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856" h="113466">
                    <a:moveTo>
                      <a:pt x="36444" y="113467"/>
                    </a:moveTo>
                    <a:lnTo>
                      <a:pt x="36444" y="113467"/>
                    </a:lnTo>
                    <a:cubicBezTo>
                      <a:pt x="34447" y="113467"/>
                      <a:pt x="32831" y="112133"/>
                      <a:pt x="32165" y="110324"/>
                    </a:cubicBezTo>
                    <a:lnTo>
                      <a:pt x="214" y="5834"/>
                    </a:lnTo>
                    <a:cubicBezTo>
                      <a:pt x="-546" y="3453"/>
                      <a:pt x="785" y="881"/>
                      <a:pt x="3162" y="215"/>
                    </a:cubicBezTo>
                    <a:cubicBezTo>
                      <a:pt x="5539" y="-547"/>
                      <a:pt x="8012" y="786"/>
                      <a:pt x="8772" y="3167"/>
                    </a:cubicBezTo>
                    <a:lnTo>
                      <a:pt x="36729" y="94703"/>
                    </a:lnTo>
                    <a:lnTo>
                      <a:pt x="67064" y="10883"/>
                    </a:lnTo>
                    <a:cubicBezTo>
                      <a:pt x="67920" y="8501"/>
                      <a:pt x="70487" y="7358"/>
                      <a:pt x="72865" y="8216"/>
                    </a:cubicBezTo>
                    <a:cubicBezTo>
                      <a:pt x="75242" y="9073"/>
                      <a:pt x="76383" y="11645"/>
                      <a:pt x="75622" y="14026"/>
                    </a:cubicBezTo>
                    <a:lnTo>
                      <a:pt x="40723" y="110514"/>
                    </a:lnTo>
                    <a:cubicBezTo>
                      <a:pt x="40058" y="112324"/>
                      <a:pt x="38346" y="113467"/>
                      <a:pt x="36444" y="113467"/>
                    </a:cubicBezTo>
                    <a:close/>
                    <a:moveTo>
                      <a:pt x="4493" y="2786"/>
                    </a:moveTo>
                    <a:cubicBezTo>
                      <a:pt x="4493" y="2786"/>
                      <a:pt x="4208" y="2786"/>
                      <a:pt x="4018" y="2786"/>
                    </a:cubicBezTo>
                    <a:cubicBezTo>
                      <a:pt x="3162" y="3072"/>
                      <a:pt x="2687" y="4025"/>
                      <a:pt x="2877" y="4882"/>
                    </a:cubicBezTo>
                    <a:lnTo>
                      <a:pt x="34828" y="109371"/>
                    </a:lnTo>
                    <a:cubicBezTo>
                      <a:pt x="35018" y="110038"/>
                      <a:pt x="35684" y="110514"/>
                      <a:pt x="36349" y="110514"/>
                    </a:cubicBezTo>
                    <a:lnTo>
                      <a:pt x="36349" y="111943"/>
                    </a:lnTo>
                    <a:cubicBezTo>
                      <a:pt x="36349" y="111943"/>
                      <a:pt x="36349" y="110514"/>
                      <a:pt x="36349" y="110514"/>
                    </a:cubicBezTo>
                    <a:cubicBezTo>
                      <a:pt x="37015" y="110514"/>
                      <a:pt x="37680" y="110038"/>
                      <a:pt x="37871" y="109466"/>
                    </a:cubicBezTo>
                    <a:lnTo>
                      <a:pt x="72769" y="12978"/>
                    </a:lnTo>
                    <a:cubicBezTo>
                      <a:pt x="73055" y="12121"/>
                      <a:pt x="72674" y="11168"/>
                      <a:pt x="71818" y="10883"/>
                    </a:cubicBezTo>
                    <a:cubicBezTo>
                      <a:pt x="70963" y="10502"/>
                      <a:pt x="70012" y="10978"/>
                      <a:pt x="69726" y="11835"/>
                    </a:cubicBezTo>
                    <a:lnTo>
                      <a:pt x="36444" y="103656"/>
                    </a:lnTo>
                    <a:lnTo>
                      <a:pt x="5920" y="3929"/>
                    </a:lnTo>
                    <a:cubicBezTo>
                      <a:pt x="5730" y="3263"/>
                      <a:pt x="5064" y="2786"/>
                      <a:pt x="4303" y="278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0" name="Freeform 63">
                <a:extLst>
                  <a:ext uri="{FF2B5EF4-FFF2-40B4-BE49-F238E27FC236}">
                    <a16:creationId xmlns:a16="http://schemas.microsoft.com/office/drawing/2014/main" id="{D8166B49-B7D3-7487-4551-BE04897273B1}"/>
                  </a:ext>
                </a:extLst>
              </p:cNvPr>
              <p:cNvSpPr/>
              <p:nvPr/>
            </p:nvSpPr>
            <p:spPr>
              <a:xfrm>
                <a:off x="12206897" y="979504"/>
                <a:ext cx="286708" cy="339196"/>
              </a:xfrm>
              <a:custGeom>
                <a:avLst/>
                <a:gdLst>
                  <a:gd name="connsiteX0" fmla="*/ 113855 w 286708"/>
                  <a:gd name="connsiteY0" fmla="*/ 339101 h 339196"/>
                  <a:gd name="connsiteX1" fmla="*/ 113855 w 286708"/>
                  <a:gd name="connsiteY1" fmla="*/ 339101 h 339196"/>
                  <a:gd name="connsiteX2" fmla="*/ 66499 w 286708"/>
                  <a:gd name="connsiteY2" fmla="*/ 339101 h 339196"/>
                  <a:gd name="connsiteX3" fmla="*/ 63551 w 286708"/>
                  <a:gd name="connsiteY3" fmla="*/ 336910 h 339196"/>
                  <a:gd name="connsiteX4" fmla="*/ 125 w 286708"/>
                  <a:gd name="connsiteY4" fmla="*/ 120979 h 339196"/>
                  <a:gd name="connsiteX5" fmla="*/ 315 w 286708"/>
                  <a:gd name="connsiteY5" fmla="*/ 118693 h 339196"/>
                  <a:gd name="connsiteX6" fmla="*/ 58226 w 286708"/>
                  <a:gd name="connsiteY6" fmla="*/ 1726 h 339196"/>
                  <a:gd name="connsiteX7" fmla="*/ 61745 w 286708"/>
                  <a:gd name="connsiteY7" fmla="*/ 106 h 339196"/>
                  <a:gd name="connsiteX8" fmla="*/ 64122 w 286708"/>
                  <a:gd name="connsiteY8" fmla="*/ 3154 h 339196"/>
                  <a:gd name="connsiteX9" fmla="*/ 63171 w 286708"/>
                  <a:gd name="connsiteY9" fmla="*/ 131742 h 339196"/>
                  <a:gd name="connsiteX10" fmla="*/ 116327 w 286708"/>
                  <a:gd name="connsiteY10" fmla="*/ 333005 h 339196"/>
                  <a:gd name="connsiteX11" fmla="*/ 231674 w 286708"/>
                  <a:gd name="connsiteY11" fmla="*/ 333005 h 339196"/>
                  <a:gd name="connsiteX12" fmla="*/ 279600 w 286708"/>
                  <a:gd name="connsiteY12" fmla="*/ 214895 h 339196"/>
                  <a:gd name="connsiteX13" fmla="*/ 220168 w 286708"/>
                  <a:gd name="connsiteY13" fmla="*/ 193654 h 339196"/>
                  <a:gd name="connsiteX14" fmla="*/ 157692 w 286708"/>
                  <a:gd name="connsiteY14" fmla="*/ 190225 h 339196"/>
                  <a:gd name="connsiteX15" fmla="*/ 155315 w 286708"/>
                  <a:gd name="connsiteY15" fmla="*/ 188892 h 339196"/>
                  <a:gd name="connsiteX16" fmla="*/ 154935 w 286708"/>
                  <a:gd name="connsiteY16" fmla="*/ 186225 h 339196"/>
                  <a:gd name="connsiteX17" fmla="*/ 185840 w 286708"/>
                  <a:gd name="connsiteY17" fmla="*/ 85260 h 339196"/>
                  <a:gd name="connsiteX18" fmla="*/ 189168 w 286708"/>
                  <a:gd name="connsiteY18" fmla="*/ 83069 h 339196"/>
                  <a:gd name="connsiteX19" fmla="*/ 256018 w 286708"/>
                  <a:gd name="connsiteY19" fmla="*/ 91070 h 339196"/>
                  <a:gd name="connsiteX20" fmla="*/ 258680 w 286708"/>
                  <a:gd name="connsiteY20" fmla="*/ 93451 h 339196"/>
                  <a:gd name="connsiteX21" fmla="*/ 286637 w 286708"/>
                  <a:gd name="connsiteY21" fmla="*/ 212419 h 339196"/>
                  <a:gd name="connsiteX22" fmla="*/ 286637 w 286708"/>
                  <a:gd name="connsiteY22" fmla="*/ 214133 h 339196"/>
                  <a:gd name="connsiteX23" fmla="*/ 286637 w 286708"/>
                  <a:gd name="connsiteY23" fmla="*/ 214324 h 339196"/>
                  <a:gd name="connsiteX24" fmla="*/ 286637 w 286708"/>
                  <a:gd name="connsiteY24" fmla="*/ 214324 h 339196"/>
                  <a:gd name="connsiteX25" fmla="*/ 236714 w 286708"/>
                  <a:gd name="connsiteY25" fmla="*/ 337291 h 339196"/>
                  <a:gd name="connsiteX26" fmla="*/ 233861 w 286708"/>
                  <a:gd name="connsiteY26" fmla="*/ 339196 h 339196"/>
                  <a:gd name="connsiteX27" fmla="*/ 114140 w 286708"/>
                  <a:gd name="connsiteY27" fmla="*/ 339196 h 339196"/>
                  <a:gd name="connsiteX28" fmla="*/ 114140 w 286708"/>
                  <a:gd name="connsiteY28" fmla="*/ 339196 h 339196"/>
                  <a:gd name="connsiteX29" fmla="*/ 68781 w 286708"/>
                  <a:gd name="connsiteY29" fmla="*/ 332910 h 339196"/>
                  <a:gd name="connsiteX30" fmla="*/ 109861 w 286708"/>
                  <a:gd name="connsiteY30" fmla="*/ 332910 h 339196"/>
                  <a:gd name="connsiteX31" fmla="*/ 56990 w 286708"/>
                  <a:gd name="connsiteY31" fmla="*/ 132790 h 339196"/>
                  <a:gd name="connsiteX32" fmla="*/ 56895 w 286708"/>
                  <a:gd name="connsiteY32" fmla="*/ 131932 h 339196"/>
                  <a:gd name="connsiteX33" fmla="*/ 57751 w 286708"/>
                  <a:gd name="connsiteY33" fmla="*/ 16394 h 339196"/>
                  <a:gd name="connsiteX34" fmla="*/ 6306 w 286708"/>
                  <a:gd name="connsiteY34" fmla="*/ 120312 h 339196"/>
                  <a:gd name="connsiteX35" fmla="*/ 68686 w 286708"/>
                  <a:gd name="connsiteY35" fmla="*/ 332910 h 339196"/>
                  <a:gd name="connsiteX36" fmla="*/ 161876 w 286708"/>
                  <a:gd name="connsiteY36" fmla="*/ 184129 h 339196"/>
                  <a:gd name="connsiteX37" fmla="*/ 220834 w 286708"/>
                  <a:gd name="connsiteY37" fmla="*/ 187368 h 339196"/>
                  <a:gd name="connsiteX38" fmla="*/ 221689 w 286708"/>
                  <a:gd name="connsiteY38" fmla="*/ 187558 h 339196"/>
                  <a:gd name="connsiteX39" fmla="*/ 279220 w 286708"/>
                  <a:gd name="connsiteY39" fmla="*/ 208132 h 339196"/>
                  <a:gd name="connsiteX40" fmla="*/ 253070 w 286708"/>
                  <a:gd name="connsiteY40" fmla="*/ 96785 h 339196"/>
                  <a:gd name="connsiteX41" fmla="*/ 190879 w 286708"/>
                  <a:gd name="connsiteY41" fmla="*/ 89356 h 339196"/>
                  <a:gd name="connsiteX42" fmla="*/ 161876 w 286708"/>
                  <a:gd name="connsiteY42" fmla="*/ 184129 h 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708" h="339196">
                    <a:moveTo>
                      <a:pt x="113855" y="339101"/>
                    </a:moveTo>
                    <a:cubicBezTo>
                      <a:pt x="113855" y="339101"/>
                      <a:pt x="113855" y="339101"/>
                      <a:pt x="113855" y="339101"/>
                    </a:cubicBezTo>
                    <a:lnTo>
                      <a:pt x="66499" y="339101"/>
                    </a:lnTo>
                    <a:cubicBezTo>
                      <a:pt x="65168" y="339101"/>
                      <a:pt x="63932" y="338244"/>
                      <a:pt x="63551" y="336910"/>
                    </a:cubicBezTo>
                    <a:lnTo>
                      <a:pt x="125" y="120979"/>
                    </a:lnTo>
                    <a:cubicBezTo>
                      <a:pt x="-65" y="120217"/>
                      <a:pt x="-65" y="119455"/>
                      <a:pt x="315" y="118693"/>
                    </a:cubicBezTo>
                    <a:lnTo>
                      <a:pt x="58226" y="1726"/>
                    </a:lnTo>
                    <a:cubicBezTo>
                      <a:pt x="58892" y="392"/>
                      <a:pt x="60318" y="-275"/>
                      <a:pt x="61745" y="106"/>
                    </a:cubicBezTo>
                    <a:cubicBezTo>
                      <a:pt x="63171" y="392"/>
                      <a:pt x="64122" y="1726"/>
                      <a:pt x="64122" y="3154"/>
                    </a:cubicBezTo>
                    <a:lnTo>
                      <a:pt x="63171" y="131742"/>
                    </a:lnTo>
                    <a:lnTo>
                      <a:pt x="116327" y="333005"/>
                    </a:lnTo>
                    <a:lnTo>
                      <a:pt x="231674" y="333005"/>
                    </a:lnTo>
                    <a:lnTo>
                      <a:pt x="279600" y="214895"/>
                    </a:lnTo>
                    <a:lnTo>
                      <a:pt x="220168" y="193654"/>
                    </a:lnTo>
                    <a:lnTo>
                      <a:pt x="157692" y="190225"/>
                    </a:lnTo>
                    <a:cubicBezTo>
                      <a:pt x="156741" y="190225"/>
                      <a:pt x="155886" y="189654"/>
                      <a:pt x="155315" y="188892"/>
                    </a:cubicBezTo>
                    <a:cubicBezTo>
                      <a:pt x="154745" y="188130"/>
                      <a:pt x="154649" y="187082"/>
                      <a:pt x="154935" y="186225"/>
                    </a:cubicBezTo>
                    <a:lnTo>
                      <a:pt x="185840" y="85260"/>
                    </a:lnTo>
                    <a:cubicBezTo>
                      <a:pt x="186315" y="83831"/>
                      <a:pt x="187646" y="82879"/>
                      <a:pt x="189168" y="83069"/>
                    </a:cubicBezTo>
                    <a:lnTo>
                      <a:pt x="256018" y="91070"/>
                    </a:lnTo>
                    <a:cubicBezTo>
                      <a:pt x="257349" y="91261"/>
                      <a:pt x="258395" y="92118"/>
                      <a:pt x="258680" y="93451"/>
                    </a:cubicBezTo>
                    <a:lnTo>
                      <a:pt x="286637" y="212419"/>
                    </a:lnTo>
                    <a:cubicBezTo>
                      <a:pt x="286732" y="212990"/>
                      <a:pt x="286732" y="213562"/>
                      <a:pt x="286637" y="214133"/>
                    </a:cubicBezTo>
                    <a:cubicBezTo>
                      <a:pt x="286637" y="214133"/>
                      <a:pt x="286637" y="214228"/>
                      <a:pt x="286637" y="214324"/>
                    </a:cubicBezTo>
                    <a:cubicBezTo>
                      <a:pt x="286637" y="214324"/>
                      <a:pt x="286637" y="214324"/>
                      <a:pt x="286637" y="214324"/>
                    </a:cubicBezTo>
                    <a:lnTo>
                      <a:pt x="236714" y="337291"/>
                    </a:lnTo>
                    <a:cubicBezTo>
                      <a:pt x="236239" y="338434"/>
                      <a:pt x="235097" y="339196"/>
                      <a:pt x="233861" y="339196"/>
                    </a:cubicBezTo>
                    <a:lnTo>
                      <a:pt x="114140" y="339196"/>
                    </a:lnTo>
                    <a:cubicBezTo>
                      <a:pt x="114140" y="339196"/>
                      <a:pt x="114140" y="339196"/>
                      <a:pt x="114140" y="339196"/>
                    </a:cubicBezTo>
                    <a:close/>
                    <a:moveTo>
                      <a:pt x="68781" y="332910"/>
                    </a:moveTo>
                    <a:lnTo>
                      <a:pt x="109861" y="332910"/>
                    </a:lnTo>
                    <a:lnTo>
                      <a:pt x="56990" y="132790"/>
                    </a:lnTo>
                    <a:cubicBezTo>
                      <a:pt x="56990" y="132790"/>
                      <a:pt x="56895" y="132218"/>
                      <a:pt x="56895" y="131932"/>
                    </a:cubicBezTo>
                    <a:lnTo>
                      <a:pt x="57751" y="16394"/>
                    </a:lnTo>
                    <a:lnTo>
                      <a:pt x="6306" y="120312"/>
                    </a:lnTo>
                    <a:lnTo>
                      <a:pt x="68686" y="332910"/>
                    </a:lnTo>
                    <a:close/>
                    <a:moveTo>
                      <a:pt x="161876" y="184129"/>
                    </a:moveTo>
                    <a:lnTo>
                      <a:pt x="220834" y="187368"/>
                    </a:lnTo>
                    <a:cubicBezTo>
                      <a:pt x="220834" y="187368"/>
                      <a:pt x="221404" y="187368"/>
                      <a:pt x="221689" y="187558"/>
                    </a:cubicBezTo>
                    <a:lnTo>
                      <a:pt x="279220" y="208132"/>
                    </a:lnTo>
                    <a:lnTo>
                      <a:pt x="253070" y="96785"/>
                    </a:lnTo>
                    <a:lnTo>
                      <a:pt x="190879" y="89356"/>
                    </a:lnTo>
                    <a:lnTo>
                      <a:pt x="161876" y="184129"/>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1" name="Freeform 64">
                <a:extLst>
                  <a:ext uri="{FF2B5EF4-FFF2-40B4-BE49-F238E27FC236}">
                    <a16:creationId xmlns:a16="http://schemas.microsoft.com/office/drawing/2014/main" id="{F583EA7D-C9E5-681F-180E-61A0C1A12308}"/>
                  </a:ext>
                </a:extLst>
              </p:cNvPr>
              <p:cNvSpPr/>
              <p:nvPr/>
            </p:nvSpPr>
            <p:spPr>
              <a:xfrm>
                <a:off x="12205530" y="978155"/>
                <a:ext cx="289573" cy="342068"/>
              </a:xfrm>
              <a:custGeom>
                <a:avLst/>
                <a:gdLst>
                  <a:gd name="connsiteX0" fmla="*/ 235038 w 289573"/>
                  <a:gd name="connsiteY0" fmla="*/ 341878 h 342068"/>
                  <a:gd name="connsiteX1" fmla="*/ 67866 w 289573"/>
                  <a:gd name="connsiteY1" fmla="*/ 341878 h 342068"/>
                  <a:gd name="connsiteX2" fmla="*/ 63587 w 289573"/>
                  <a:gd name="connsiteY2" fmla="*/ 338640 h 342068"/>
                  <a:gd name="connsiteX3" fmla="*/ 161 w 289573"/>
                  <a:gd name="connsiteY3" fmla="*/ 122708 h 342068"/>
                  <a:gd name="connsiteX4" fmla="*/ 446 w 289573"/>
                  <a:gd name="connsiteY4" fmla="*/ 119470 h 342068"/>
                  <a:gd name="connsiteX5" fmla="*/ 58357 w 289573"/>
                  <a:gd name="connsiteY5" fmla="*/ 2503 h 342068"/>
                  <a:gd name="connsiteX6" fmla="*/ 63397 w 289573"/>
                  <a:gd name="connsiteY6" fmla="*/ 121 h 342068"/>
                  <a:gd name="connsiteX7" fmla="*/ 66915 w 289573"/>
                  <a:gd name="connsiteY7" fmla="*/ 4503 h 342068"/>
                  <a:gd name="connsiteX8" fmla="*/ 65964 w 289573"/>
                  <a:gd name="connsiteY8" fmla="*/ 132900 h 342068"/>
                  <a:gd name="connsiteX9" fmla="*/ 118835 w 289573"/>
                  <a:gd name="connsiteY9" fmla="*/ 332925 h 342068"/>
                  <a:gd name="connsiteX10" fmla="*/ 232090 w 289573"/>
                  <a:gd name="connsiteY10" fmla="*/ 332925 h 342068"/>
                  <a:gd name="connsiteX11" fmla="*/ 279065 w 289573"/>
                  <a:gd name="connsiteY11" fmla="*/ 217101 h 342068"/>
                  <a:gd name="connsiteX12" fmla="*/ 221250 w 289573"/>
                  <a:gd name="connsiteY12" fmla="*/ 196432 h 342068"/>
                  <a:gd name="connsiteX13" fmla="*/ 159059 w 289573"/>
                  <a:gd name="connsiteY13" fmla="*/ 193003 h 342068"/>
                  <a:gd name="connsiteX14" fmla="*/ 155636 w 289573"/>
                  <a:gd name="connsiteY14" fmla="*/ 191098 h 342068"/>
                  <a:gd name="connsiteX15" fmla="*/ 155065 w 289573"/>
                  <a:gd name="connsiteY15" fmla="*/ 187192 h 342068"/>
                  <a:gd name="connsiteX16" fmla="*/ 185970 w 289573"/>
                  <a:gd name="connsiteY16" fmla="*/ 86227 h 342068"/>
                  <a:gd name="connsiteX17" fmla="*/ 190820 w 289573"/>
                  <a:gd name="connsiteY17" fmla="*/ 83084 h 342068"/>
                  <a:gd name="connsiteX18" fmla="*/ 257670 w 289573"/>
                  <a:gd name="connsiteY18" fmla="*/ 91085 h 342068"/>
                  <a:gd name="connsiteX19" fmla="*/ 261473 w 289573"/>
                  <a:gd name="connsiteY19" fmla="*/ 94514 h 342068"/>
                  <a:gd name="connsiteX20" fmla="*/ 289430 w 289573"/>
                  <a:gd name="connsiteY20" fmla="*/ 213481 h 342068"/>
                  <a:gd name="connsiteX21" fmla="*/ 289430 w 289573"/>
                  <a:gd name="connsiteY21" fmla="*/ 215958 h 342068"/>
                  <a:gd name="connsiteX22" fmla="*/ 289145 w 289573"/>
                  <a:gd name="connsiteY22" fmla="*/ 216529 h 342068"/>
                  <a:gd name="connsiteX23" fmla="*/ 239412 w 289573"/>
                  <a:gd name="connsiteY23" fmla="*/ 339211 h 342068"/>
                  <a:gd name="connsiteX24" fmla="*/ 235228 w 289573"/>
                  <a:gd name="connsiteY24" fmla="*/ 342069 h 342068"/>
                  <a:gd name="connsiteX25" fmla="*/ 62350 w 289573"/>
                  <a:gd name="connsiteY25" fmla="*/ 2788 h 342068"/>
                  <a:gd name="connsiteX26" fmla="*/ 60829 w 289573"/>
                  <a:gd name="connsiteY26" fmla="*/ 3741 h 342068"/>
                  <a:gd name="connsiteX27" fmla="*/ 2918 w 289573"/>
                  <a:gd name="connsiteY27" fmla="*/ 120708 h 342068"/>
                  <a:gd name="connsiteX28" fmla="*/ 2823 w 289573"/>
                  <a:gd name="connsiteY28" fmla="*/ 121946 h 342068"/>
                  <a:gd name="connsiteX29" fmla="*/ 66154 w 289573"/>
                  <a:gd name="connsiteY29" fmla="*/ 337878 h 342068"/>
                  <a:gd name="connsiteX30" fmla="*/ 67771 w 289573"/>
                  <a:gd name="connsiteY30" fmla="*/ 339116 h 342068"/>
                  <a:gd name="connsiteX31" fmla="*/ 234943 w 289573"/>
                  <a:gd name="connsiteY31" fmla="*/ 339116 h 342068"/>
                  <a:gd name="connsiteX32" fmla="*/ 236464 w 289573"/>
                  <a:gd name="connsiteY32" fmla="*/ 338068 h 342068"/>
                  <a:gd name="connsiteX33" fmla="*/ 286388 w 289573"/>
                  <a:gd name="connsiteY33" fmla="*/ 215005 h 342068"/>
                  <a:gd name="connsiteX34" fmla="*/ 286388 w 289573"/>
                  <a:gd name="connsiteY34" fmla="*/ 214053 h 342068"/>
                  <a:gd name="connsiteX35" fmla="*/ 258431 w 289573"/>
                  <a:gd name="connsiteY35" fmla="*/ 95086 h 342068"/>
                  <a:gd name="connsiteX36" fmla="*/ 257004 w 289573"/>
                  <a:gd name="connsiteY36" fmla="*/ 93847 h 342068"/>
                  <a:gd name="connsiteX37" fmla="*/ 190154 w 289573"/>
                  <a:gd name="connsiteY37" fmla="*/ 85846 h 342068"/>
                  <a:gd name="connsiteX38" fmla="*/ 188347 w 289573"/>
                  <a:gd name="connsiteY38" fmla="*/ 86989 h 342068"/>
                  <a:gd name="connsiteX39" fmla="*/ 157443 w 289573"/>
                  <a:gd name="connsiteY39" fmla="*/ 187954 h 342068"/>
                  <a:gd name="connsiteX40" fmla="*/ 157633 w 289573"/>
                  <a:gd name="connsiteY40" fmla="*/ 189383 h 342068"/>
                  <a:gd name="connsiteX41" fmla="*/ 158869 w 289573"/>
                  <a:gd name="connsiteY41" fmla="*/ 190050 h 342068"/>
                  <a:gd name="connsiteX42" fmla="*/ 221725 w 289573"/>
                  <a:gd name="connsiteY42" fmla="*/ 193574 h 342068"/>
                  <a:gd name="connsiteX43" fmla="*/ 282584 w 289573"/>
                  <a:gd name="connsiteY43" fmla="*/ 215386 h 342068"/>
                  <a:gd name="connsiteX44" fmla="*/ 282013 w 289573"/>
                  <a:gd name="connsiteY44" fmla="*/ 216815 h 342068"/>
                  <a:gd name="connsiteX45" fmla="*/ 233707 w 289573"/>
                  <a:gd name="connsiteY45" fmla="*/ 335782 h 342068"/>
                  <a:gd name="connsiteX46" fmla="*/ 116363 w 289573"/>
                  <a:gd name="connsiteY46" fmla="*/ 335782 h 342068"/>
                  <a:gd name="connsiteX47" fmla="*/ 116078 w 289573"/>
                  <a:gd name="connsiteY47" fmla="*/ 334735 h 342068"/>
                  <a:gd name="connsiteX48" fmla="*/ 62826 w 289573"/>
                  <a:gd name="connsiteY48" fmla="*/ 133090 h 342068"/>
                  <a:gd name="connsiteX49" fmla="*/ 63777 w 289573"/>
                  <a:gd name="connsiteY49" fmla="*/ 4503 h 342068"/>
                  <a:gd name="connsiteX50" fmla="*/ 62541 w 289573"/>
                  <a:gd name="connsiteY50" fmla="*/ 2884 h 342068"/>
                  <a:gd name="connsiteX51" fmla="*/ 62160 w 289573"/>
                  <a:gd name="connsiteY51" fmla="*/ 2884 h 342068"/>
                  <a:gd name="connsiteX52" fmla="*/ 113130 w 289573"/>
                  <a:gd name="connsiteY52" fmla="*/ 335687 h 342068"/>
                  <a:gd name="connsiteX53" fmla="*/ 69102 w 289573"/>
                  <a:gd name="connsiteY53" fmla="*/ 335687 h 342068"/>
                  <a:gd name="connsiteX54" fmla="*/ 68817 w 289573"/>
                  <a:gd name="connsiteY54" fmla="*/ 334639 h 342068"/>
                  <a:gd name="connsiteX55" fmla="*/ 6246 w 289573"/>
                  <a:gd name="connsiteY55" fmla="*/ 121565 h 342068"/>
                  <a:gd name="connsiteX56" fmla="*/ 6532 w 289573"/>
                  <a:gd name="connsiteY56" fmla="*/ 121089 h 342068"/>
                  <a:gd name="connsiteX57" fmla="*/ 60734 w 289573"/>
                  <a:gd name="connsiteY57" fmla="*/ 11647 h 342068"/>
                  <a:gd name="connsiteX58" fmla="*/ 59783 w 289573"/>
                  <a:gd name="connsiteY58" fmla="*/ 133376 h 342068"/>
                  <a:gd name="connsiteX59" fmla="*/ 59783 w 289573"/>
                  <a:gd name="connsiteY59" fmla="*/ 133852 h 342068"/>
                  <a:gd name="connsiteX60" fmla="*/ 113130 w 289573"/>
                  <a:gd name="connsiteY60" fmla="*/ 335687 h 342068"/>
                  <a:gd name="connsiteX61" fmla="*/ 71194 w 289573"/>
                  <a:gd name="connsiteY61" fmla="*/ 332830 h 342068"/>
                  <a:gd name="connsiteX62" fmla="*/ 109326 w 289573"/>
                  <a:gd name="connsiteY62" fmla="*/ 332830 h 342068"/>
                  <a:gd name="connsiteX63" fmla="*/ 56930 w 289573"/>
                  <a:gd name="connsiteY63" fmla="*/ 134519 h 342068"/>
                  <a:gd name="connsiteX64" fmla="*/ 56740 w 289573"/>
                  <a:gd name="connsiteY64" fmla="*/ 133376 h 342068"/>
                  <a:gd name="connsiteX65" fmla="*/ 57596 w 289573"/>
                  <a:gd name="connsiteY65" fmla="*/ 24029 h 342068"/>
                  <a:gd name="connsiteX66" fmla="*/ 9194 w 289573"/>
                  <a:gd name="connsiteY66" fmla="*/ 121851 h 342068"/>
                  <a:gd name="connsiteX67" fmla="*/ 71099 w 289573"/>
                  <a:gd name="connsiteY67" fmla="*/ 332830 h 342068"/>
                  <a:gd name="connsiteX68" fmla="*/ 282584 w 289573"/>
                  <a:gd name="connsiteY68" fmla="*/ 211767 h 342068"/>
                  <a:gd name="connsiteX69" fmla="*/ 222581 w 289573"/>
                  <a:gd name="connsiteY69" fmla="*/ 190336 h 342068"/>
                  <a:gd name="connsiteX70" fmla="*/ 222105 w 289573"/>
                  <a:gd name="connsiteY70" fmla="*/ 190336 h 342068"/>
                  <a:gd name="connsiteX71" fmla="*/ 161341 w 289573"/>
                  <a:gd name="connsiteY71" fmla="*/ 187002 h 342068"/>
                  <a:gd name="connsiteX72" fmla="*/ 161912 w 289573"/>
                  <a:gd name="connsiteY72" fmla="*/ 185287 h 342068"/>
                  <a:gd name="connsiteX73" fmla="*/ 191296 w 289573"/>
                  <a:gd name="connsiteY73" fmla="*/ 89371 h 342068"/>
                  <a:gd name="connsiteX74" fmla="*/ 255673 w 289573"/>
                  <a:gd name="connsiteY74" fmla="*/ 97086 h 342068"/>
                  <a:gd name="connsiteX75" fmla="*/ 255863 w 289573"/>
                  <a:gd name="connsiteY75" fmla="*/ 98038 h 342068"/>
                  <a:gd name="connsiteX76" fmla="*/ 282584 w 289573"/>
                  <a:gd name="connsiteY76" fmla="*/ 211957 h 342068"/>
                  <a:gd name="connsiteX77" fmla="*/ 165145 w 289573"/>
                  <a:gd name="connsiteY77" fmla="*/ 184144 h 342068"/>
                  <a:gd name="connsiteX78" fmla="*/ 222295 w 289573"/>
                  <a:gd name="connsiteY78" fmla="*/ 187288 h 342068"/>
                  <a:gd name="connsiteX79" fmla="*/ 223532 w 289573"/>
                  <a:gd name="connsiteY79" fmla="*/ 187573 h 342068"/>
                  <a:gd name="connsiteX80" fmla="*/ 278590 w 289573"/>
                  <a:gd name="connsiteY80" fmla="*/ 207290 h 342068"/>
                  <a:gd name="connsiteX81" fmla="*/ 253295 w 289573"/>
                  <a:gd name="connsiteY81" fmla="*/ 99467 h 342068"/>
                  <a:gd name="connsiteX82" fmla="*/ 193292 w 289573"/>
                  <a:gd name="connsiteY82" fmla="*/ 92323 h 342068"/>
                  <a:gd name="connsiteX83" fmla="*/ 165145 w 289573"/>
                  <a:gd name="connsiteY83" fmla="*/ 184144 h 3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9573" h="342068">
                    <a:moveTo>
                      <a:pt x="235038" y="341878"/>
                    </a:moveTo>
                    <a:lnTo>
                      <a:pt x="67866" y="341878"/>
                    </a:lnTo>
                    <a:cubicBezTo>
                      <a:pt x="65869" y="341878"/>
                      <a:pt x="64157" y="340545"/>
                      <a:pt x="63587" y="338640"/>
                    </a:cubicBezTo>
                    <a:lnTo>
                      <a:pt x="161" y="122708"/>
                    </a:lnTo>
                    <a:cubicBezTo>
                      <a:pt x="-125" y="121565"/>
                      <a:pt x="-30" y="120422"/>
                      <a:pt x="446" y="119470"/>
                    </a:cubicBezTo>
                    <a:lnTo>
                      <a:pt x="58357" y="2503"/>
                    </a:lnTo>
                    <a:cubicBezTo>
                      <a:pt x="59308" y="598"/>
                      <a:pt x="61495" y="-355"/>
                      <a:pt x="63397" y="121"/>
                    </a:cubicBezTo>
                    <a:cubicBezTo>
                      <a:pt x="65489" y="598"/>
                      <a:pt x="66915" y="2407"/>
                      <a:pt x="66915" y="4503"/>
                    </a:cubicBezTo>
                    <a:lnTo>
                      <a:pt x="65964" y="132900"/>
                    </a:lnTo>
                    <a:lnTo>
                      <a:pt x="118835" y="332925"/>
                    </a:lnTo>
                    <a:lnTo>
                      <a:pt x="232090" y="332925"/>
                    </a:lnTo>
                    <a:lnTo>
                      <a:pt x="279065" y="217101"/>
                    </a:lnTo>
                    <a:lnTo>
                      <a:pt x="221250" y="196432"/>
                    </a:lnTo>
                    <a:lnTo>
                      <a:pt x="159059" y="193003"/>
                    </a:lnTo>
                    <a:cubicBezTo>
                      <a:pt x="157728" y="193003"/>
                      <a:pt x="156397" y="192241"/>
                      <a:pt x="155636" y="191098"/>
                    </a:cubicBezTo>
                    <a:cubicBezTo>
                      <a:pt x="154875" y="189955"/>
                      <a:pt x="154590" y="188526"/>
                      <a:pt x="155065" y="187192"/>
                    </a:cubicBezTo>
                    <a:lnTo>
                      <a:pt x="185970" y="86227"/>
                    </a:lnTo>
                    <a:cubicBezTo>
                      <a:pt x="186636" y="84132"/>
                      <a:pt x="188633" y="82798"/>
                      <a:pt x="190820" y="83084"/>
                    </a:cubicBezTo>
                    <a:lnTo>
                      <a:pt x="257670" y="91085"/>
                    </a:lnTo>
                    <a:cubicBezTo>
                      <a:pt x="259572" y="91276"/>
                      <a:pt x="261093" y="92704"/>
                      <a:pt x="261473" y="94514"/>
                    </a:cubicBezTo>
                    <a:lnTo>
                      <a:pt x="289430" y="213481"/>
                    </a:lnTo>
                    <a:cubicBezTo>
                      <a:pt x="289621" y="214243"/>
                      <a:pt x="289621" y="215101"/>
                      <a:pt x="289430" y="215958"/>
                    </a:cubicBezTo>
                    <a:lnTo>
                      <a:pt x="289145" y="216529"/>
                    </a:lnTo>
                    <a:lnTo>
                      <a:pt x="239412" y="339211"/>
                    </a:lnTo>
                    <a:cubicBezTo>
                      <a:pt x="238746" y="340926"/>
                      <a:pt x="237035" y="342069"/>
                      <a:pt x="235228" y="342069"/>
                    </a:cubicBezTo>
                    <a:close/>
                    <a:moveTo>
                      <a:pt x="62350" y="2788"/>
                    </a:moveTo>
                    <a:cubicBezTo>
                      <a:pt x="61780" y="2788"/>
                      <a:pt x="61115" y="3169"/>
                      <a:pt x="60829" y="3741"/>
                    </a:cubicBezTo>
                    <a:lnTo>
                      <a:pt x="2918" y="120708"/>
                    </a:lnTo>
                    <a:cubicBezTo>
                      <a:pt x="2918" y="120708"/>
                      <a:pt x="2728" y="121470"/>
                      <a:pt x="2823" y="121946"/>
                    </a:cubicBezTo>
                    <a:lnTo>
                      <a:pt x="66154" y="337878"/>
                    </a:lnTo>
                    <a:cubicBezTo>
                      <a:pt x="66344" y="338545"/>
                      <a:pt x="67010" y="339116"/>
                      <a:pt x="67771" y="339116"/>
                    </a:cubicBezTo>
                    <a:lnTo>
                      <a:pt x="234943" y="339116"/>
                    </a:lnTo>
                    <a:cubicBezTo>
                      <a:pt x="235608" y="339116"/>
                      <a:pt x="236179" y="338735"/>
                      <a:pt x="236464" y="338068"/>
                    </a:cubicBezTo>
                    <a:lnTo>
                      <a:pt x="286388" y="215005"/>
                    </a:lnTo>
                    <a:cubicBezTo>
                      <a:pt x="286388" y="215005"/>
                      <a:pt x="286483" y="214339"/>
                      <a:pt x="286388" y="214053"/>
                    </a:cubicBezTo>
                    <a:lnTo>
                      <a:pt x="258431" y="95086"/>
                    </a:lnTo>
                    <a:cubicBezTo>
                      <a:pt x="258240" y="94419"/>
                      <a:pt x="257670" y="93943"/>
                      <a:pt x="257004" y="93847"/>
                    </a:cubicBezTo>
                    <a:lnTo>
                      <a:pt x="190154" y="85846"/>
                    </a:lnTo>
                    <a:cubicBezTo>
                      <a:pt x="189394" y="85751"/>
                      <a:pt x="188633" y="86227"/>
                      <a:pt x="188347" y="86989"/>
                    </a:cubicBezTo>
                    <a:lnTo>
                      <a:pt x="157443" y="187954"/>
                    </a:lnTo>
                    <a:cubicBezTo>
                      <a:pt x="157252" y="188431"/>
                      <a:pt x="157443" y="189002"/>
                      <a:pt x="157633" y="189383"/>
                    </a:cubicBezTo>
                    <a:cubicBezTo>
                      <a:pt x="157918" y="189764"/>
                      <a:pt x="158394" y="190050"/>
                      <a:pt x="158869" y="190050"/>
                    </a:cubicBezTo>
                    <a:lnTo>
                      <a:pt x="221725" y="193574"/>
                    </a:lnTo>
                    <a:lnTo>
                      <a:pt x="282584" y="215386"/>
                    </a:lnTo>
                    <a:lnTo>
                      <a:pt x="282013" y="216815"/>
                    </a:lnTo>
                    <a:lnTo>
                      <a:pt x="233707" y="335782"/>
                    </a:lnTo>
                    <a:lnTo>
                      <a:pt x="116363" y="335782"/>
                    </a:lnTo>
                    <a:lnTo>
                      <a:pt x="116078" y="334735"/>
                    </a:lnTo>
                    <a:lnTo>
                      <a:pt x="62826" y="133090"/>
                    </a:lnTo>
                    <a:lnTo>
                      <a:pt x="63777" y="4503"/>
                    </a:lnTo>
                    <a:cubicBezTo>
                      <a:pt x="63777" y="3741"/>
                      <a:pt x="63301" y="3074"/>
                      <a:pt x="62541" y="2884"/>
                    </a:cubicBezTo>
                    <a:cubicBezTo>
                      <a:pt x="62446" y="2884"/>
                      <a:pt x="62256" y="2884"/>
                      <a:pt x="62160" y="2884"/>
                    </a:cubicBezTo>
                    <a:close/>
                    <a:moveTo>
                      <a:pt x="113130" y="335687"/>
                    </a:moveTo>
                    <a:lnTo>
                      <a:pt x="69102" y="335687"/>
                    </a:lnTo>
                    <a:lnTo>
                      <a:pt x="68817" y="334639"/>
                    </a:lnTo>
                    <a:lnTo>
                      <a:pt x="6246" y="121565"/>
                    </a:lnTo>
                    <a:lnTo>
                      <a:pt x="6532" y="121089"/>
                    </a:lnTo>
                    <a:lnTo>
                      <a:pt x="60734" y="11647"/>
                    </a:lnTo>
                    <a:lnTo>
                      <a:pt x="59783" y="133376"/>
                    </a:lnTo>
                    <a:cubicBezTo>
                      <a:pt x="59783" y="133376"/>
                      <a:pt x="59783" y="133662"/>
                      <a:pt x="59783" y="133852"/>
                    </a:cubicBezTo>
                    <a:lnTo>
                      <a:pt x="113130" y="335687"/>
                    </a:lnTo>
                    <a:close/>
                    <a:moveTo>
                      <a:pt x="71194" y="332830"/>
                    </a:moveTo>
                    <a:lnTo>
                      <a:pt x="109326" y="332830"/>
                    </a:lnTo>
                    <a:lnTo>
                      <a:pt x="56930" y="134519"/>
                    </a:lnTo>
                    <a:cubicBezTo>
                      <a:pt x="56930" y="134519"/>
                      <a:pt x="56740" y="133757"/>
                      <a:pt x="56740" y="133376"/>
                    </a:cubicBezTo>
                    <a:lnTo>
                      <a:pt x="57596" y="24029"/>
                    </a:lnTo>
                    <a:lnTo>
                      <a:pt x="9194" y="121851"/>
                    </a:lnTo>
                    <a:lnTo>
                      <a:pt x="71099" y="332830"/>
                    </a:lnTo>
                    <a:close/>
                    <a:moveTo>
                      <a:pt x="282584" y="211767"/>
                    </a:moveTo>
                    <a:lnTo>
                      <a:pt x="222581" y="190336"/>
                    </a:lnTo>
                    <a:cubicBezTo>
                      <a:pt x="222581" y="190336"/>
                      <a:pt x="222295" y="190336"/>
                      <a:pt x="222105" y="190336"/>
                    </a:cubicBezTo>
                    <a:lnTo>
                      <a:pt x="161341" y="187002"/>
                    </a:lnTo>
                    <a:lnTo>
                      <a:pt x="161912" y="185287"/>
                    </a:lnTo>
                    <a:lnTo>
                      <a:pt x="191296" y="89371"/>
                    </a:lnTo>
                    <a:lnTo>
                      <a:pt x="255673" y="97086"/>
                    </a:lnTo>
                    <a:lnTo>
                      <a:pt x="255863" y="98038"/>
                    </a:lnTo>
                    <a:lnTo>
                      <a:pt x="282584" y="211957"/>
                    </a:lnTo>
                    <a:close/>
                    <a:moveTo>
                      <a:pt x="165145" y="184144"/>
                    </a:moveTo>
                    <a:lnTo>
                      <a:pt x="222295" y="187288"/>
                    </a:lnTo>
                    <a:cubicBezTo>
                      <a:pt x="222295" y="187288"/>
                      <a:pt x="223151" y="187383"/>
                      <a:pt x="223532" y="187573"/>
                    </a:cubicBezTo>
                    <a:lnTo>
                      <a:pt x="278590" y="207290"/>
                    </a:lnTo>
                    <a:lnTo>
                      <a:pt x="253295" y="99467"/>
                    </a:lnTo>
                    <a:lnTo>
                      <a:pt x="193292" y="92323"/>
                    </a:lnTo>
                    <a:lnTo>
                      <a:pt x="165145" y="184144"/>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2" name="Freeform 65">
                <a:extLst>
                  <a:ext uri="{FF2B5EF4-FFF2-40B4-BE49-F238E27FC236}">
                    <a16:creationId xmlns:a16="http://schemas.microsoft.com/office/drawing/2014/main" id="{ADBC02F7-5B72-5FAE-DE0D-755F198DE9CC}"/>
                  </a:ext>
                </a:extLst>
              </p:cNvPr>
              <p:cNvSpPr/>
              <p:nvPr/>
            </p:nvSpPr>
            <p:spPr>
              <a:xfrm>
                <a:off x="12347168" y="1037979"/>
                <a:ext cx="38075" cy="280625"/>
              </a:xfrm>
              <a:custGeom>
                <a:avLst/>
                <a:gdLst>
                  <a:gd name="connsiteX0" fmla="*/ 35013 w 38075"/>
                  <a:gd name="connsiteY0" fmla="*/ 280626 h 280625"/>
                  <a:gd name="connsiteX1" fmla="*/ 31970 w 38075"/>
                  <a:gd name="connsiteY1" fmla="*/ 277864 h 280625"/>
                  <a:gd name="connsiteX2" fmla="*/ 19 w 38075"/>
                  <a:gd name="connsiteY2" fmla="*/ 3448 h 280625"/>
                  <a:gd name="connsiteX3" fmla="*/ 2682 w 38075"/>
                  <a:gd name="connsiteY3" fmla="*/ 19 h 280625"/>
                  <a:gd name="connsiteX4" fmla="*/ 6105 w 38075"/>
                  <a:gd name="connsiteY4" fmla="*/ 2686 h 280625"/>
                  <a:gd name="connsiteX5" fmla="*/ 38056 w 38075"/>
                  <a:gd name="connsiteY5" fmla="*/ 277102 h 280625"/>
                  <a:gd name="connsiteX6" fmla="*/ 35394 w 38075"/>
                  <a:gd name="connsiteY6" fmla="*/ 280531 h 280625"/>
                  <a:gd name="connsiteX7" fmla="*/ 35013 w 38075"/>
                  <a:gd name="connsiteY7" fmla="*/ 280531 h 28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75" h="280625">
                    <a:moveTo>
                      <a:pt x="35013" y="280626"/>
                    </a:moveTo>
                    <a:cubicBezTo>
                      <a:pt x="33492" y="280626"/>
                      <a:pt x="32160" y="279483"/>
                      <a:pt x="31970" y="277864"/>
                    </a:cubicBezTo>
                    <a:lnTo>
                      <a:pt x="19" y="3448"/>
                    </a:lnTo>
                    <a:cubicBezTo>
                      <a:pt x="-171" y="1734"/>
                      <a:pt x="1065" y="210"/>
                      <a:pt x="2682" y="19"/>
                    </a:cubicBezTo>
                    <a:cubicBezTo>
                      <a:pt x="4394" y="-171"/>
                      <a:pt x="5915" y="1067"/>
                      <a:pt x="6105" y="2686"/>
                    </a:cubicBezTo>
                    <a:lnTo>
                      <a:pt x="38056" y="277102"/>
                    </a:lnTo>
                    <a:cubicBezTo>
                      <a:pt x="38246" y="278816"/>
                      <a:pt x="37010" y="280340"/>
                      <a:pt x="35394" y="280531"/>
                    </a:cubicBezTo>
                    <a:cubicBezTo>
                      <a:pt x="35298" y="280531"/>
                      <a:pt x="35108" y="280531"/>
                      <a:pt x="35013" y="280531"/>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3" name="Freeform 66">
                <a:extLst>
                  <a:ext uri="{FF2B5EF4-FFF2-40B4-BE49-F238E27FC236}">
                    <a16:creationId xmlns:a16="http://schemas.microsoft.com/office/drawing/2014/main" id="{A05CB53D-E1C5-3CF8-B1F2-2377115B513B}"/>
                  </a:ext>
                </a:extLst>
              </p:cNvPr>
              <p:cNvSpPr/>
              <p:nvPr/>
            </p:nvSpPr>
            <p:spPr>
              <a:xfrm>
                <a:off x="12345744" y="1036521"/>
                <a:ext cx="41019" cy="283512"/>
              </a:xfrm>
              <a:custGeom>
                <a:avLst/>
                <a:gdLst>
                  <a:gd name="connsiteX0" fmla="*/ 36438 w 41019"/>
                  <a:gd name="connsiteY0" fmla="*/ 283513 h 283512"/>
                  <a:gd name="connsiteX1" fmla="*/ 31969 w 41019"/>
                  <a:gd name="connsiteY1" fmla="*/ 279512 h 283512"/>
                  <a:gd name="connsiteX2" fmla="*/ 18 w 41019"/>
                  <a:gd name="connsiteY2" fmla="*/ 5097 h 283512"/>
                  <a:gd name="connsiteX3" fmla="*/ 969 w 41019"/>
                  <a:gd name="connsiteY3" fmla="*/ 1763 h 283512"/>
                  <a:gd name="connsiteX4" fmla="*/ 4012 w 41019"/>
                  <a:gd name="connsiteY4" fmla="*/ 49 h 283512"/>
                  <a:gd name="connsiteX5" fmla="*/ 7340 w 41019"/>
                  <a:gd name="connsiteY5" fmla="*/ 1001 h 283512"/>
                  <a:gd name="connsiteX6" fmla="*/ 9051 w 41019"/>
                  <a:gd name="connsiteY6" fmla="*/ 4049 h 283512"/>
                  <a:gd name="connsiteX7" fmla="*/ 41002 w 41019"/>
                  <a:gd name="connsiteY7" fmla="*/ 278464 h 283512"/>
                  <a:gd name="connsiteX8" fmla="*/ 40052 w 41019"/>
                  <a:gd name="connsiteY8" fmla="*/ 281798 h 283512"/>
                  <a:gd name="connsiteX9" fmla="*/ 37009 w 41019"/>
                  <a:gd name="connsiteY9" fmla="*/ 283513 h 283512"/>
                  <a:gd name="connsiteX10" fmla="*/ 36438 w 41019"/>
                  <a:gd name="connsiteY10" fmla="*/ 283513 h 283512"/>
                  <a:gd name="connsiteX11" fmla="*/ 4487 w 41019"/>
                  <a:gd name="connsiteY11" fmla="*/ 2906 h 283512"/>
                  <a:gd name="connsiteX12" fmla="*/ 4297 w 41019"/>
                  <a:gd name="connsiteY12" fmla="*/ 2906 h 283512"/>
                  <a:gd name="connsiteX13" fmla="*/ 3156 w 41019"/>
                  <a:gd name="connsiteY13" fmla="*/ 3478 h 283512"/>
                  <a:gd name="connsiteX14" fmla="*/ 2775 w 41019"/>
                  <a:gd name="connsiteY14" fmla="*/ 4716 h 283512"/>
                  <a:gd name="connsiteX15" fmla="*/ 34726 w 41019"/>
                  <a:gd name="connsiteY15" fmla="*/ 279131 h 283512"/>
                  <a:gd name="connsiteX16" fmla="*/ 36343 w 41019"/>
                  <a:gd name="connsiteY16" fmla="*/ 280560 h 283512"/>
                  <a:gd name="connsiteX17" fmla="*/ 36533 w 41019"/>
                  <a:gd name="connsiteY17" fmla="*/ 280560 h 283512"/>
                  <a:gd name="connsiteX18" fmla="*/ 37674 w 41019"/>
                  <a:gd name="connsiteY18" fmla="*/ 279893 h 283512"/>
                  <a:gd name="connsiteX19" fmla="*/ 38054 w 41019"/>
                  <a:gd name="connsiteY19" fmla="*/ 278655 h 283512"/>
                  <a:gd name="connsiteX20" fmla="*/ 6104 w 41019"/>
                  <a:gd name="connsiteY20" fmla="*/ 4240 h 283512"/>
                  <a:gd name="connsiteX21" fmla="*/ 5533 w 41019"/>
                  <a:gd name="connsiteY21" fmla="*/ 3097 h 283512"/>
                  <a:gd name="connsiteX22" fmla="*/ 4487 w 41019"/>
                  <a:gd name="connsiteY22" fmla="*/ 271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019" h="283512">
                    <a:moveTo>
                      <a:pt x="36438" y="283513"/>
                    </a:moveTo>
                    <a:cubicBezTo>
                      <a:pt x="34156" y="283513"/>
                      <a:pt x="32254" y="281798"/>
                      <a:pt x="31969" y="279512"/>
                    </a:cubicBezTo>
                    <a:lnTo>
                      <a:pt x="18" y="5097"/>
                    </a:lnTo>
                    <a:cubicBezTo>
                      <a:pt x="-77" y="3859"/>
                      <a:pt x="208" y="2716"/>
                      <a:pt x="969" y="1763"/>
                    </a:cubicBezTo>
                    <a:cubicBezTo>
                      <a:pt x="1729" y="811"/>
                      <a:pt x="2775" y="239"/>
                      <a:pt x="4012" y="49"/>
                    </a:cubicBezTo>
                    <a:cubicBezTo>
                      <a:pt x="5248" y="-142"/>
                      <a:pt x="6389" y="239"/>
                      <a:pt x="7340" y="1001"/>
                    </a:cubicBezTo>
                    <a:cubicBezTo>
                      <a:pt x="8291" y="1763"/>
                      <a:pt x="8861" y="2811"/>
                      <a:pt x="9051" y="4049"/>
                    </a:cubicBezTo>
                    <a:lnTo>
                      <a:pt x="41002" y="278464"/>
                    </a:lnTo>
                    <a:cubicBezTo>
                      <a:pt x="41097" y="279607"/>
                      <a:pt x="40812" y="280846"/>
                      <a:pt x="40052" y="281798"/>
                    </a:cubicBezTo>
                    <a:cubicBezTo>
                      <a:pt x="39291" y="282751"/>
                      <a:pt x="38245" y="283322"/>
                      <a:pt x="37009" y="283513"/>
                    </a:cubicBezTo>
                    <a:cubicBezTo>
                      <a:pt x="36818" y="283513"/>
                      <a:pt x="36628" y="283513"/>
                      <a:pt x="36438" y="283513"/>
                    </a:cubicBezTo>
                    <a:close/>
                    <a:moveTo>
                      <a:pt x="4487" y="2906"/>
                    </a:moveTo>
                    <a:cubicBezTo>
                      <a:pt x="4487" y="2906"/>
                      <a:pt x="4392" y="2906"/>
                      <a:pt x="4297" y="2906"/>
                    </a:cubicBezTo>
                    <a:cubicBezTo>
                      <a:pt x="3821" y="2906"/>
                      <a:pt x="3441" y="3192"/>
                      <a:pt x="3156" y="3478"/>
                    </a:cubicBezTo>
                    <a:cubicBezTo>
                      <a:pt x="2871" y="3859"/>
                      <a:pt x="2775" y="4240"/>
                      <a:pt x="2775" y="4716"/>
                    </a:cubicBezTo>
                    <a:lnTo>
                      <a:pt x="34726" y="279131"/>
                    </a:lnTo>
                    <a:cubicBezTo>
                      <a:pt x="34726" y="279988"/>
                      <a:pt x="35487" y="280560"/>
                      <a:pt x="36343" y="280560"/>
                    </a:cubicBezTo>
                    <a:lnTo>
                      <a:pt x="36533" y="280560"/>
                    </a:lnTo>
                    <a:cubicBezTo>
                      <a:pt x="36533" y="280560"/>
                      <a:pt x="37389" y="280274"/>
                      <a:pt x="37674" y="279893"/>
                    </a:cubicBezTo>
                    <a:cubicBezTo>
                      <a:pt x="37960" y="279512"/>
                      <a:pt x="38054" y="279131"/>
                      <a:pt x="38054" y="278655"/>
                    </a:cubicBezTo>
                    <a:lnTo>
                      <a:pt x="6104" y="4240"/>
                    </a:lnTo>
                    <a:cubicBezTo>
                      <a:pt x="6104" y="4240"/>
                      <a:pt x="5818" y="3382"/>
                      <a:pt x="5533" y="3097"/>
                    </a:cubicBezTo>
                    <a:cubicBezTo>
                      <a:pt x="5248" y="2906"/>
                      <a:pt x="4867" y="2716"/>
                      <a:pt x="4487" y="271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4" name="Freeform 81">
                <a:extLst>
                  <a:ext uri="{FF2B5EF4-FFF2-40B4-BE49-F238E27FC236}">
                    <a16:creationId xmlns:a16="http://schemas.microsoft.com/office/drawing/2014/main" id="{856FAF7C-03BB-E336-664E-F7C8AD822599}"/>
                  </a:ext>
                </a:extLst>
              </p:cNvPr>
              <p:cNvSpPr/>
              <p:nvPr/>
            </p:nvSpPr>
            <p:spPr>
              <a:xfrm>
                <a:off x="12396589" y="1167015"/>
                <a:ext cx="34136" cy="151589"/>
              </a:xfrm>
              <a:custGeom>
                <a:avLst/>
                <a:gdLst>
                  <a:gd name="connsiteX0" fmla="*/ 3090 w 34136"/>
                  <a:gd name="connsiteY0" fmla="*/ 151590 h 151589"/>
                  <a:gd name="connsiteX1" fmla="*/ 2519 w 34136"/>
                  <a:gd name="connsiteY1" fmla="*/ 151590 h 151589"/>
                  <a:gd name="connsiteX2" fmla="*/ 47 w 34136"/>
                  <a:gd name="connsiteY2" fmla="*/ 147970 h 151589"/>
                  <a:gd name="connsiteX3" fmla="*/ 28004 w 34136"/>
                  <a:gd name="connsiteY3" fmla="*/ 2523 h 151589"/>
                  <a:gd name="connsiteX4" fmla="*/ 31617 w 34136"/>
                  <a:gd name="connsiteY4" fmla="*/ 47 h 151589"/>
                  <a:gd name="connsiteX5" fmla="*/ 34090 w 34136"/>
                  <a:gd name="connsiteY5" fmla="*/ 3666 h 151589"/>
                  <a:gd name="connsiteX6" fmla="*/ 6133 w 34136"/>
                  <a:gd name="connsiteY6" fmla="*/ 149113 h 151589"/>
                  <a:gd name="connsiteX7" fmla="*/ 3090 w 34136"/>
                  <a:gd name="connsiteY7" fmla="*/ 151590 h 15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36" h="151589">
                    <a:moveTo>
                      <a:pt x="3090" y="151590"/>
                    </a:moveTo>
                    <a:cubicBezTo>
                      <a:pt x="3090" y="151590"/>
                      <a:pt x="2709" y="151590"/>
                      <a:pt x="2519" y="151590"/>
                    </a:cubicBezTo>
                    <a:cubicBezTo>
                      <a:pt x="808" y="151304"/>
                      <a:pt x="-239" y="149685"/>
                      <a:pt x="47" y="147970"/>
                    </a:cubicBezTo>
                    <a:lnTo>
                      <a:pt x="28004" y="2523"/>
                    </a:lnTo>
                    <a:cubicBezTo>
                      <a:pt x="28289" y="809"/>
                      <a:pt x="29906" y="-239"/>
                      <a:pt x="31617" y="47"/>
                    </a:cubicBezTo>
                    <a:cubicBezTo>
                      <a:pt x="33329" y="333"/>
                      <a:pt x="34375" y="1952"/>
                      <a:pt x="34090" y="3666"/>
                    </a:cubicBezTo>
                    <a:lnTo>
                      <a:pt x="6133" y="149113"/>
                    </a:lnTo>
                    <a:cubicBezTo>
                      <a:pt x="5847" y="150542"/>
                      <a:pt x="4516" y="151590"/>
                      <a:pt x="3090" y="151590"/>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5" name="Freeform 82">
                <a:extLst>
                  <a:ext uri="{FF2B5EF4-FFF2-40B4-BE49-F238E27FC236}">
                    <a16:creationId xmlns:a16="http://schemas.microsoft.com/office/drawing/2014/main" id="{FDAAD438-C28A-B046-2DD8-82D2DF4892B9}"/>
                  </a:ext>
                </a:extLst>
              </p:cNvPr>
              <p:cNvSpPr/>
              <p:nvPr/>
            </p:nvSpPr>
            <p:spPr>
              <a:xfrm>
                <a:off x="12395151" y="1165714"/>
                <a:ext cx="36968" cy="154415"/>
              </a:xfrm>
              <a:custGeom>
                <a:avLst/>
                <a:gdLst>
                  <a:gd name="connsiteX0" fmla="*/ 4527 w 36968"/>
                  <a:gd name="connsiteY0" fmla="*/ 154320 h 154415"/>
                  <a:gd name="connsiteX1" fmla="*/ 3672 w 36968"/>
                  <a:gd name="connsiteY1" fmla="*/ 154320 h 154415"/>
                  <a:gd name="connsiteX2" fmla="*/ 58 w 36968"/>
                  <a:gd name="connsiteY2" fmla="*/ 149081 h 154415"/>
                  <a:gd name="connsiteX3" fmla="*/ 28015 w 36968"/>
                  <a:gd name="connsiteY3" fmla="*/ 3635 h 154415"/>
                  <a:gd name="connsiteX4" fmla="*/ 29917 w 36968"/>
                  <a:gd name="connsiteY4" fmla="*/ 777 h 154415"/>
                  <a:gd name="connsiteX5" fmla="*/ 33340 w 36968"/>
                  <a:gd name="connsiteY5" fmla="*/ 110 h 154415"/>
                  <a:gd name="connsiteX6" fmla="*/ 36193 w 36968"/>
                  <a:gd name="connsiteY6" fmla="*/ 2015 h 154415"/>
                  <a:gd name="connsiteX7" fmla="*/ 36859 w 36968"/>
                  <a:gd name="connsiteY7" fmla="*/ 5349 h 154415"/>
                  <a:gd name="connsiteX8" fmla="*/ 8902 w 36968"/>
                  <a:gd name="connsiteY8" fmla="*/ 150796 h 154415"/>
                  <a:gd name="connsiteX9" fmla="*/ 4527 w 36968"/>
                  <a:gd name="connsiteY9" fmla="*/ 154415 h 154415"/>
                  <a:gd name="connsiteX10" fmla="*/ 32484 w 36968"/>
                  <a:gd name="connsiteY10" fmla="*/ 2682 h 154415"/>
                  <a:gd name="connsiteX11" fmla="*/ 31534 w 36968"/>
                  <a:gd name="connsiteY11" fmla="*/ 2968 h 154415"/>
                  <a:gd name="connsiteX12" fmla="*/ 30868 w 36968"/>
                  <a:gd name="connsiteY12" fmla="*/ 4016 h 154415"/>
                  <a:gd name="connsiteX13" fmla="*/ 2911 w 36968"/>
                  <a:gd name="connsiteY13" fmla="*/ 149462 h 154415"/>
                  <a:gd name="connsiteX14" fmla="*/ 4242 w 36968"/>
                  <a:gd name="connsiteY14" fmla="*/ 151367 h 154415"/>
                  <a:gd name="connsiteX15" fmla="*/ 4527 w 36968"/>
                  <a:gd name="connsiteY15" fmla="*/ 151367 h 154415"/>
                  <a:gd name="connsiteX16" fmla="*/ 6144 w 36968"/>
                  <a:gd name="connsiteY16" fmla="*/ 150034 h 154415"/>
                  <a:gd name="connsiteX17" fmla="*/ 34101 w 36968"/>
                  <a:gd name="connsiteY17" fmla="*/ 4587 h 154415"/>
                  <a:gd name="connsiteX18" fmla="*/ 33816 w 36968"/>
                  <a:gd name="connsiteY18" fmla="*/ 3349 h 154415"/>
                  <a:gd name="connsiteX19" fmla="*/ 32770 w 36968"/>
                  <a:gd name="connsiteY19" fmla="*/ 2682 h 154415"/>
                  <a:gd name="connsiteX20" fmla="*/ 32484 w 36968"/>
                  <a:gd name="connsiteY20" fmla="*/ 2682 h 1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68" h="154415">
                    <a:moveTo>
                      <a:pt x="4527" y="154320"/>
                    </a:moveTo>
                    <a:cubicBezTo>
                      <a:pt x="4527" y="154320"/>
                      <a:pt x="3957" y="154320"/>
                      <a:pt x="3672" y="154320"/>
                    </a:cubicBezTo>
                    <a:cubicBezTo>
                      <a:pt x="1199" y="153844"/>
                      <a:pt x="-322" y="151463"/>
                      <a:pt x="58" y="149081"/>
                    </a:cubicBezTo>
                    <a:lnTo>
                      <a:pt x="28015" y="3635"/>
                    </a:lnTo>
                    <a:cubicBezTo>
                      <a:pt x="28205" y="2492"/>
                      <a:pt x="28871" y="1444"/>
                      <a:pt x="29917" y="777"/>
                    </a:cubicBezTo>
                    <a:cubicBezTo>
                      <a:pt x="30963" y="110"/>
                      <a:pt x="32104" y="-175"/>
                      <a:pt x="33340" y="110"/>
                    </a:cubicBezTo>
                    <a:cubicBezTo>
                      <a:pt x="34481" y="301"/>
                      <a:pt x="35528" y="968"/>
                      <a:pt x="36193" y="2015"/>
                    </a:cubicBezTo>
                    <a:cubicBezTo>
                      <a:pt x="36859" y="2968"/>
                      <a:pt x="37144" y="4206"/>
                      <a:pt x="36859" y="5349"/>
                    </a:cubicBezTo>
                    <a:lnTo>
                      <a:pt x="8902" y="150796"/>
                    </a:lnTo>
                    <a:cubicBezTo>
                      <a:pt x="8521" y="152891"/>
                      <a:pt x="6619" y="154415"/>
                      <a:pt x="4527" y="154415"/>
                    </a:cubicBezTo>
                    <a:close/>
                    <a:moveTo>
                      <a:pt x="32484" y="2682"/>
                    </a:moveTo>
                    <a:cubicBezTo>
                      <a:pt x="32484" y="2682"/>
                      <a:pt x="31819" y="2682"/>
                      <a:pt x="31534" y="2968"/>
                    </a:cubicBezTo>
                    <a:cubicBezTo>
                      <a:pt x="31153" y="3254"/>
                      <a:pt x="30963" y="3635"/>
                      <a:pt x="30868" y="4016"/>
                    </a:cubicBezTo>
                    <a:lnTo>
                      <a:pt x="2911" y="149462"/>
                    </a:lnTo>
                    <a:cubicBezTo>
                      <a:pt x="2721" y="150320"/>
                      <a:pt x="3291" y="151272"/>
                      <a:pt x="4242" y="151367"/>
                    </a:cubicBezTo>
                    <a:lnTo>
                      <a:pt x="4527" y="151367"/>
                    </a:lnTo>
                    <a:cubicBezTo>
                      <a:pt x="5288" y="151367"/>
                      <a:pt x="5954" y="150796"/>
                      <a:pt x="6144" y="150034"/>
                    </a:cubicBezTo>
                    <a:lnTo>
                      <a:pt x="34101" y="4587"/>
                    </a:lnTo>
                    <a:cubicBezTo>
                      <a:pt x="34101" y="4587"/>
                      <a:pt x="34101" y="3730"/>
                      <a:pt x="33816" y="3349"/>
                    </a:cubicBezTo>
                    <a:cubicBezTo>
                      <a:pt x="33530" y="2968"/>
                      <a:pt x="33150" y="2777"/>
                      <a:pt x="32770" y="2682"/>
                    </a:cubicBezTo>
                    <a:cubicBezTo>
                      <a:pt x="32675" y="2682"/>
                      <a:pt x="32580" y="2682"/>
                      <a:pt x="32484" y="2682"/>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234" name="Group 233">
            <a:extLst>
              <a:ext uri="{FF2B5EF4-FFF2-40B4-BE49-F238E27FC236}">
                <a16:creationId xmlns:a16="http://schemas.microsoft.com/office/drawing/2014/main" id="{FDAE8DFC-0D32-1F4C-1F56-17105A7BE7A1}"/>
              </a:ext>
            </a:extLst>
          </p:cNvPr>
          <p:cNvGrpSpPr/>
          <p:nvPr/>
        </p:nvGrpSpPr>
        <p:grpSpPr>
          <a:xfrm>
            <a:off x="4488532" y="1831413"/>
            <a:ext cx="240221" cy="588174"/>
            <a:chOff x="4488532" y="3346700"/>
            <a:chExt cx="240221" cy="588174"/>
          </a:xfrm>
        </p:grpSpPr>
        <p:grpSp>
          <p:nvGrpSpPr>
            <p:cNvPr id="217" name="Group 216">
              <a:extLst>
                <a:ext uri="{FF2B5EF4-FFF2-40B4-BE49-F238E27FC236}">
                  <a16:creationId xmlns:a16="http://schemas.microsoft.com/office/drawing/2014/main" id="{C6487332-4AD1-11C1-27F5-4595DCD2A980}"/>
                </a:ext>
              </a:extLst>
            </p:cNvPr>
            <p:cNvGrpSpPr/>
            <p:nvPr/>
          </p:nvGrpSpPr>
          <p:grpSpPr>
            <a:xfrm>
              <a:off x="4488532" y="3346700"/>
              <a:ext cx="240221" cy="219220"/>
              <a:chOff x="9134089" y="2485813"/>
              <a:chExt cx="762743" cy="630198"/>
            </a:xfrm>
            <a:solidFill>
              <a:srgbClr val="003055"/>
            </a:solidFill>
          </p:grpSpPr>
          <p:grpSp>
            <p:nvGrpSpPr>
              <p:cNvPr id="218" name="Group 217">
                <a:extLst>
                  <a:ext uri="{FF2B5EF4-FFF2-40B4-BE49-F238E27FC236}">
                    <a16:creationId xmlns:a16="http://schemas.microsoft.com/office/drawing/2014/main" id="{34776051-5826-A992-BAF4-B5E917788614}"/>
                  </a:ext>
                </a:extLst>
              </p:cNvPr>
              <p:cNvGrpSpPr/>
              <p:nvPr/>
            </p:nvGrpSpPr>
            <p:grpSpPr>
              <a:xfrm>
                <a:off x="9134089" y="2485813"/>
                <a:ext cx="762743" cy="630198"/>
                <a:chOff x="8720447" y="2280551"/>
                <a:chExt cx="1432280" cy="1277803"/>
              </a:xfrm>
              <a:grpFill/>
            </p:grpSpPr>
            <p:sp>
              <p:nvSpPr>
                <p:cNvPr id="220" name="Freeform 42">
                  <a:extLst>
                    <a:ext uri="{FF2B5EF4-FFF2-40B4-BE49-F238E27FC236}">
                      <a16:creationId xmlns:a16="http://schemas.microsoft.com/office/drawing/2014/main" id="{69FD6FBD-E7F2-5AD7-333B-BE80F01F08BD}"/>
                    </a:ext>
                  </a:extLst>
                </p:cNvPr>
                <p:cNvSpPr/>
                <p:nvPr/>
              </p:nvSpPr>
              <p:spPr>
                <a:xfrm>
                  <a:off x="9049777" y="2486523"/>
                  <a:ext cx="814450" cy="622394"/>
                </a:xfrm>
                <a:custGeom>
                  <a:avLst/>
                  <a:gdLst>
                    <a:gd name="connsiteX0" fmla="*/ 4784 w 219904"/>
                    <a:gd name="connsiteY0" fmla="*/ 168048 h 168048"/>
                    <a:gd name="connsiteX1" fmla="*/ 790 w 219904"/>
                    <a:gd name="connsiteY1" fmla="*/ 165954 h 168048"/>
                    <a:gd name="connsiteX2" fmla="*/ 1075 w 219904"/>
                    <a:gd name="connsiteY2" fmla="*/ 160244 h 168048"/>
                    <a:gd name="connsiteX3" fmla="*/ 54420 w 219904"/>
                    <a:gd name="connsiteY3" fmla="*/ 96952 h 168048"/>
                    <a:gd name="connsiteX4" fmla="*/ 55276 w 219904"/>
                    <a:gd name="connsiteY4" fmla="*/ 96191 h 168048"/>
                    <a:gd name="connsiteX5" fmla="*/ 185357 w 219904"/>
                    <a:gd name="connsiteY5" fmla="*/ 920 h 168048"/>
                    <a:gd name="connsiteX6" fmla="*/ 192014 w 219904"/>
                    <a:gd name="connsiteY6" fmla="*/ 1967 h 168048"/>
                    <a:gd name="connsiteX7" fmla="*/ 190968 w 219904"/>
                    <a:gd name="connsiteY7" fmla="*/ 8629 h 168048"/>
                    <a:gd name="connsiteX8" fmla="*/ 61361 w 219904"/>
                    <a:gd name="connsiteY8" fmla="*/ 103614 h 168048"/>
                    <a:gd name="connsiteX9" fmla="*/ 19047 w 219904"/>
                    <a:gd name="connsiteY9" fmla="*/ 153772 h 168048"/>
                    <a:gd name="connsiteX10" fmla="*/ 82186 w 219904"/>
                    <a:gd name="connsiteY10" fmla="*/ 133499 h 168048"/>
                    <a:gd name="connsiteX11" fmla="*/ 212363 w 219904"/>
                    <a:gd name="connsiteY11" fmla="*/ 40037 h 168048"/>
                    <a:gd name="connsiteX12" fmla="*/ 219019 w 219904"/>
                    <a:gd name="connsiteY12" fmla="*/ 41084 h 168048"/>
                    <a:gd name="connsiteX13" fmla="*/ 217878 w 219904"/>
                    <a:gd name="connsiteY13" fmla="*/ 47746 h 168048"/>
                    <a:gd name="connsiteX14" fmla="*/ 87131 w 219904"/>
                    <a:gd name="connsiteY14" fmla="*/ 141589 h 168048"/>
                    <a:gd name="connsiteX15" fmla="*/ 85799 w 219904"/>
                    <a:gd name="connsiteY15" fmla="*/ 142256 h 168048"/>
                    <a:gd name="connsiteX16" fmla="*/ 6210 w 219904"/>
                    <a:gd name="connsiteY16" fmla="*/ 167858 h 168048"/>
                    <a:gd name="connsiteX17" fmla="*/ 4784 w 219904"/>
                    <a:gd name="connsiteY17" fmla="*/ 168048 h 16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904" h="168048">
                      <a:moveTo>
                        <a:pt x="4784" y="168048"/>
                      </a:moveTo>
                      <a:cubicBezTo>
                        <a:pt x="3262" y="168048"/>
                        <a:pt x="1741" y="167287"/>
                        <a:pt x="790" y="165954"/>
                      </a:cubicBezTo>
                      <a:cubicBezTo>
                        <a:pt x="-351" y="164146"/>
                        <a:pt x="-256" y="161862"/>
                        <a:pt x="1075" y="160244"/>
                      </a:cubicBezTo>
                      <a:lnTo>
                        <a:pt x="54420" y="96952"/>
                      </a:lnTo>
                      <a:cubicBezTo>
                        <a:pt x="54420" y="96952"/>
                        <a:pt x="54991" y="96381"/>
                        <a:pt x="55276" y="96191"/>
                      </a:cubicBezTo>
                      <a:lnTo>
                        <a:pt x="185357" y="920"/>
                      </a:lnTo>
                      <a:cubicBezTo>
                        <a:pt x="187449" y="-603"/>
                        <a:pt x="190492" y="-222"/>
                        <a:pt x="192014" y="1967"/>
                      </a:cubicBezTo>
                      <a:cubicBezTo>
                        <a:pt x="193535" y="4061"/>
                        <a:pt x="193155" y="7106"/>
                        <a:pt x="190968" y="8629"/>
                      </a:cubicBezTo>
                      <a:lnTo>
                        <a:pt x="61361" y="103614"/>
                      </a:lnTo>
                      <a:lnTo>
                        <a:pt x="19047" y="153772"/>
                      </a:lnTo>
                      <a:lnTo>
                        <a:pt x="82186" y="133499"/>
                      </a:lnTo>
                      <a:lnTo>
                        <a:pt x="212363" y="40037"/>
                      </a:lnTo>
                      <a:cubicBezTo>
                        <a:pt x="214455" y="38514"/>
                        <a:pt x="217497" y="38990"/>
                        <a:pt x="219019" y="41084"/>
                      </a:cubicBezTo>
                      <a:cubicBezTo>
                        <a:pt x="220540" y="43178"/>
                        <a:pt x="220065" y="46224"/>
                        <a:pt x="217878" y="47746"/>
                      </a:cubicBezTo>
                      <a:lnTo>
                        <a:pt x="87131" y="141589"/>
                      </a:lnTo>
                      <a:cubicBezTo>
                        <a:pt x="87131" y="141589"/>
                        <a:pt x="86275" y="142065"/>
                        <a:pt x="85799" y="142256"/>
                      </a:cubicBezTo>
                      <a:lnTo>
                        <a:pt x="6210" y="167858"/>
                      </a:lnTo>
                      <a:cubicBezTo>
                        <a:pt x="5735" y="168048"/>
                        <a:pt x="5259" y="168048"/>
                        <a:pt x="4784" y="168048"/>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1" name="Freeform 43">
                  <a:extLst>
                    <a:ext uri="{FF2B5EF4-FFF2-40B4-BE49-F238E27FC236}">
                      <a16:creationId xmlns:a16="http://schemas.microsoft.com/office/drawing/2014/main" id="{4167161F-D854-5A33-F332-98344FCD0BDD}"/>
                    </a:ext>
                  </a:extLst>
                </p:cNvPr>
                <p:cNvSpPr/>
                <p:nvPr/>
              </p:nvSpPr>
              <p:spPr>
                <a:xfrm>
                  <a:off x="9718302" y="2280551"/>
                  <a:ext cx="434425" cy="394089"/>
                </a:xfrm>
                <a:custGeom>
                  <a:avLst/>
                  <a:gdLst>
                    <a:gd name="connsiteX0" fmla="*/ 40321 w 117296"/>
                    <a:gd name="connsiteY0" fmla="*/ 106310 h 106405"/>
                    <a:gd name="connsiteX1" fmla="*/ 36423 w 117296"/>
                    <a:gd name="connsiteY1" fmla="*/ 104311 h 106405"/>
                    <a:gd name="connsiteX2" fmla="*/ 37564 w 117296"/>
                    <a:gd name="connsiteY2" fmla="*/ 97649 h 106405"/>
                    <a:gd name="connsiteX3" fmla="*/ 103175 w 117296"/>
                    <a:gd name="connsiteY3" fmla="*/ 50823 h 106405"/>
                    <a:gd name="connsiteX4" fmla="*/ 103936 w 117296"/>
                    <a:gd name="connsiteY4" fmla="*/ 16940 h 106405"/>
                    <a:gd name="connsiteX5" fmla="*/ 73412 w 117296"/>
                    <a:gd name="connsiteY5" fmla="*/ 10087 h 106405"/>
                    <a:gd name="connsiteX6" fmla="*/ 7516 w 117296"/>
                    <a:gd name="connsiteY6" fmla="*/ 56438 h 106405"/>
                    <a:gd name="connsiteX7" fmla="*/ 860 w 117296"/>
                    <a:gd name="connsiteY7" fmla="*/ 55296 h 106405"/>
                    <a:gd name="connsiteX8" fmla="*/ 2001 w 117296"/>
                    <a:gd name="connsiteY8" fmla="*/ 48634 h 106405"/>
                    <a:gd name="connsiteX9" fmla="*/ 68753 w 117296"/>
                    <a:gd name="connsiteY9" fmla="*/ 1712 h 106405"/>
                    <a:gd name="connsiteX10" fmla="*/ 70560 w 117296"/>
                    <a:gd name="connsiteY10" fmla="*/ 951 h 106405"/>
                    <a:gd name="connsiteX11" fmla="*/ 111162 w 117296"/>
                    <a:gd name="connsiteY11" fmla="*/ 10944 h 106405"/>
                    <a:gd name="connsiteX12" fmla="*/ 111448 w 117296"/>
                    <a:gd name="connsiteY12" fmla="*/ 55772 h 106405"/>
                    <a:gd name="connsiteX13" fmla="*/ 109736 w 117296"/>
                    <a:gd name="connsiteY13" fmla="*/ 57866 h 106405"/>
                    <a:gd name="connsiteX14" fmla="*/ 42984 w 117296"/>
                    <a:gd name="connsiteY14" fmla="*/ 105549 h 106405"/>
                    <a:gd name="connsiteX15" fmla="*/ 40226 w 117296"/>
                    <a:gd name="connsiteY15" fmla="*/ 106405 h 10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296" h="106405">
                      <a:moveTo>
                        <a:pt x="40321" y="106310"/>
                      </a:moveTo>
                      <a:cubicBezTo>
                        <a:pt x="38800" y="106310"/>
                        <a:pt x="37374" y="105644"/>
                        <a:pt x="36423" y="104311"/>
                      </a:cubicBezTo>
                      <a:cubicBezTo>
                        <a:pt x="34901" y="102217"/>
                        <a:pt x="35377" y="99172"/>
                        <a:pt x="37564" y="97649"/>
                      </a:cubicBezTo>
                      <a:lnTo>
                        <a:pt x="103175" y="50823"/>
                      </a:lnTo>
                      <a:cubicBezTo>
                        <a:pt x="107454" y="39592"/>
                        <a:pt x="110687" y="25030"/>
                        <a:pt x="103936" y="16940"/>
                      </a:cubicBezTo>
                      <a:cubicBezTo>
                        <a:pt x="96804" y="8279"/>
                        <a:pt x="80354" y="8945"/>
                        <a:pt x="73412" y="10087"/>
                      </a:cubicBezTo>
                      <a:lnTo>
                        <a:pt x="7516" y="56438"/>
                      </a:lnTo>
                      <a:cubicBezTo>
                        <a:pt x="5424" y="57961"/>
                        <a:pt x="2381" y="57390"/>
                        <a:pt x="860" y="55296"/>
                      </a:cubicBezTo>
                      <a:cubicBezTo>
                        <a:pt x="-662" y="53107"/>
                        <a:pt x="-91" y="50156"/>
                        <a:pt x="2001" y="48634"/>
                      </a:cubicBezTo>
                      <a:lnTo>
                        <a:pt x="68753" y="1712"/>
                      </a:lnTo>
                      <a:cubicBezTo>
                        <a:pt x="69323" y="1331"/>
                        <a:pt x="69894" y="1046"/>
                        <a:pt x="70560" y="951"/>
                      </a:cubicBezTo>
                      <a:cubicBezTo>
                        <a:pt x="71701" y="760"/>
                        <a:pt x="98516" y="-4284"/>
                        <a:pt x="111162" y="10944"/>
                      </a:cubicBezTo>
                      <a:cubicBezTo>
                        <a:pt x="119245" y="20652"/>
                        <a:pt x="119340" y="35690"/>
                        <a:pt x="111448" y="55772"/>
                      </a:cubicBezTo>
                      <a:cubicBezTo>
                        <a:pt x="111068" y="56628"/>
                        <a:pt x="110497" y="57390"/>
                        <a:pt x="109736" y="57866"/>
                      </a:cubicBezTo>
                      <a:lnTo>
                        <a:pt x="42984" y="105549"/>
                      </a:lnTo>
                      <a:cubicBezTo>
                        <a:pt x="42128" y="106120"/>
                        <a:pt x="41177" y="106405"/>
                        <a:pt x="40226" y="10640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2" name="Freeform 44">
                  <a:extLst>
                    <a:ext uri="{FF2B5EF4-FFF2-40B4-BE49-F238E27FC236}">
                      <a16:creationId xmlns:a16="http://schemas.microsoft.com/office/drawing/2014/main" id="{68E641EA-3699-DC68-37CB-A00D899110EA}"/>
                    </a:ext>
                  </a:extLst>
                </p:cNvPr>
                <p:cNvSpPr/>
                <p:nvPr/>
              </p:nvSpPr>
              <p:spPr>
                <a:xfrm>
                  <a:off x="8720447" y="3144169"/>
                  <a:ext cx="732855" cy="414185"/>
                </a:xfrm>
                <a:custGeom>
                  <a:avLst/>
                  <a:gdLst>
                    <a:gd name="connsiteX0" fmla="*/ 178999 w 197873"/>
                    <a:gd name="connsiteY0" fmla="*/ 111831 h 111831"/>
                    <a:gd name="connsiteX1" fmla="*/ 16207 w 197873"/>
                    <a:gd name="connsiteY1" fmla="*/ 111831 h 111831"/>
                    <a:gd name="connsiteX2" fmla="*/ 11452 w 197873"/>
                    <a:gd name="connsiteY2" fmla="*/ 107644 h 111831"/>
                    <a:gd name="connsiteX3" fmla="*/ 42 w 197873"/>
                    <a:gd name="connsiteY3" fmla="*/ 5330 h 111831"/>
                    <a:gd name="connsiteX4" fmla="*/ 1183 w 197873"/>
                    <a:gd name="connsiteY4" fmla="*/ 1618 h 111831"/>
                    <a:gd name="connsiteX5" fmla="*/ 4701 w 197873"/>
                    <a:gd name="connsiteY5" fmla="*/ 0 h 111831"/>
                    <a:gd name="connsiteX6" fmla="*/ 193072 w 197873"/>
                    <a:gd name="connsiteY6" fmla="*/ 0 h 111831"/>
                    <a:gd name="connsiteX7" fmla="*/ 196685 w 197873"/>
                    <a:gd name="connsiteY7" fmla="*/ 1618 h 111831"/>
                    <a:gd name="connsiteX8" fmla="*/ 197826 w 197873"/>
                    <a:gd name="connsiteY8" fmla="*/ 5425 h 111831"/>
                    <a:gd name="connsiteX9" fmla="*/ 183658 w 197873"/>
                    <a:gd name="connsiteY9" fmla="*/ 107739 h 111831"/>
                    <a:gd name="connsiteX10" fmla="*/ 178904 w 197873"/>
                    <a:gd name="connsiteY10" fmla="*/ 111831 h 111831"/>
                    <a:gd name="connsiteX11" fmla="*/ 20486 w 197873"/>
                    <a:gd name="connsiteY11" fmla="*/ 102314 h 111831"/>
                    <a:gd name="connsiteX12" fmla="*/ 174910 w 197873"/>
                    <a:gd name="connsiteY12" fmla="*/ 102314 h 111831"/>
                    <a:gd name="connsiteX13" fmla="*/ 187747 w 197873"/>
                    <a:gd name="connsiteY13" fmla="*/ 9518 h 111831"/>
                    <a:gd name="connsiteX14" fmla="*/ 10121 w 197873"/>
                    <a:gd name="connsiteY14" fmla="*/ 9518 h 111831"/>
                    <a:gd name="connsiteX15" fmla="*/ 20486 w 197873"/>
                    <a:gd name="connsiteY15" fmla="*/ 102314 h 11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873" h="111831">
                      <a:moveTo>
                        <a:pt x="178999" y="111831"/>
                      </a:moveTo>
                      <a:lnTo>
                        <a:pt x="16207" y="111831"/>
                      </a:lnTo>
                      <a:cubicBezTo>
                        <a:pt x="13830" y="111831"/>
                        <a:pt x="11738" y="110023"/>
                        <a:pt x="11452" y="107644"/>
                      </a:cubicBezTo>
                      <a:lnTo>
                        <a:pt x="42" y="5330"/>
                      </a:lnTo>
                      <a:cubicBezTo>
                        <a:pt x="-148" y="3998"/>
                        <a:pt x="327" y="2665"/>
                        <a:pt x="1183" y="1618"/>
                      </a:cubicBezTo>
                      <a:cubicBezTo>
                        <a:pt x="2038" y="571"/>
                        <a:pt x="3370" y="0"/>
                        <a:pt x="4701" y="0"/>
                      </a:cubicBezTo>
                      <a:lnTo>
                        <a:pt x="193072" y="0"/>
                      </a:lnTo>
                      <a:cubicBezTo>
                        <a:pt x="194403" y="0"/>
                        <a:pt x="195734" y="571"/>
                        <a:pt x="196685" y="1618"/>
                      </a:cubicBezTo>
                      <a:cubicBezTo>
                        <a:pt x="197636" y="2665"/>
                        <a:pt x="198017" y="3998"/>
                        <a:pt x="197826" y="5425"/>
                      </a:cubicBezTo>
                      <a:lnTo>
                        <a:pt x="183658" y="107739"/>
                      </a:lnTo>
                      <a:cubicBezTo>
                        <a:pt x="183373" y="110118"/>
                        <a:pt x="181281" y="111831"/>
                        <a:pt x="178904" y="111831"/>
                      </a:cubicBezTo>
                      <a:close/>
                      <a:moveTo>
                        <a:pt x="20486" y="102314"/>
                      </a:moveTo>
                      <a:lnTo>
                        <a:pt x="174910" y="102314"/>
                      </a:lnTo>
                      <a:lnTo>
                        <a:pt x="187747" y="9518"/>
                      </a:lnTo>
                      <a:lnTo>
                        <a:pt x="10121" y="9518"/>
                      </a:lnTo>
                      <a:lnTo>
                        <a:pt x="20486" y="102314"/>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3" name="Freeform 45">
                  <a:extLst>
                    <a:ext uri="{FF2B5EF4-FFF2-40B4-BE49-F238E27FC236}">
                      <a16:creationId xmlns:a16="http://schemas.microsoft.com/office/drawing/2014/main" id="{4D179700-900A-4191-AB91-B915B92AACFB}"/>
                    </a:ext>
                  </a:extLst>
                </p:cNvPr>
                <p:cNvSpPr/>
                <p:nvPr/>
              </p:nvSpPr>
              <p:spPr>
                <a:xfrm>
                  <a:off x="8976985" y="3191402"/>
                  <a:ext cx="189468" cy="292220"/>
                </a:xfrm>
                <a:custGeom>
                  <a:avLst/>
                  <a:gdLst>
                    <a:gd name="connsiteX0" fmla="*/ 25579 w 51157"/>
                    <a:gd name="connsiteY0" fmla="*/ 78901 h 78900"/>
                    <a:gd name="connsiteX1" fmla="*/ 0 w 51157"/>
                    <a:gd name="connsiteY1" fmla="*/ 53298 h 78900"/>
                    <a:gd name="connsiteX2" fmla="*/ 1712 w 51157"/>
                    <a:gd name="connsiteY2" fmla="*/ 44162 h 78900"/>
                    <a:gd name="connsiteX3" fmla="*/ 2282 w 51157"/>
                    <a:gd name="connsiteY3" fmla="*/ 43020 h 78900"/>
                    <a:gd name="connsiteX4" fmla="*/ 21300 w 51157"/>
                    <a:gd name="connsiteY4" fmla="*/ 2760 h 78900"/>
                    <a:gd name="connsiteX5" fmla="*/ 25579 w 51157"/>
                    <a:gd name="connsiteY5" fmla="*/ 0 h 78900"/>
                    <a:gd name="connsiteX6" fmla="*/ 25579 w 51157"/>
                    <a:gd name="connsiteY6" fmla="*/ 0 h 78900"/>
                    <a:gd name="connsiteX7" fmla="*/ 29858 w 51157"/>
                    <a:gd name="connsiteY7" fmla="*/ 2760 h 78900"/>
                    <a:gd name="connsiteX8" fmla="*/ 49351 w 51157"/>
                    <a:gd name="connsiteY8" fmla="*/ 43876 h 78900"/>
                    <a:gd name="connsiteX9" fmla="*/ 49732 w 51157"/>
                    <a:gd name="connsiteY9" fmla="*/ 44828 h 78900"/>
                    <a:gd name="connsiteX10" fmla="*/ 51158 w 51157"/>
                    <a:gd name="connsiteY10" fmla="*/ 53298 h 78900"/>
                    <a:gd name="connsiteX11" fmla="*/ 25579 w 51157"/>
                    <a:gd name="connsiteY11" fmla="*/ 78901 h 78900"/>
                    <a:gd name="connsiteX12" fmla="*/ 10269 w 51157"/>
                    <a:gd name="connsiteY12" fmla="*/ 48254 h 78900"/>
                    <a:gd name="connsiteX13" fmla="*/ 9509 w 51157"/>
                    <a:gd name="connsiteY13" fmla="*/ 53203 h 78900"/>
                    <a:gd name="connsiteX14" fmla="*/ 25579 w 51157"/>
                    <a:gd name="connsiteY14" fmla="*/ 69288 h 78900"/>
                    <a:gd name="connsiteX15" fmla="*/ 41649 w 51157"/>
                    <a:gd name="connsiteY15" fmla="*/ 53203 h 78900"/>
                    <a:gd name="connsiteX16" fmla="*/ 40603 w 51157"/>
                    <a:gd name="connsiteY16" fmla="*/ 47493 h 78900"/>
                    <a:gd name="connsiteX17" fmla="*/ 40603 w 51157"/>
                    <a:gd name="connsiteY17" fmla="*/ 47302 h 78900"/>
                    <a:gd name="connsiteX18" fmla="*/ 25579 w 51157"/>
                    <a:gd name="connsiteY18" fmla="*/ 15799 h 78900"/>
                    <a:gd name="connsiteX19" fmla="*/ 10460 w 51157"/>
                    <a:gd name="connsiteY19" fmla="*/ 47778 h 78900"/>
                    <a:gd name="connsiteX20" fmla="*/ 10269 w 51157"/>
                    <a:gd name="connsiteY20" fmla="*/ 48159 h 7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157" h="78900">
                      <a:moveTo>
                        <a:pt x="25579" y="78901"/>
                      </a:moveTo>
                      <a:cubicBezTo>
                        <a:pt x="11506" y="78901"/>
                        <a:pt x="0" y="67385"/>
                        <a:pt x="0" y="53298"/>
                      </a:cubicBezTo>
                      <a:cubicBezTo>
                        <a:pt x="0" y="50253"/>
                        <a:pt x="571" y="47112"/>
                        <a:pt x="1712" y="44162"/>
                      </a:cubicBezTo>
                      <a:cubicBezTo>
                        <a:pt x="1902" y="43781"/>
                        <a:pt x="2092" y="43400"/>
                        <a:pt x="2282" y="43020"/>
                      </a:cubicBezTo>
                      <a:lnTo>
                        <a:pt x="21300" y="2760"/>
                      </a:lnTo>
                      <a:cubicBezTo>
                        <a:pt x="22061" y="1142"/>
                        <a:pt x="23772" y="0"/>
                        <a:pt x="25579" y="0"/>
                      </a:cubicBezTo>
                      <a:lnTo>
                        <a:pt x="25579" y="0"/>
                      </a:lnTo>
                      <a:cubicBezTo>
                        <a:pt x="27386" y="0"/>
                        <a:pt x="29097" y="1047"/>
                        <a:pt x="29858" y="2760"/>
                      </a:cubicBezTo>
                      <a:lnTo>
                        <a:pt x="49351" y="43876"/>
                      </a:lnTo>
                      <a:cubicBezTo>
                        <a:pt x="49351" y="43876"/>
                        <a:pt x="49636" y="44542"/>
                        <a:pt x="49732" y="44828"/>
                      </a:cubicBezTo>
                      <a:cubicBezTo>
                        <a:pt x="50682" y="47588"/>
                        <a:pt x="51158" y="50443"/>
                        <a:pt x="51158" y="53298"/>
                      </a:cubicBezTo>
                      <a:cubicBezTo>
                        <a:pt x="51158" y="67480"/>
                        <a:pt x="39652" y="78901"/>
                        <a:pt x="25579" y="78901"/>
                      </a:cubicBezTo>
                      <a:close/>
                      <a:moveTo>
                        <a:pt x="10269" y="48254"/>
                      </a:moveTo>
                      <a:cubicBezTo>
                        <a:pt x="9699" y="49872"/>
                        <a:pt x="9509" y="51585"/>
                        <a:pt x="9509" y="53203"/>
                      </a:cubicBezTo>
                      <a:cubicBezTo>
                        <a:pt x="9509" y="62055"/>
                        <a:pt x="16736" y="69288"/>
                        <a:pt x="25579" y="69288"/>
                      </a:cubicBezTo>
                      <a:cubicBezTo>
                        <a:pt x="34422" y="69288"/>
                        <a:pt x="41649" y="62055"/>
                        <a:pt x="41649" y="53203"/>
                      </a:cubicBezTo>
                      <a:cubicBezTo>
                        <a:pt x="41649" y="51300"/>
                        <a:pt x="41269" y="49396"/>
                        <a:pt x="40603" y="47493"/>
                      </a:cubicBezTo>
                      <a:lnTo>
                        <a:pt x="40603" y="47302"/>
                      </a:lnTo>
                      <a:cubicBezTo>
                        <a:pt x="40603" y="47302"/>
                        <a:pt x="25579" y="15799"/>
                        <a:pt x="25579" y="15799"/>
                      </a:cubicBezTo>
                      <a:lnTo>
                        <a:pt x="10460" y="47778"/>
                      </a:lnTo>
                      <a:cubicBezTo>
                        <a:pt x="10460" y="47778"/>
                        <a:pt x="10365" y="48064"/>
                        <a:pt x="10269" y="48159"/>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19" name="Freeform 41">
                <a:extLst>
                  <a:ext uri="{FF2B5EF4-FFF2-40B4-BE49-F238E27FC236}">
                    <a16:creationId xmlns:a16="http://schemas.microsoft.com/office/drawing/2014/main" id="{D0897846-F3B6-95A6-A0BE-2D52D7CD244C}"/>
                  </a:ext>
                </a:extLst>
              </p:cNvPr>
              <p:cNvSpPr/>
              <p:nvPr/>
            </p:nvSpPr>
            <p:spPr>
              <a:xfrm>
                <a:off x="9650101" y="2537764"/>
                <a:ext cx="121741" cy="165471"/>
              </a:xfrm>
              <a:custGeom>
                <a:avLst/>
                <a:gdLst>
                  <a:gd name="connsiteX0" fmla="*/ 54516 w 59300"/>
                  <a:gd name="connsiteY0" fmla="*/ 79978 h 79977"/>
                  <a:gd name="connsiteX1" fmla="*/ 50617 w 59300"/>
                  <a:gd name="connsiteY1" fmla="*/ 77979 h 79977"/>
                  <a:gd name="connsiteX2" fmla="*/ 886 w 59300"/>
                  <a:gd name="connsiteY2" fmla="*/ 7549 h 79977"/>
                  <a:gd name="connsiteX3" fmla="*/ 2027 w 59300"/>
                  <a:gd name="connsiteY3" fmla="*/ 887 h 79977"/>
                  <a:gd name="connsiteX4" fmla="*/ 8683 w 59300"/>
                  <a:gd name="connsiteY4" fmla="*/ 2029 h 79977"/>
                  <a:gd name="connsiteX5" fmla="*/ 58415 w 59300"/>
                  <a:gd name="connsiteY5" fmla="*/ 72459 h 79977"/>
                  <a:gd name="connsiteX6" fmla="*/ 57273 w 59300"/>
                  <a:gd name="connsiteY6" fmla="*/ 79121 h 79977"/>
                  <a:gd name="connsiteX7" fmla="*/ 54516 w 59300"/>
                  <a:gd name="connsiteY7" fmla="*/ 79978 h 7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0" h="79977">
                    <a:moveTo>
                      <a:pt x="54516" y="79978"/>
                    </a:moveTo>
                    <a:cubicBezTo>
                      <a:pt x="52995" y="79978"/>
                      <a:pt x="51568" y="79311"/>
                      <a:pt x="50617" y="77979"/>
                    </a:cubicBezTo>
                    <a:lnTo>
                      <a:pt x="886" y="7549"/>
                    </a:lnTo>
                    <a:cubicBezTo>
                      <a:pt x="-636" y="5360"/>
                      <a:pt x="-160" y="2409"/>
                      <a:pt x="2027" y="887"/>
                    </a:cubicBezTo>
                    <a:cubicBezTo>
                      <a:pt x="4119" y="-636"/>
                      <a:pt x="7162" y="-160"/>
                      <a:pt x="8683" y="2029"/>
                    </a:cubicBezTo>
                    <a:lnTo>
                      <a:pt x="58415" y="72459"/>
                    </a:lnTo>
                    <a:cubicBezTo>
                      <a:pt x="59936" y="74648"/>
                      <a:pt x="59461" y="77598"/>
                      <a:pt x="57273" y="79121"/>
                    </a:cubicBezTo>
                    <a:cubicBezTo>
                      <a:pt x="56418" y="79692"/>
                      <a:pt x="55467" y="79978"/>
                      <a:pt x="54516" y="79978"/>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48" name="Group 247">
              <a:extLst>
                <a:ext uri="{FF2B5EF4-FFF2-40B4-BE49-F238E27FC236}">
                  <a16:creationId xmlns:a16="http://schemas.microsoft.com/office/drawing/2014/main" id="{E146ACA1-DB2F-49B4-580A-C77ED20F4364}"/>
                </a:ext>
              </a:extLst>
            </p:cNvPr>
            <p:cNvGrpSpPr/>
            <p:nvPr/>
          </p:nvGrpSpPr>
          <p:grpSpPr>
            <a:xfrm>
              <a:off x="4488532" y="3715654"/>
              <a:ext cx="240221" cy="219220"/>
              <a:chOff x="9134089" y="2485813"/>
              <a:chExt cx="762743" cy="630198"/>
            </a:xfrm>
            <a:solidFill>
              <a:srgbClr val="003055"/>
            </a:solidFill>
          </p:grpSpPr>
          <p:grpSp>
            <p:nvGrpSpPr>
              <p:cNvPr id="249" name="Group 248">
                <a:extLst>
                  <a:ext uri="{FF2B5EF4-FFF2-40B4-BE49-F238E27FC236}">
                    <a16:creationId xmlns:a16="http://schemas.microsoft.com/office/drawing/2014/main" id="{8123B10B-057E-317B-0198-0624BA335F24}"/>
                  </a:ext>
                </a:extLst>
              </p:cNvPr>
              <p:cNvGrpSpPr/>
              <p:nvPr/>
            </p:nvGrpSpPr>
            <p:grpSpPr>
              <a:xfrm>
                <a:off x="9134089" y="2485813"/>
                <a:ext cx="762743" cy="630198"/>
                <a:chOff x="8720447" y="2280551"/>
                <a:chExt cx="1432280" cy="1277803"/>
              </a:xfrm>
              <a:grpFill/>
            </p:grpSpPr>
            <p:sp>
              <p:nvSpPr>
                <p:cNvPr id="251" name="Freeform 42">
                  <a:extLst>
                    <a:ext uri="{FF2B5EF4-FFF2-40B4-BE49-F238E27FC236}">
                      <a16:creationId xmlns:a16="http://schemas.microsoft.com/office/drawing/2014/main" id="{2E5A2D3F-2F61-D95E-5557-28314F2EA76A}"/>
                    </a:ext>
                  </a:extLst>
                </p:cNvPr>
                <p:cNvSpPr/>
                <p:nvPr/>
              </p:nvSpPr>
              <p:spPr>
                <a:xfrm>
                  <a:off x="9049777" y="2486523"/>
                  <a:ext cx="814450" cy="622394"/>
                </a:xfrm>
                <a:custGeom>
                  <a:avLst/>
                  <a:gdLst>
                    <a:gd name="connsiteX0" fmla="*/ 4784 w 219904"/>
                    <a:gd name="connsiteY0" fmla="*/ 168048 h 168048"/>
                    <a:gd name="connsiteX1" fmla="*/ 790 w 219904"/>
                    <a:gd name="connsiteY1" fmla="*/ 165954 h 168048"/>
                    <a:gd name="connsiteX2" fmla="*/ 1075 w 219904"/>
                    <a:gd name="connsiteY2" fmla="*/ 160244 h 168048"/>
                    <a:gd name="connsiteX3" fmla="*/ 54420 w 219904"/>
                    <a:gd name="connsiteY3" fmla="*/ 96952 h 168048"/>
                    <a:gd name="connsiteX4" fmla="*/ 55276 w 219904"/>
                    <a:gd name="connsiteY4" fmla="*/ 96191 h 168048"/>
                    <a:gd name="connsiteX5" fmla="*/ 185357 w 219904"/>
                    <a:gd name="connsiteY5" fmla="*/ 920 h 168048"/>
                    <a:gd name="connsiteX6" fmla="*/ 192014 w 219904"/>
                    <a:gd name="connsiteY6" fmla="*/ 1967 h 168048"/>
                    <a:gd name="connsiteX7" fmla="*/ 190968 w 219904"/>
                    <a:gd name="connsiteY7" fmla="*/ 8629 h 168048"/>
                    <a:gd name="connsiteX8" fmla="*/ 61361 w 219904"/>
                    <a:gd name="connsiteY8" fmla="*/ 103614 h 168048"/>
                    <a:gd name="connsiteX9" fmla="*/ 19047 w 219904"/>
                    <a:gd name="connsiteY9" fmla="*/ 153772 h 168048"/>
                    <a:gd name="connsiteX10" fmla="*/ 82186 w 219904"/>
                    <a:gd name="connsiteY10" fmla="*/ 133499 h 168048"/>
                    <a:gd name="connsiteX11" fmla="*/ 212363 w 219904"/>
                    <a:gd name="connsiteY11" fmla="*/ 40037 h 168048"/>
                    <a:gd name="connsiteX12" fmla="*/ 219019 w 219904"/>
                    <a:gd name="connsiteY12" fmla="*/ 41084 h 168048"/>
                    <a:gd name="connsiteX13" fmla="*/ 217878 w 219904"/>
                    <a:gd name="connsiteY13" fmla="*/ 47746 h 168048"/>
                    <a:gd name="connsiteX14" fmla="*/ 87131 w 219904"/>
                    <a:gd name="connsiteY14" fmla="*/ 141589 h 168048"/>
                    <a:gd name="connsiteX15" fmla="*/ 85799 w 219904"/>
                    <a:gd name="connsiteY15" fmla="*/ 142256 h 168048"/>
                    <a:gd name="connsiteX16" fmla="*/ 6210 w 219904"/>
                    <a:gd name="connsiteY16" fmla="*/ 167858 h 168048"/>
                    <a:gd name="connsiteX17" fmla="*/ 4784 w 219904"/>
                    <a:gd name="connsiteY17" fmla="*/ 168048 h 16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904" h="168048">
                      <a:moveTo>
                        <a:pt x="4784" y="168048"/>
                      </a:moveTo>
                      <a:cubicBezTo>
                        <a:pt x="3262" y="168048"/>
                        <a:pt x="1741" y="167287"/>
                        <a:pt x="790" y="165954"/>
                      </a:cubicBezTo>
                      <a:cubicBezTo>
                        <a:pt x="-351" y="164146"/>
                        <a:pt x="-256" y="161862"/>
                        <a:pt x="1075" y="160244"/>
                      </a:cubicBezTo>
                      <a:lnTo>
                        <a:pt x="54420" y="96952"/>
                      </a:lnTo>
                      <a:cubicBezTo>
                        <a:pt x="54420" y="96952"/>
                        <a:pt x="54991" y="96381"/>
                        <a:pt x="55276" y="96191"/>
                      </a:cubicBezTo>
                      <a:lnTo>
                        <a:pt x="185357" y="920"/>
                      </a:lnTo>
                      <a:cubicBezTo>
                        <a:pt x="187449" y="-603"/>
                        <a:pt x="190492" y="-222"/>
                        <a:pt x="192014" y="1967"/>
                      </a:cubicBezTo>
                      <a:cubicBezTo>
                        <a:pt x="193535" y="4061"/>
                        <a:pt x="193155" y="7106"/>
                        <a:pt x="190968" y="8629"/>
                      </a:cubicBezTo>
                      <a:lnTo>
                        <a:pt x="61361" y="103614"/>
                      </a:lnTo>
                      <a:lnTo>
                        <a:pt x="19047" y="153772"/>
                      </a:lnTo>
                      <a:lnTo>
                        <a:pt x="82186" y="133499"/>
                      </a:lnTo>
                      <a:lnTo>
                        <a:pt x="212363" y="40037"/>
                      </a:lnTo>
                      <a:cubicBezTo>
                        <a:pt x="214455" y="38514"/>
                        <a:pt x="217497" y="38990"/>
                        <a:pt x="219019" y="41084"/>
                      </a:cubicBezTo>
                      <a:cubicBezTo>
                        <a:pt x="220540" y="43178"/>
                        <a:pt x="220065" y="46224"/>
                        <a:pt x="217878" y="47746"/>
                      </a:cubicBezTo>
                      <a:lnTo>
                        <a:pt x="87131" y="141589"/>
                      </a:lnTo>
                      <a:cubicBezTo>
                        <a:pt x="87131" y="141589"/>
                        <a:pt x="86275" y="142065"/>
                        <a:pt x="85799" y="142256"/>
                      </a:cubicBezTo>
                      <a:lnTo>
                        <a:pt x="6210" y="167858"/>
                      </a:lnTo>
                      <a:cubicBezTo>
                        <a:pt x="5735" y="168048"/>
                        <a:pt x="5259" y="168048"/>
                        <a:pt x="4784" y="168048"/>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2" name="Freeform 43">
                  <a:extLst>
                    <a:ext uri="{FF2B5EF4-FFF2-40B4-BE49-F238E27FC236}">
                      <a16:creationId xmlns:a16="http://schemas.microsoft.com/office/drawing/2014/main" id="{3B7F354B-92EA-1F6E-2776-A5F65EB99226}"/>
                    </a:ext>
                  </a:extLst>
                </p:cNvPr>
                <p:cNvSpPr/>
                <p:nvPr/>
              </p:nvSpPr>
              <p:spPr>
                <a:xfrm>
                  <a:off x="9718302" y="2280551"/>
                  <a:ext cx="434425" cy="394089"/>
                </a:xfrm>
                <a:custGeom>
                  <a:avLst/>
                  <a:gdLst>
                    <a:gd name="connsiteX0" fmla="*/ 40321 w 117296"/>
                    <a:gd name="connsiteY0" fmla="*/ 106310 h 106405"/>
                    <a:gd name="connsiteX1" fmla="*/ 36423 w 117296"/>
                    <a:gd name="connsiteY1" fmla="*/ 104311 h 106405"/>
                    <a:gd name="connsiteX2" fmla="*/ 37564 w 117296"/>
                    <a:gd name="connsiteY2" fmla="*/ 97649 h 106405"/>
                    <a:gd name="connsiteX3" fmla="*/ 103175 w 117296"/>
                    <a:gd name="connsiteY3" fmla="*/ 50823 h 106405"/>
                    <a:gd name="connsiteX4" fmla="*/ 103936 w 117296"/>
                    <a:gd name="connsiteY4" fmla="*/ 16940 h 106405"/>
                    <a:gd name="connsiteX5" fmla="*/ 73412 w 117296"/>
                    <a:gd name="connsiteY5" fmla="*/ 10087 h 106405"/>
                    <a:gd name="connsiteX6" fmla="*/ 7516 w 117296"/>
                    <a:gd name="connsiteY6" fmla="*/ 56438 h 106405"/>
                    <a:gd name="connsiteX7" fmla="*/ 860 w 117296"/>
                    <a:gd name="connsiteY7" fmla="*/ 55296 h 106405"/>
                    <a:gd name="connsiteX8" fmla="*/ 2001 w 117296"/>
                    <a:gd name="connsiteY8" fmla="*/ 48634 h 106405"/>
                    <a:gd name="connsiteX9" fmla="*/ 68753 w 117296"/>
                    <a:gd name="connsiteY9" fmla="*/ 1712 h 106405"/>
                    <a:gd name="connsiteX10" fmla="*/ 70560 w 117296"/>
                    <a:gd name="connsiteY10" fmla="*/ 951 h 106405"/>
                    <a:gd name="connsiteX11" fmla="*/ 111162 w 117296"/>
                    <a:gd name="connsiteY11" fmla="*/ 10944 h 106405"/>
                    <a:gd name="connsiteX12" fmla="*/ 111448 w 117296"/>
                    <a:gd name="connsiteY12" fmla="*/ 55772 h 106405"/>
                    <a:gd name="connsiteX13" fmla="*/ 109736 w 117296"/>
                    <a:gd name="connsiteY13" fmla="*/ 57866 h 106405"/>
                    <a:gd name="connsiteX14" fmla="*/ 42984 w 117296"/>
                    <a:gd name="connsiteY14" fmla="*/ 105549 h 106405"/>
                    <a:gd name="connsiteX15" fmla="*/ 40226 w 117296"/>
                    <a:gd name="connsiteY15" fmla="*/ 106405 h 10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296" h="106405">
                      <a:moveTo>
                        <a:pt x="40321" y="106310"/>
                      </a:moveTo>
                      <a:cubicBezTo>
                        <a:pt x="38800" y="106310"/>
                        <a:pt x="37374" y="105644"/>
                        <a:pt x="36423" y="104311"/>
                      </a:cubicBezTo>
                      <a:cubicBezTo>
                        <a:pt x="34901" y="102217"/>
                        <a:pt x="35377" y="99172"/>
                        <a:pt x="37564" y="97649"/>
                      </a:cubicBezTo>
                      <a:lnTo>
                        <a:pt x="103175" y="50823"/>
                      </a:lnTo>
                      <a:cubicBezTo>
                        <a:pt x="107454" y="39592"/>
                        <a:pt x="110687" y="25030"/>
                        <a:pt x="103936" y="16940"/>
                      </a:cubicBezTo>
                      <a:cubicBezTo>
                        <a:pt x="96804" y="8279"/>
                        <a:pt x="80354" y="8945"/>
                        <a:pt x="73412" y="10087"/>
                      </a:cubicBezTo>
                      <a:lnTo>
                        <a:pt x="7516" y="56438"/>
                      </a:lnTo>
                      <a:cubicBezTo>
                        <a:pt x="5424" y="57961"/>
                        <a:pt x="2381" y="57390"/>
                        <a:pt x="860" y="55296"/>
                      </a:cubicBezTo>
                      <a:cubicBezTo>
                        <a:pt x="-662" y="53107"/>
                        <a:pt x="-91" y="50156"/>
                        <a:pt x="2001" y="48634"/>
                      </a:cubicBezTo>
                      <a:lnTo>
                        <a:pt x="68753" y="1712"/>
                      </a:lnTo>
                      <a:cubicBezTo>
                        <a:pt x="69323" y="1331"/>
                        <a:pt x="69894" y="1046"/>
                        <a:pt x="70560" y="951"/>
                      </a:cubicBezTo>
                      <a:cubicBezTo>
                        <a:pt x="71701" y="760"/>
                        <a:pt x="98516" y="-4284"/>
                        <a:pt x="111162" y="10944"/>
                      </a:cubicBezTo>
                      <a:cubicBezTo>
                        <a:pt x="119245" y="20652"/>
                        <a:pt x="119340" y="35690"/>
                        <a:pt x="111448" y="55772"/>
                      </a:cubicBezTo>
                      <a:cubicBezTo>
                        <a:pt x="111068" y="56628"/>
                        <a:pt x="110497" y="57390"/>
                        <a:pt x="109736" y="57866"/>
                      </a:cubicBezTo>
                      <a:lnTo>
                        <a:pt x="42984" y="105549"/>
                      </a:lnTo>
                      <a:cubicBezTo>
                        <a:pt x="42128" y="106120"/>
                        <a:pt x="41177" y="106405"/>
                        <a:pt x="40226" y="10640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3" name="Freeform 44">
                  <a:extLst>
                    <a:ext uri="{FF2B5EF4-FFF2-40B4-BE49-F238E27FC236}">
                      <a16:creationId xmlns:a16="http://schemas.microsoft.com/office/drawing/2014/main" id="{462CAABA-E3A9-E7C3-0751-FEE8486F3D06}"/>
                    </a:ext>
                  </a:extLst>
                </p:cNvPr>
                <p:cNvSpPr/>
                <p:nvPr/>
              </p:nvSpPr>
              <p:spPr>
                <a:xfrm>
                  <a:off x="8720447" y="3144169"/>
                  <a:ext cx="732855" cy="414185"/>
                </a:xfrm>
                <a:custGeom>
                  <a:avLst/>
                  <a:gdLst>
                    <a:gd name="connsiteX0" fmla="*/ 178999 w 197873"/>
                    <a:gd name="connsiteY0" fmla="*/ 111831 h 111831"/>
                    <a:gd name="connsiteX1" fmla="*/ 16207 w 197873"/>
                    <a:gd name="connsiteY1" fmla="*/ 111831 h 111831"/>
                    <a:gd name="connsiteX2" fmla="*/ 11452 w 197873"/>
                    <a:gd name="connsiteY2" fmla="*/ 107644 h 111831"/>
                    <a:gd name="connsiteX3" fmla="*/ 42 w 197873"/>
                    <a:gd name="connsiteY3" fmla="*/ 5330 h 111831"/>
                    <a:gd name="connsiteX4" fmla="*/ 1183 w 197873"/>
                    <a:gd name="connsiteY4" fmla="*/ 1618 h 111831"/>
                    <a:gd name="connsiteX5" fmla="*/ 4701 w 197873"/>
                    <a:gd name="connsiteY5" fmla="*/ 0 h 111831"/>
                    <a:gd name="connsiteX6" fmla="*/ 193072 w 197873"/>
                    <a:gd name="connsiteY6" fmla="*/ 0 h 111831"/>
                    <a:gd name="connsiteX7" fmla="*/ 196685 w 197873"/>
                    <a:gd name="connsiteY7" fmla="*/ 1618 h 111831"/>
                    <a:gd name="connsiteX8" fmla="*/ 197826 w 197873"/>
                    <a:gd name="connsiteY8" fmla="*/ 5425 h 111831"/>
                    <a:gd name="connsiteX9" fmla="*/ 183658 w 197873"/>
                    <a:gd name="connsiteY9" fmla="*/ 107739 h 111831"/>
                    <a:gd name="connsiteX10" fmla="*/ 178904 w 197873"/>
                    <a:gd name="connsiteY10" fmla="*/ 111831 h 111831"/>
                    <a:gd name="connsiteX11" fmla="*/ 20486 w 197873"/>
                    <a:gd name="connsiteY11" fmla="*/ 102314 h 111831"/>
                    <a:gd name="connsiteX12" fmla="*/ 174910 w 197873"/>
                    <a:gd name="connsiteY12" fmla="*/ 102314 h 111831"/>
                    <a:gd name="connsiteX13" fmla="*/ 187747 w 197873"/>
                    <a:gd name="connsiteY13" fmla="*/ 9518 h 111831"/>
                    <a:gd name="connsiteX14" fmla="*/ 10121 w 197873"/>
                    <a:gd name="connsiteY14" fmla="*/ 9518 h 111831"/>
                    <a:gd name="connsiteX15" fmla="*/ 20486 w 197873"/>
                    <a:gd name="connsiteY15" fmla="*/ 102314 h 11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873" h="111831">
                      <a:moveTo>
                        <a:pt x="178999" y="111831"/>
                      </a:moveTo>
                      <a:lnTo>
                        <a:pt x="16207" y="111831"/>
                      </a:lnTo>
                      <a:cubicBezTo>
                        <a:pt x="13830" y="111831"/>
                        <a:pt x="11738" y="110023"/>
                        <a:pt x="11452" y="107644"/>
                      </a:cubicBezTo>
                      <a:lnTo>
                        <a:pt x="42" y="5330"/>
                      </a:lnTo>
                      <a:cubicBezTo>
                        <a:pt x="-148" y="3998"/>
                        <a:pt x="327" y="2665"/>
                        <a:pt x="1183" y="1618"/>
                      </a:cubicBezTo>
                      <a:cubicBezTo>
                        <a:pt x="2038" y="571"/>
                        <a:pt x="3370" y="0"/>
                        <a:pt x="4701" y="0"/>
                      </a:cubicBezTo>
                      <a:lnTo>
                        <a:pt x="193072" y="0"/>
                      </a:lnTo>
                      <a:cubicBezTo>
                        <a:pt x="194403" y="0"/>
                        <a:pt x="195734" y="571"/>
                        <a:pt x="196685" y="1618"/>
                      </a:cubicBezTo>
                      <a:cubicBezTo>
                        <a:pt x="197636" y="2665"/>
                        <a:pt x="198017" y="3998"/>
                        <a:pt x="197826" y="5425"/>
                      </a:cubicBezTo>
                      <a:lnTo>
                        <a:pt x="183658" y="107739"/>
                      </a:lnTo>
                      <a:cubicBezTo>
                        <a:pt x="183373" y="110118"/>
                        <a:pt x="181281" y="111831"/>
                        <a:pt x="178904" y="111831"/>
                      </a:cubicBezTo>
                      <a:close/>
                      <a:moveTo>
                        <a:pt x="20486" y="102314"/>
                      </a:moveTo>
                      <a:lnTo>
                        <a:pt x="174910" y="102314"/>
                      </a:lnTo>
                      <a:lnTo>
                        <a:pt x="187747" y="9518"/>
                      </a:lnTo>
                      <a:lnTo>
                        <a:pt x="10121" y="9518"/>
                      </a:lnTo>
                      <a:lnTo>
                        <a:pt x="20486" y="102314"/>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4" name="Freeform 45">
                  <a:extLst>
                    <a:ext uri="{FF2B5EF4-FFF2-40B4-BE49-F238E27FC236}">
                      <a16:creationId xmlns:a16="http://schemas.microsoft.com/office/drawing/2014/main" id="{9001C90D-1C82-D34D-937F-D8ACBDF62FF9}"/>
                    </a:ext>
                  </a:extLst>
                </p:cNvPr>
                <p:cNvSpPr/>
                <p:nvPr/>
              </p:nvSpPr>
              <p:spPr>
                <a:xfrm>
                  <a:off x="8976985" y="3191402"/>
                  <a:ext cx="189468" cy="292220"/>
                </a:xfrm>
                <a:custGeom>
                  <a:avLst/>
                  <a:gdLst>
                    <a:gd name="connsiteX0" fmla="*/ 25579 w 51157"/>
                    <a:gd name="connsiteY0" fmla="*/ 78901 h 78900"/>
                    <a:gd name="connsiteX1" fmla="*/ 0 w 51157"/>
                    <a:gd name="connsiteY1" fmla="*/ 53298 h 78900"/>
                    <a:gd name="connsiteX2" fmla="*/ 1712 w 51157"/>
                    <a:gd name="connsiteY2" fmla="*/ 44162 h 78900"/>
                    <a:gd name="connsiteX3" fmla="*/ 2282 w 51157"/>
                    <a:gd name="connsiteY3" fmla="*/ 43020 h 78900"/>
                    <a:gd name="connsiteX4" fmla="*/ 21300 w 51157"/>
                    <a:gd name="connsiteY4" fmla="*/ 2760 h 78900"/>
                    <a:gd name="connsiteX5" fmla="*/ 25579 w 51157"/>
                    <a:gd name="connsiteY5" fmla="*/ 0 h 78900"/>
                    <a:gd name="connsiteX6" fmla="*/ 25579 w 51157"/>
                    <a:gd name="connsiteY6" fmla="*/ 0 h 78900"/>
                    <a:gd name="connsiteX7" fmla="*/ 29858 w 51157"/>
                    <a:gd name="connsiteY7" fmla="*/ 2760 h 78900"/>
                    <a:gd name="connsiteX8" fmla="*/ 49351 w 51157"/>
                    <a:gd name="connsiteY8" fmla="*/ 43876 h 78900"/>
                    <a:gd name="connsiteX9" fmla="*/ 49732 w 51157"/>
                    <a:gd name="connsiteY9" fmla="*/ 44828 h 78900"/>
                    <a:gd name="connsiteX10" fmla="*/ 51158 w 51157"/>
                    <a:gd name="connsiteY10" fmla="*/ 53298 h 78900"/>
                    <a:gd name="connsiteX11" fmla="*/ 25579 w 51157"/>
                    <a:gd name="connsiteY11" fmla="*/ 78901 h 78900"/>
                    <a:gd name="connsiteX12" fmla="*/ 10269 w 51157"/>
                    <a:gd name="connsiteY12" fmla="*/ 48254 h 78900"/>
                    <a:gd name="connsiteX13" fmla="*/ 9509 w 51157"/>
                    <a:gd name="connsiteY13" fmla="*/ 53203 h 78900"/>
                    <a:gd name="connsiteX14" fmla="*/ 25579 w 51157"/>
                    <a:gd name="connsiteY14" fmla="*/ 69288 h 78900"/>
                    <a:gd name="connsiteX15" fmla="*/ 41649 w 51157"/>
                    <a:gd name="connsiteY15" fmla="*/ 53203 h 78900"/>
                    <a:gd name="connsiteX16" fmla="*/ 40603 w 51157"/>
                    <a:gd name="connsiteY16" fmla="*/ 47493 h 78900"/>
                    <a:gd name="connsiteX17" fmla="*/ 40603 w 51157"/>
                    <a:gd name="connsiteY17" fmla="*/ 47302 h 78900"/>
                    <a:gd name="connsiteX18" fmla="*/ 25579 w 51157"/>
                    <a:gd name="connsiteY18" fmla="*/ 15799 h 78900"/>
                    <a:gd name="connsiteX19" fmla="*/ 10460 w 51157"/>
                    <a:gd name="connsiteY19" fmla="*/ 47778 h 78900"/>
                    <a:gd name="connsiteX20" fmla="*/ 10269 w 51157"/>
                    <a:gd name="connsiteY20" fmla="*/ 48159 h 7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157" h="78900">
                      <a:moveTo>
                        <a:pt x="25579" y="78901"/>
                      </a:moveTo>
                      <a:cubicBezTo>
                        <a:pt x="11506" y="78901"/>
                        <a:pt x="0" y="67385"/>
                        <a:pt x="0" y="53298"/>
                      </a:cubicBezTo>
                      <a:cubicBezTo>
                        <a:pt x="0" y="50253"/>
                        <a:pt x="571" y="47112"/>
                        <a:pt x="1712" y="44162"/>
                      </a:cubicBezTo>
                      <a:cubicBezTo>
                        <a:pt x="1902" y="43781"/>
                        <a:pt x="2092" y="43400"/>
                        <a:pt x="2282" y="43020"/>
                      </a:cubicBezTo>
                      <a:lnTo>
                        <a:pt x="21300" y="2760"/>
                      </a:lnTo>
                      <a:cubicBezTo>
                        <a:pt x="22061" y="1142"/>
                        <a:pt x="23772" y="0"/>
                        <a:pt x="25579" y="0"/>
                      </a:cubicBezTo>
                      <a:lnTo>
                        <a:pt x="25579" y="0"/>
                      </a:lnTo>
                      <a:cubicBezTo>
                        <a:pt x="27386" y="0"/>
                        <a:pt x="29097" y="1047"/>
                        <a:pt x="29858" y="2760"/>
                      </a:cubicBezTo>
                      <a:lnTo>
                        <a:pt x="49351" y="43876"/>
                      </a:lnTo>
                      <a:cubicBezTo>
                        <a:pt x="49351" y="43876"/>
                        <a:pt x="49636" y="44542"/>
                        <a:pt x="49732" y="44828"/>
                      </a:cubicBezTo>
                      <a:cubicBezTo>
                        <a:pt x="50682" y="47588"/>
                        <a:pt x="51158" y="50443"/>
                        <a:pt x="51158" y="53298"/>
                      </a:cubicBezTo>
                      <a:cubicBezTo>
                        <a:pt x="51158" y="67480"/>
                        <a:pt x="39652" y="78901"/>
                        <a:pt x="25579" y="78901"/>
                      </a:cubicBezTo>
                      <a:close/>
                      <a:moveTo>
                        <a:pt x="10269" y="48254"/>
                      </a:moveTo>
                      <a:cubicBezTo>
                        <a:pt x="9699" y="49872"/>
                        <a:pt x="9509" y="51585"/>
                        <a:pt x="9509" y="53203"/>
                      </a:cubicBezTo>
                      <a:cubicBezTo>
                        <a:pt x="9509" y="62055"/>
                        <a:pt x="16736" y="69288"/>
                        <a:pt x="25579" y="69288"/>
                      </a:cubicBezTo>
                      <a:cubicBezTo>
                        <a:pt x="34422" y="69288"/>
                        <a:pt x="41649" y="62055"/>
                        <a:pt x="41649" y="53203"/>
                      </a:cubicBezTo>
                      <a:cubicBezTo>
                        <a:pt x="41649" y="51300"/>
                        <a:pt x="41269" y="49396"/>
                        <a:pt x="40603" y="47493"/>
                      </a:cubicBezTo>
                      <a:lnTo>
                        <a:pt x="40603" y="47302"/>
                      </a:lnTo>
                      <a:cubicBezTo>
                        <a:pt x="40603" y="47302"/>
                        <a:pt x="25579" y="15799"/>
                        <a:pt x="25579" y="15799"/>
                      </a:cubicBezTo>
                      <a:lnTo>
                        <a:pt x="10460" y="47778"/>
                      </a:lnTo>
                      <a:cubicBezTo>
                        <a:pt x="10460" y="47778"/>
                        <a:pt x="10365" y="48064"/>
                        <a:pt x="10269" y="48159"/>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50" name="Freeform 41">
                <a:extLst>
                  <a:ext uri="{FF2B5EF4-FFF2-40B4-BE49-F238E27FC236}">
                    <a16:creationId xmlns:a16="http://schemas.microsoft.com/office/drawing/2014/main" id="{3903EF34-CDA9-9203-045B-76BDD1D49ED8}"/>
                  </a:ext>
                </a:extLst>
              </p:cNvPr>
              <p:cNvSpPr/>
              <p:nvPr/>
            </p:nvSpPr>
            <p:spPr>
              <a:xfrm>
                <a:off x="9650101" y="2537764"/>
                <a:ext cx="121741" cy="165471"/>
              </a:xfrm>
              <a:custGeom>
                <a:avLst/>
                <a:gdLst>
                  <a:gd name="connsiteX0" fmla="*/ 54516 w 59300"/>
                  <a:gd name="connsiteY0" fmla="*/ 79978 h 79977"/>
                  <a:gd name="connsiteX1" fmla="*/ 50617 w 59300"/>
                  <a:gd name="connsiteY1" fmla="*/ 77979 h 79977"/>
                  <a:gd name="connsiteX2" fmla="*/ 886 w 59300"/>
                  <a:gd name="connsiteY2" fmla="*/ 7549 h 79977"/>
                  <a:gd name="connsiteX3" fmla="*/ 2027 w 59300"/>
                  <a:gd name="connsiteY3" fmla="*/ 887 h 79977"/>
                  <a:gd name="connsiteX4" fmla="*/ 8683 w 59300"/>
                  <a:gd name="connsiteY4" fmla="*/ 2029 h 79977"/>
                  <a:gd name="connsiteX5" fmla="*/ 58415 w 59300"/>
                  <a:gd name="connsiteY5" fmla="*/ 72459 h 79977"/>
                  <a:gd name="connsiteX6" fmla="*/ 57273 w 59300"/>
                  <a:gd name="connsiteY6" fmla="*/ 79121 h 79977"/>
                  <a:gd name="connsiteX7" fmla="*/ 54516 w 59300"/>
                  <a:gd name="connsiteY7" fmla="*/ 79978 h 7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0" h="79977">
                    <a:moveTo>
                      <a:pt x="54516" y="79978"/>
                    </a:moveTo>
                    <a:cubicBezTo>
                      <a:pt x="52995" y="79978"/>
                      <a:pt x="51568" y="79311"/>
                      <a:pt x="50617" y="77979"/>
                    </a:cubicBezTo>
                    <a:lnTo>
                      <a:pt x="886" y="7549"/>
                    </a:lnTo>
                    <a:cubicBezTo>
                      <a:pt x="-636" y="5360"/>
                      <a:pt x="-160" y="2409"/>
                      <a:pt x="2027" y="887"/>
                    </a:cubicBezTo>
                    <a:cubicBezTo>
                      <a:pt x="4119" y="-636"/>
                      <a:pt x="7162" y="-160"/>
                      <a:pt x="8683" y="2029"/>
                    </a:cubicBezTo>
                    <a:lnTo>
                      <a:pt x="58415" y="72459"/>
                    </a:lnTo>
                    <a:cubicBezTo>
                      <a:pt x="59936" y="74648"/>
                      <a:pt x="59461" y="77598"/>
                      <a:pt x="57273" y="79121"/>
                    </a:cubicBezTo>
                    <a:cubicBezTo>
                      <a:pt x="56418" y="79692"/>
                      <a:pt x="55467" y="79978"/>
                      <a:pt x="54516" y="79978"/>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48" name="Group 47">
            <a:extLst>
              <a:ext uri="{FF2B5EF4-FFF2-40B4-BE49-F238E27FC236}">
                <a16:creationId xmlns:a16="http://schemas.microsoft.com/office/drawing/2014/main" id="{F41B5E53-98C3-54CC-B384-B39E58F76E92}"/>
              </a:ext>
            </a:extLst>
          </p:cNvPr>
          <p:cNvGrpSpPr/>
          <p:nvPr/>
        </p:nvGrpSpPr>
        <p:grpSpPr>
          <a:xfrm>
            <a:off x="4505389" y="4084042"/>
            <a:ext cx="256572" cy="962685"/>
            <a:chOff x="4505389" y="4846041"/>
            <a:chExt cx="256572" cy="962685"/>
          </a:xfrm>
        </p:grpSpPr>
        <p:grpSp>
          <p:nvGrpSpPr>
            <p:cNvPr id="199" name="Group 198">
              <a:extLst>
                <a:ext uri="{FF2B5EF4-FFF2-40B4-BE49-F238E27FC236}">
                  <a16:creationId xmlns:a16="http://schemas.microsoft.com/office/drawing/2014/main" id="{F95EC99A-D0E5-A314-EA5D-3240526263A0}"/>
                </a:ext>
              </a:extLst>
            </p:cNvPr>
            <p:cNvGrpSpPr/>
            <p:nvPr/>
          </p:nvGrpSpPr>
          <p:grpSpPr>
            <a:xfrm>
              <a:off x="4505389" y="5586135"/>
              <a:ext cx="256572" cy="222591"/>
              <a:chOff x="4141596" y="1789977"/>
              <a:chExt cx="1651912" cy="1545814"/>
            </a:xfrm>
            <a:solidFill>
              <a:srgbClr val="003055"/>
            </a:solidFill>
          </p:grpSpPr>
          <p:sp>
            <p:nvSpPr>
              <p:cNvPr id="200" name="Freeform 97">
                <a:extLst>
                  <a:ext uri="{FF2B5EF4-FFF2-40B4-BE49-F238E27FC236}">
                    <a16:creationId xmlns:a16="http://schemas.microsoft.com/office/drawing/2014/main" id="{1DE1ED6A-49D2-71B7-E968-5237722560B7}"/>
                  </a:ext>
                </a:extLst>
              </p:cNvPr>
              <p:cNvSpPr/>
              <p:nvPr/>
            </p:nvSpPr>
            <p:spPr>
              <a:xfrm>
                <a:off x="4294574" y="1789977"/>
                <a:ext cx="621295" cy="611012"/>
              </a:xfrm>
              <a:custGeom>
                <a:avLst/>
                <a:gdLst>
                  <a:gd name="connsiteX0" fmla="*/ 67991 w 135981"/>
                  <a:gd name="connsiteY0" fmla="*/ 133731 h 133730"/>
                  <a:gd name="connsiteX1" fmla="*/ 0 w 135981"/>
                  <a:gd name="connsiteY1" fmla="*/ 66865 h 133730"/>
                  <a:gd name="connsiteX2" fmla="*/ 67991 w 135981"/>
                  <a:gd name="connsiteY2" fmla="*/ 0 h 133730"/>
                  <a:gd name="connsiteX3" fmla="*/ 135982 w 135981"/>
                  <a:gd name="connsiteY3" fmla="*/ 66865 h 133730"/>
                  <a:gd name="connsiteX4" fmla="*/ 67991 w 135981"/>
                  <a:gd name="connsiteY4" fmla="*/ 133731 h 133730"/>
                  <a:gd name="connsiteX5" fmla="*/ 67991 w 135981"/>
                  <a:gd name="connsiteY5" fmla="*/ 9525 h 133730"/>
                  <a:gd name="connsiteX6" fmla="*/ 9509 w 135981"/>
                  <a:gd name="connsiteY6" fmla="*/ 66865 h 133730"/>
                  <a:gd name="connsiteX7" fmla="*/ 67991 w 135981"/>
                  <a:gd name="connsiteY7" fmla="*/ 124206 h 133730"/>
                  <a:gd name="connsiteX8" fmla="*/ 126472 w 135981"/>
                  <a:gd name="connsiteY8" fmla="*/ 66865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4" y="133731"/>
                      <a:pt x="0" y="103727"/>
                      <a:pt x="0" y="66865"/>
                    </a:cubicBezTo>
                    <a:cubicBezTo>
                      <a:pt x="0" y="30004"/>
                      <a:pt x="30524" y="0"/>
                      <a:pt x="67991" y="0"/>
                    </a:cubicBezTo>
                    <a:cubicBezTo>
                      <a:pt x="105457" y="0"/>
                      <a:pt x="135982" y="30004"/>
                      <a:pt x="135982" y="66865"/>
                    </a:cubicBezTo>
                    <a:cubicBezTo>
                      <a:pt x="135982" y="103727"/>
                      <a:pt x="105457" y="133731"/>
                      <a:pt x="67991" y="133731"/>
                    </a:cubicBezTo>
                    <a:close/>
                    <a:moveTo>
                      <a:pt x="67991" y="9525"/>
                    </a:moveTo>
                    <a:cubicBezTo>
                      <a:pt x="35754" y="9525"/>
                      <a:pt x="9509" y="35242"/>
                      <a:pt x="9509" y="66865"/>
                    </a:cubicBezTo>
                    <a:cubicBezTo>
                      <a:pt x="9509" y="98488"/>
                      <a:pt x="35754" y="124206"/>
                      <a:pt x="67991" y="124206"/>
                    </a:cubicBezTo>
                    <a:cubicBezTo>
                      <a:pt x="100227" y="124206"/>
                      <a:pt x="126472" y="98488"/>
                      <a:pt x="126472" y="66865"/>
                    </a:cubicBezTo>
                    <a:cubicBezTo>
                      <a:pt x="126472"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98">
                <a:extLst>
                  <a:ext uri="{FF2B5EF4-FFF2-40B4-BE49-F238E27FC236}">
                    <a16:creationId xmlns:a16="http://schemas.microsoft.com/office/drawing/2014/main" id="{5D09CD06-A062-885B-228C-36856D1647CF}"/>
                  </a:ext>
                </a:extLst>
              </p:cNvPr>
              <p:cNvSpPr/>
              <p:nvPr/>
            </p:nvSpPr>
            <p:spPr>
              <a:xfrm>
                <a:off x="4783360" y="2290885"/>
                <a:ext cx="398845" cy="399508"/>
              </a:xfrm>
              <a:custGeom>
                <a:avLst/>
                <a:gdLst>
                  <a:gd name="connsiteX0" fmla="*/ 43647 w 87294"/>
                  <a:gd name="connsiteY0" fmla="*/ 87440 h 87439"/>
                  <a:gd name="connsiteX1" fmla="*/ 0 w 87294"/>
                  <a:gd name="connsiteY1" fmla="*/ 43720 h 87439"/>
                  <a:gd name="connsiteX2" fmla="*/ 43647 w 87294"/>
                  <a:gd name="connsiteY2" fmla="*/ 0 h 87439"/>
                  <a:gd name="connsiteX3" fmla="*/ 87294 w 87294"/>
                  <a:gd name="connsiteY3" fmla="*/ 43720 h 87439"/>
                  <a:gd name="connsiteX4" fmla="*/ 43647 w 87294"/>
                  <a:gd name="connsiteY4" fmla="*/ 87440 h 87439"/>
                  <a:gd name="connsiteX5" fmla="*/ 43647 w 87294"/>
                  <a:gd name="connsiteY5" fmla="*/ 9525 h 87439"/>
                  <a:gd name="connsiteX6" fmla="*/ 9509 w 87294"/>
                  <a:gd name="connsiteY6" fmla="*/ 43720 h 87439"/>
                  <a:gd name="connsiteX7" fmla="*/ 43647 w 87294"/>
                  <a:gd name="connsiteY7" fmla="*/ 77915 h 87439"/>
                  <a:gd name="connsiteX8" fmla="*/ 77785 w 87294"/>
                  <a:gd name="connsiteY8" fmla="*/ 43720 h 87439"/>
                  <a:gd name="connsiteX9" fmla="*/ 43647 w 87294"/>
                  <a:gd name="connsiteY9" fmla="*/ 9525 h 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94" h="87439">
                    <a:moveTo>
                      <a:pt x="43647" y="87440"/>
                    </a:moveTo>
                    <a:cubicBezTo>
                      <a:pt x="19589" y="87440"/>
                      <a:pt x="0" y="67818"/>
                      <a:pt x="0" y="43720"/>
                    </a:cubicBezTo>
                    <a:cubicBezTo>
                      <a:pt x="0" y="19621"/>
                      <a:pt x="19589" y="0"/>
                      <a:pt x="43647" y="0"/>
                    </a:cubicBezTo>
                    <a:cubicBezTo>
                      <a:pt x="67705" y="0"/>
                      <a:pt x="87294" y="19621"/>
                      <a:pt x="87294" y="43720"/>
                    </a:cubicBezTo>
                    <a:cubicBezTo>
                      <a:pt x="87294" y="67818"/>
                      <a:pt x="67705" y="87440"/>
                      <a:pt x="43647" y="87440"/>
                    </a:cubicBezTo>
                    <a:close/>
                    <a:moveTo>
                      <a:pt x="43647" y="9525"/>
                    </a:moveTo>
                    <a:cubicBezTo>
                      <a:pt x="24819" y="9525"/>
                      <a:pt x="9509" y="24860"/>
                      <a:pt x="9509" y="43720"/>
                    </a:cubicBezTo>
                    <a:cubicBezTo>
                      <a:pt x="9509" y="62579"/>
                      <a:pt x="24819" y="77915"/>
                      <a:pt x="43647" y="77915"/>
                    </a:cubicBezTo>
                    <a:cubicBezTo>
                      <a:pt x="62475" y="77915"/>
                      <a:pt x="77785" y="62579"/>
                      <a:pt x="77785" y="43720"/>
                    </a:cubicBezTo>
                    <a:cubicBezTo>
                      <a:pt x="77785" y="24860"/>
                      <a:pt x="62475" y="9525"/>
                      <a:pt x="4364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2" name="Freeform 99">
                <a:extLst>
                  <a:ext uri="{FF2B5EF4-FFF2-40B4-BE49-F238E27FC236}">
                    <a16:creationId xmlns:a16="http://schemas.microsoft.com/office/drawing/2014/main" id="{E57373CF-5F58-557D-3733-1CB5440B0D4F}"/>
                  </a:ext>
                </a:extLst>
              </p:cNvPr>
              <p:cNvSpPr/>
              <p:nvPr/>
            </p:nvSpPr>
            <p:spPr>
              <a:xfrm>
                <a:off x="5172213" y="1956654"/>
                <a:ext cx="621295" cy="611012"/>
              </a:xfrm>
              <a:custGeom>
                <a:avLst/>
                <a:gdLst>
                  <a:gd name="connsiteX0" fmla="*/ 67991 w 135981"/>
                  <a:gd name="connsiteY0" fmla="*/ 133731 h 133730"/>
                  <a:gd name="connsiteX1" fmla="*/ 0 w 135981"/>
                  <a:gd name="connsiteY1" fmla="*/ 66866 h 133730"/>
                  <a:gd name="connsiteX2" fmla="*/ 67991 w 135981"/>
                  <a:gd name="connsiteY2" fmla="*/ 0 h 133730"/>
                  <a:gd name="connsiteX3" fmla="*/ 135982 w 135981"/>
                  <a:gd name="connsiteY3" fmla="*/ 66866 h 133730"/>
                  <a:gd name="connsiteX4" fmla="*/ 67991 w 135981"/>
                  <a:gd name="connsiteY4" fmla="*/ 133731 h 133730"/>
                  <a:gd name="connsiteX5" fmla="*/ 67991 w 135981"/>
                  <a:gd name="connsiteY5" fmla="*/ 9525 h 133730"/>
                  <a:gd name="connsiteX6" fmla="*/ 9509 w 135981"/>
                  <a:gd name="connsiteY6" fmla="*/ 66866 h 133730"/>
                  <a:gd name="connsiteX7" fmla="*/ 67991 w 135981"/>
                  <a:gd name="connsiteY7" fmla="*/ 124206 h 133730"/>
                  <a:gd name="connsiteX8" fmla="*/ 126473 w 135981"/>
                  <a:gd name="connsiteY8" fmla="*/ 66866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5" y="133731"/>
                      <a:pt x="0" y="103727"/>
                      <a:pt x="0" y="66866"/>
                    </a:cubicBezTo>
                    <a:cubicBezTo>
                      <a:pt x="0" y="30004"/>
                      <a:pt x="30525" y="0"/>
                      <a:pt x="67991" y="0"/>
                    </a:cubicBezTo>
                    <a:cubicBezTo>
                      <a:pt x="105457" y="0"/>
                      <a:pt x="135982" y="30004"/>
                      <a:pt x="135982" y="66866"/>
                    </a:cubicBezTo>
                    <a:cubicBezTo>
                      <a:pt x="135982" y="103727"/>
                      <a:pt x="105457" y="133731"/>
                      <a:pt x="67991" y="133731"/>
                    </a:cubicBezTo>
                    <a:close/>
                    <a:moveTo>
                      <a:pt x="67991" y="9525"/>
                    </a:moveTo>
                    <a:cubicBezTo>
                      <a:pt x="35755" y="9525"/>
                      <a:pt x="9509" y="35242"/>
                      <a:pt x="9509" y="66866"/>
                    </a:cubicBezTo>
                    <a:cubicBezTo>
                      <a:pt x="9509" y="98488"/>
                      <a:pt x="35755" y="124206"/>
                      <a:pt x="67991" y="124206"/>
                    </a:cubicBezTo>
                    <a:cubicBezTo>
                      <a:pt x="100227" y="124206"/>
                      <a:pt x="126473" y="98488"/>
                      <a:pt x="126473" y="66866"/>
                    </a:cubicBezTo>
                    <a:cubicBezTo>
                      <a:pt x="126473"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3" name="Freeform 101">
                <a:extLst>
                  <a:ext uri="{FF2B5EF4-FFF2-40B4-BE49-F238E27FC236}">
                    <a16:creationId xmlns:a16="http://schemas.microsoft.com/office/drawing/2014/main" id="{702B4BEF-44B0-840A-DD56-5C58455E1652}"/>
                  </a:ext>
                </a:extLst>
              </p:cNvPr>
              <p:cNvSpPr/>
              <p:nvPr/>
            </p:nvSpPr>
            <p:spPr>
              <a:xfrm>
                <a:off x="4649973" y="2713462"/>
                <a:ext cx="610001" cy="622329"/>
              </a:xfrm>
              <a:custGeom>
                <a:avLst/>
                <a:gdLst>
                  <a:gd name="connsiteX0" fmla="*/ 66755 w 133509"/>
                  <a:gd name="connsiteY0" fmla="*/ 136208 h 136207"/>
                  <a:gd name="connsiteX1" fmla="*/ 0 w 133509"/>
                  <a:gd name="connsiteY1" fmla="*/ 68104 h 136207"/>
                  <a:gd name="connsiteX2" fmla="*/ 66755 w 133509"/>
                  <a:gd name="connsiteY2" fmla="*/ 0 h 136207"/>
                  <a:gd name="connsiteX3" fmla="*/ 133509 w 133509"/>
                  <a:gd name="connsiteY3" fmla="*/ 68104 h 136207"/>
                  <a:gd name="connsiteX4" fmla="*/ 66755 w 133509"/>
                  <a:gd name="connsiteY4" fmla="*/ 136208 h 136207"/>
                  <a:gd name="connsiteX5" fmla="*/ 66755 w 133509"/>
                  <a:gd name="connsiteY5" fmla="*/ 9525 h 136207"/>
                  <a:gd name="connsiteX6" fmla="*/ 9509 w 133509"/>
                  <a:gd name="connsiteY6" fmla="*/ 68104 h 136207"/>
                  <a:gd name="connsiteX7" fmla="*/ 66755 w 133509"/>
                  <a:gd name="connsiteY7" fmla="*/ 126683 h 136207"/>
                  <a:gd name="connsiteX8" fmla="*/ 124000 w 133509"/>
                  <a:gd name="connsiteY8" fmla="*/ 68104 h 136207"/>
                  <a:gd name="connsiteX9" fmla="*/ 66755 w 133509"/>
                  <a:gd name="connsiteY9" fmla="*/ 952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509" h="136207">
                    <a:moveTo>
                      <a:pt x="66755" y="136208"/>
                    </a:moveTo>
                    <a:cubicBezTo>
                      <a:pt x="29954" y="136208"/>
                      <a:pt x="0" y="105632"/>
                      <a:pt x="0" y="68104"/>
                    </a:cubicBezTo>
                    <a:cubicBezTo>
                      <a:pt x="0" y="30575"/>
                      <a:pt x="29954" y="0"/>
                      <a:pt x="66755" y="0"/>
                    </a:cubicBezTo>
                    <a:cubicBezTo>
                      <a:pt x="103555" y="0"/>
                      <a:pt x="133509" y="30575"/>
                      <a:pt x="133509" y="68104"/>
                    </a:cubicBezTo>
                    <a:cubicBezTo>
                      <a:pt x="133509" y="105632"/>
                      <a:pt x="103555" y="136208"/>
                      <a:pt x="66755" y="136208"/>
                    </a:cubicBezTo>
                    <a:close/>
                    <a:moveTo>
                      <a:pt x="66755" y="9525"/>
                    </a:moveTo>
                    <a:cubicBezTo>
                      <a:pt x="35184" y="9525"/>
                      <a:pt x="9509" y="35814"/>
                      <a:pt x="9509" y="68104"/>
                    </a:cubicBezTo>
                    <a:cubicBezTo>
                      <a:pt x="9509" y="100393"/>
                      <a:pt x="35184" y="126683"/>
                      <a:pt x="66755" y="126683"/>
                    </a:cubicBezTo>
                    <a:cubicBezTo>
                      <a:pt x="98325" y="126683"/>
                      <a:pt x="124000" y="100393"/>
                      <a:pt x="124000" y="68104"/>
                    </a:cubicBezTo>
                    <a:cubicBezTo>
                      <a:pt x="124000" y="35814"/>
                      <a:pt x="98325" y="9525"/>
                      <a:pt x="66755"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4" name="Freeform 103">
                <a:extLst>
                  <a:ext uri="{FF2B5EF4-FFF2-40B4-BE49-F238E27FC236}">
                    <a16:creationId xmlns:a16="http://schemas.microsoft.com/office/drawing/2014/main" id="{E014FAE5-799A-03DD-627A-B1B2ABB27736}"/>
                  </a:ext>
                </a:extLst>
              </p:cNvPr>
              <p:cNvSpPr/>
              <p:nvPr/>
            </p:nvSpPr>
            <p:spPr>
              <a:xfrm>
                <a:off x="4483136" y="2435804"/>
                <a:ext cx="277191" cy="288098"/>
              </a:xfrm>
              <a:custGeom>
                <a:avLst/>
                <a:gdLst>
                  <a:gd name="connsiteX0" fmla="*/ 30334 w 60668"/>
                  <a:gd name="connsiteY0" fmla="*/ 63055 h 63055"/>
                  <a:gd name="connsiteX1" fmla="*/ 0 w 60668"/>
                  <a:gd name="connsiteY1" fmla="*/ 31528 h 63055"/>
                  <a:gd name="connsiteX2" fmla="*/ 30334 w 60668"/>
                  <a:gd name="connsiteY2" fmla="*/ 0 h 63055"/>
                  <a:gd name="connsiteX3" fmla="*/ 60669 w 60668"/>
                  <a:gd name="connsiteY3" fmla="*/ 31528 h 63055"/>
                  <a:gd name="connsiteX4" fmla="*/ 30334 w 60668"/>
                  <a:gd name="connsiteY4" fmla="*/ 63055 h 63055"/>
                  <a:gd name="connsiteX5" fmla="*/ 30334 w 60668"/>
                  <a:gd name="connsiteY5" fmla="*/ 9430 h 63055"/>
                  <a:gd name="connsiteX6" fmla="*/ 9509 w 60668"/>
                  <a:gd name="connsiteY6" fmla="*/ 31433 h 63055"/>
                  <a:gd name="connsiteX7" fmla="*/ 30334 w 60668"/>
                  <a:gd name="connsiteY7" fmla="*/ 53435 h 63055"/>
                  <a:gd name="connsiteX8" fmla="*/ 51160 w 60668"/>
                  <a:gd name="connsiteY8" fmla="*/ 31433 h 63055"/>
                  <a:gd name="connsiteX9" fmla="*/ 30334 w 60668"/>
                  <a:gd name="connsiteY9" fmla="*/ 9430 h 6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68" h="63055">
                    <a:moveTo>
                      <a:pt x="30334" y="63055"/>
                    </a:moveTo>
                    <a:cubicBezTo>
                      <a:pt x="13598" y="63055"/>
                      <a:pt x="0" y="48863"/>
                      <a:pt x="0" y="31528"/>
                    </a:cubicBezTo>
                    <a:cubicBezTo>
                      <a:pt x="0" y="14192"/>
                      <a:pt x="13598" y="0"/>
                      <a:pt x="30334" y="0"/>
                    </a:cubicBezTo>
                    <a:cubicBezTo>
                      <a:pt x="47070" y="0"/>
                      <a:pt x="60669" y="14192"/>
                      <a:pt x="60669" y="31528"/>
                    </a:cubicBezTo>
                    <a:cubicBezTo>
                      <a:pt x="60669" y="48863"/>
                      <a:pt x="47070" y="63055"/>
                      <a:pt x="30334" y="63055"/>
                    </a:cubicBezTo>
                    <a:close/>
                    <a:moveTo>
                      <a:pt x="30334" y="9430"/>
                    </a:moveTo>
                    <a:cubicBezTo>
                      <a:pt x="18828" y="9430"/>
                      <a:pt x="9509" y="19336"/>
                      <a:pt x="9509" y="31433"/>
                    </a:cubicBezTo>
                    <a:cubicBezTo>
                      <a:pt x="9509" y="43529"/>
                      <a:pt x="18828" y="53435"/>
                      <a:pt x="30334" y="53435"/>
                    </a:cubicBezTo>
                    <a:cubicBezTo>
                      <a:pt x="41840" y="53435"/>
                      <a:pt x="51160" y="43529"/>
                      <a:pt x="51160" y="31433"/>
                    </a:cubicBezTo>
                    <a:cubicBezTo>
                      <a:pt x="51160" y="19336"/>
                      <a:pt x="41840" y="9430"/>
                      <a:pt x="30334" y="9430"/>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5" name="Oval 204">
                <a:extLst>
                  <a:ext uri="{FF2B5EF4-FFF2-40B4-BE49-F238E27FC236}">
                    <a16:creationId xmlns:a16="http://schemas.microsoft.com/office/drawing/2014/main" id="{590FFA3E-1173-5E07-5C89-6AF72274F63A}"/>
                  </a:ext>
                </a:extLst>
              </p:cNvPr>
              <p:cNvSpPr/>
              <p:nvPr/>
            </p:nvSpPr>
            <p:spPr>
              <a:xfrm>
                <a:off x="4938921" y="1941206"/>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6" name="Oval 205">
                <a:extLst>
                  <a:ext uri="{FF2B5EF4-FFF2-40B4-BE49-F238E27FC236}">
                    <a16:creationId xmlns:a16="http://schemas.microsoft.com/office/drawing/2014/main" id="{2E0F4BFC-0722-737C-53B9-6F599A625335}"/>
                  </a:ext>
                </a:extLst>
              </p:cNvPr>
              <p:cNvSpPr/>
              <p:nvPr/>
            </p:nvSpPr>
            <p:spPr>
              <a:xfrm>
                <a:off x="4141596" y="2667769"/>
                <a:ext cx="461061" cy="461061"/>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7" name="Oval 206">
                <a:extLst>
                  <a:ext uri="{FF2B5EF4-FFF2-40B4-BE49-F238E27FC236}">
                    <a16:creationId xmlns:a16="http://schemas.microsoft.com/office/drawing/2014/main" id="{75AB0686-EBAC-1F65-052D-3C40036A4C55}"/>
                  </a:ext>
                </a:extLst>
              </p:cNvPr>
              <p:cNvSpPr/>
              <p:nvPr/>
            </p:nvSpPr>
            <p:spPr>
              <a:xfrm>
                <a:off x="5220925" y="2607214"/>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08" name="Group 207">
              <a:extLst>
                <a:ext uri="{FF2B5EF4-FFF2-40B4-BE49-F238E27FC236}">
                  <a16:creationId xmlns:a16="http://schemas.microsoft.com/office/drawing/2014/main" id="{579944A6-4779-4087-D670-0AD3AD7FAE4C}"/>
                </a:ext>
              </a:extLst>
            </p:cNvPr>
            <p:cNvGrpSpPr/>
            <p:nvPr/>
          </p:nvGrpSpPr>
          <p:grpSpPr>
            <a:xfrm>
              <a:off x="4505389" y="4846041"/>
              <a:ext cx="256572" cy="222591"/>
              <a:chOff x="4141596" y="1789977"/>
              <a:chExt cx="1651912" cy="1545814"/>
            </a:xfrm>
            <a:solidFill>
              <a:srgbClr val="003055"/>
            </a:solidFill>
          </p:grpSpPr>
          <p:sp>
            <p:nvSpPr>
              <p:cNvPr id="209" name="Freeform 97">
                <a:extLst>
                  <a:ext uri="{FF2B5EF4-FFF2-40B4-BE49-F238E27FC236}">
                    <a16:creationId xmlns:a16="http://schemas.microsoft.com/office/drawing/2014/main" id="{43BC73A2-5246-EFE4-9CA6-59FF075344B0}"/>
                  </a:ext>
                </a:extLst>
              </p:cNvPr>
              <p:cNvSpPr/>
              <p:nvPr/>
            </p:nvSpPr>
            <p:spPr>
              <a:xfrm>
                <a:off x="4294574" y="1789977"/>
                <a:ext cx="621295" cy="611012"/>
              </a:xfrm>
              <a:custGeom>
                <a:avLst/>
                <a:gdLst>
                  <a:gd name="connsiteX0" fmla="*/ 67991 w 135981"/>
                  <a:gd name="connsiteY0" fmla="*/ 133731 h 133730"/>
                  <a:gd name="connsiteX1" fmla="*/ 0 w 135981"/>
                  <a:gd name="connsiteY1" fmla="*/ 66865 h 133730"/>
                  <a:gd name="connsiteX2" fmla="*/ 67991 w 135981"/>
                  <a:gd name="connsiteY2" fmla="*/ 0 h 133730"/>
                  <a:gd name="connsiteX3" fmla="*/ 135982 w 135981"/>
                  <a:gd name="connsiteY3" fmla="*/ 66865 h 133730"/>
                  <a:gd name="connsiteX4" fmla="*/ 67991 w 135981"/>
                  <a:gd name="connsiteY4" fmla="*/ 133731 h 133730"/>
                  <a:gd name="connsiteX5" fmla="*/ 67991 w 135981"/>
                  <a:gd name="connsiteY5" fmla="*/ 9525 h 133730"/>
                  <a:gd name="connsiteX6" fmla="*/ 9509 w 135981"/>
                  <a:gd name="connsiteY6" fmla="*/ 66865 h 133730"/>
                  <a:gd name="connsiteX7" fmla="*/ 67991 w 135981"/>
                  <a:gd name="connsiteY7" fmla="*/ 124206 h 133730"/>
                  <a:gd name="connsiteX8" fmla="*/ 126472 w 135981"/>
                  <a:gd name="connsiteY8" fmla="*/ 66865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4" y="133731"/>
                      <a:pt x="0" y="103727"/>
                      <a:pt x="0" y="66865"/>
                    </a:cubicBezTo>
                    <a:cubicBezTo>
                      <a:pt x="0" y="30004"/>
                      <a:pt x="30524" y="0"/>
                      <a:pt x="67991" y="0"/>
                    </a:cubicBezTo>
                    <a:cubicBezTo>
                      <a:pt x="105457" y="0"/>
                      <a:pt x="135982" y="30004"/>
                      <a:pt x="135982" y="66865"/>
                    </a:cubicBezTo>
                    <a:cubicBezTo>
                      <a:pt x="135982" y="103727"/>
                      <a:pt x="105457" y="133731"/>
                      <a:pt x="67991" y="133731"/>
                    </a:cubicBezTo>
                    <a:close/>
                    <a:moveTo>
                      <a:pt x="67991" y="9525"/>
                    </a:moveTo>
                    <a:cubicBezTo>
                      <a:pt x="35754" y="9525"/>
                      <a:pt x="9509" y="35242"/>
                      <a:pt x="9509" y="66865"/>
                    </a:cubicBezTo>
                    <a:cubicBezTo>
                      <a:pt x="9509" y="98488"/>
                      <a:pt x="35754" y="124206"/>
                      <a:pt x="67991" y="124206"/>
                    </a:cubicBezTo>
                    <a:cubicBezTo>
                      <a:pt x="100227" y="124206"/>
                      <a:pt x="126472" y="98488"/>
                      <a:pt x="126472" y="66865"/>
                    </a:cubicBezTo>
                    <a:cubicBezTo>
                      <a:pt x="126472"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0" name="Freeform 98">
                <a:extLst>
                  <a:ext uri="{FF2B5EF4-FFF2-40B4-BE49-F238E27FC236}">
                    <a16:creationId xmlns:a16="http://schemas.microsoft.com/office/drawing/2014/main" id="{F510F0B1-3DA0-76A2-12B8-C34F2863F7EF}"/>
                  </a:ext>
                </a:extLst>
              </p:cNvPr>
              <p:cNvSpPr/>
              <p:nvPr/>
            </p:nvSpPr>
            <p:spPr>
              <a:xfrm>
                <a:off x="4783360" y="2290885"/>
                <a:ext cx="398845" cy="399508"/>
              </a:xfrm>
              <a:custGeom>
                <a:avLst/>
                <a:gdLst>
                  <a:gd name="connsiteX0" fmla="*/ 43647 w 87294"/>
                  <a:gd name="connsiteY0" fmla="*/ 87440 h 87439"/>
                  <a:gd name="connsiteX1" fmla="*/ 0 w 87294"/>
                  <a:gd name="connsiteY1" fmla="*/ 43720 h 87439"/>
                  <a:gd name="connsiteX2" fmla="*/ 43647 w 87294"/>
                  <a:gd name="connsiteY2" fmla="*/ 0 h 87439"/>
                  <a:gd name="connsiteX3" fmla="*/ 87294 w 87294"/>
                  <a:gd name="connsiteY3" fmla="*/ 43720 h 87439"/>
                  <a:gd name="connsiteX4" fmla="*/ 43647 w 87294"/>
                  <a:gd name="connsiteY4" fmla="*/ 87440 h 87439"/>
                  <a:gd name="connsiteX5" fmla="*/ 43647 w 87294"/>
                  <a:gd name="connsiteY5" fmla="*/ 9525 h 87439"/>
                  <a:gd name="connsiteX6" fmla="*/ 9509 w 87294"/>
                  <a:gd name="connsiteY6" fmla="*/ 43720 h 87439"/>
                  <a:gd name="connsiteX7" fmla="*/ 43647 w 87294"/>
                  <a:gd name="connsiteY7" fmla="*/ 77915 h 87439"/>
                  <a:gd name="connsiteX8" fmla="*/ 77785 w 87294"/>
                  <a:gd name="connsiteY8" fmla="*/ 43720 h 87439"/>
                  <a:gd name="connsiteX9" fmla="*/ 43647 w 87294"/>
                  <a:gd name="connsiteY9" fmla="*/ 9525 h 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94" h="87439">
                    <a:moveTo>
                      <a:pt x="43647" y="87440"/>
                    </a:moveTo>
                    <a:cubicBezTo>
                      <a:pt x="19589" y="87440"/>
                      <a:pt x="0" y="67818"/>
                      <a:pt x="0" y="43720"/>
                    </a:cubicBezTo>
                    <a:cubicBezTo>
                      <a:pt x="0" y="19621"/>
                      <a:pt x="19589" y="0"/>
                      <a:pt x="43647" y="0"/>
                    </a:cubicBezTo>
                    <a:cubicBezTo>
                      <a:pt x="67705" y="0"/>
                      <a:pt x="87294" y="19621"/>
                      <a:pt x="87294" y="43720"/>
                    </a:cubicBezTo>
                    <a:cubicBezTo>
                      <a:pt x="87294" y="67818"/>
                      <a:pt x="67705" y="87440"/>
                      <a:pt x="43647" y="87440"/>
                    </a:cubicBezTo>
                    <a:close/>
                    <a:moveTo>
                      <a:pt x="43647" y="9525"/>
                    </a:moveTo>
                    <a:cubicBezTo>
                      <a:pt x="24819" y="9525"/>
                      <a:pt x="9509" y="24860"/>
                      <a:pt x="9509" y="43720"/>
                    </a:cubicBezTo>
                    <a:cubicBezTo>
                      <a:pt x="9509" y="62579"/>
                      <a:pt x="24819" y="77915"/>
                      <a:pt x="43647" y="77915"/>
                    </a:cubicBezTo>
                    <a:cubicBezTo>
                      <a:pt x="62475" y="77915"/>
                      <a:pt x="77785" y="62579"/>
                      <a:pt x="77785" y="43720"/>
                    </a:cubicBezTo>
                    <a:cubicBezTo>
                      <a:pt x="77785" y="24860"/>
                      <a:pt x="62475" y="9525"/>
                      <a:pt x="4364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1" name="Freeform 99">
                <a:extLst>
                  <a:ext uri="{FF2B5EF4-FFF2-40B4-BE49-F238E27FC236}">
                    <a16:creationId xmlns:a16="http://schemas.microsoft.com/office/drawing/2014/main" id="{A300A0A7-A375-D1E6-F872-330084BE2B3C}"/>
                  </a:ext>
                </a:extLst>
              </p:cNvPr>
              <p:cNvSpPr/>
              <p:nvPr/>
            </p:nvSpPr>
            <p:spPr>
              <a:xfrm>
                <a:off x="5172213" y="1956654"/>
                <a:ext cx="621295" cy="611012"/>
              </a:xfrm>
              <a:custGeom>
                <a:avLst/>
                <a:gdLst>
                  <a:gd name="connsiteX0" fmla="*/ 67991 w 135981"/>
                  <a:gd name="connsiteY0" fmla="*/ 133731 h 133730"/>
                  <a:gd name="connsiteX1" fmla="*/ 0 w 135981"/>
                  <a:gd name="connsiteY1" fmla="*/ 66866 h 133730"/>
                  <a:gd name="connsiteX2" fmla="*/ 67991 w 135981"/>
                  <a:gd name="connsiteY2" fmla="*/ 0 h 133730"/>
                  <a:gd name="connsiteX3" fmla="*/ 135982 w 135981"/>
                  <a:gd name="connsiteY3" fmla="*/ 66866 h 133730"/>
                  <a:gd name="connsiteX4" fmla="*/ 67991 w 135981"/>
                  <a:gd name="connsiteY4" fmla="*/ 133731 h 133730"/>
                  <a:gd name="connsiteX5" fmla="*/ 67991 w 135981"/>
                  <a:gd name="connsiteY5" fmla="*/ 9525 h 133730"/>
                  <a:gd name="connsiteX6" fmla="*/ 9509 w 135981"/>
                  <a:gd name="connsiteY6" fmla="*/ 66866 h 133730"/>
                  <a:gd name="connsiteX7" fmla="*/ 67991 w 135981"/>
                  <a:gd name="connsiteY7" fmla="*/ 124206 h 133730"/>
                  <a:gd name="connsiteX8" fmla="*/ 126473 w 135981"/>
                  <a:gd name="connsiteY8" fmla="*/ 66866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5" y="133731"/>
                      <a:pt x="0" y="103727"/>
                      <a:pt x="0" y="66866"/>
                    </a:cubicBezTo>
                    <a:cubicBezTo>
                      <a:pt x="0" y="30004"/>
                      <a:pt x="30525" y="0"/>
                      <a:pt x="67991" y="0"/>
                    </a:cubicBezTo>
                    <a:cubicBezTo>
                      <a:pt x="105457" y="0"/>
                      <a:pt x="135982" y="30004"/>
                      <a:pt x="135982" y="66866"/>
                    </a:cubicBezTo>
                    <a:cubicBezTo>
                      <a:pt x="135982" y="103727"/>
                      <a:pt x="105457" y="133731"/>
                      <a:pt x="67991" y="133731"/>
                    </a:cubicBezTo>
                    <a:close/>
                    <a:moveTo>
                      <a:pt x="67991" y="9525"/>
                    </a:moveTo>
                    <a:cubicBezTo>
                      <a:pt x="35755" y="9525"/>
                      <a:pt x="9509" y="35242"/>
                      <a:pt x="9509" y="66866"/>
                    </a:cubicBezTo>
                    <a:cubicBezTo>
                      <a:pt x="9509" y="98488"/>
                      <a:pt x="35755" y="124206"/>
                      <a:pt x="67991" y="124206"/>
                    </a:cubicBezTo>
                    <a:cubicBezTo>
                      <a:pt x="100227" y="124206"/>
                      <a:pt x="126473" y="98488"/>
                      <a:pt x="126473" y="66866"/>
                    </a:cubicBezTo>
                    <a:cubicBezTo>
                      <a:pt x="126473"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2" name="Freeform 101">
                <a:extLst>
                  <a:ext uri="{FF2B5EF4-FFF2-40B4-BE49-F238E27FC236}">
                    <a16:creationId xmlns:a16="http://schemas.microsoft.com/office/drawing/2014/main" id="{592801D0-F02C-B5DA-810B-6E0F16E2EBBF}"/>
                  </a:ext>
                </a:extLst>
              </p:cNvPr>
              <p:cNvSpPr/>
              <p:nvPr/>
            </p:nvSpPr>
            <p:spPr>
              <a:xfrm>
                <a:off x="4649973" y="2713462"/>
                <a:ext cx="610001" cy="622329"/>
              </a:xfrm>
              <a:custGeom>
                <a:avLst/>
                <a:gdLst>
                  <a:gd name="connsiteX0" fmla="*/ 66755 w 133509"/>
                  <a:gd name="connsiteY0" fmla="*/ 136208 h 136207"/>
                  <a:gd name="connsiteX1" fmla="*/ 0 w 133509"/>
                  <a:gd name="connsiteY1" fmla="*/ 68104 h 136207"/>
                  <a:gd name="connsiteX2" fmla="*/ 66755 w 133509"/>
                  <a:gd name="connsiteY2" fmla="*/ 0 h 136207"/>
                  <a:gd name="connsiteX3" fmla="*/ 133509 w 133509"/>
                  <a:gd name="connsiteY3" fmla="*/ 68104 h 136207"/>
                  <a:gd name="connsiteX4" fmla="*/ 66755 w 133509"/>
                  <a:gd name="connsiteY4" fmla="*/ 136208 h 136207"/>
                  <a:gd name="connsiteX5" fmla="*/ 66755 w 133509"/>
                  <a:gd name="connsiteY5" fmla="*/ 9525 h 136207"/>
                  <a:gd name="connsiteX6" fmla="*/ 9509 w 133509"/>
                  <a:gd name="connsiteY6" fmla="*/ 68104 h 136207"/>
                  <a:gd name="connsiteX7" fmla="*/ 66755 w 133509"/>
                  <a:gd name="connsiteY7" fmla="*/ 126683 h 136207"/>
                  <a:gd name="connsiteX8" fmla="*/ 124000 w 133509"/>
                  <a:gd name="connsiteY8" fmla="*/ 68104 h 136207"/>
                  <a:gd name="connsiteX9" fmla="*/ 66755 w 133509"/>
                  <a:gd name="connsiteY9" fmla="*/ 952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509" h="136207">
                    <a:moveTo>
                      <a:pt x="66755" y="136208"/>
                    </a:moveTo>
                    <a:cubicBezTo>
                      <a:pt x="29954" y="136208"/>
                      <a:pt x="0" y="105632"/>
                      <a:pt x="0" y="68104"/>
                    </a:cubicBezTo>
                    <a:cubicBezTo>
                      <a:pt x="0" y="30575"/>
                      <a:pt x="29954" y="0"/>
                      <a:pt x="66755" y="0"/>
                    </a:cubicBezTo>
                    <a:cubicBezTo>
                      <a:pt x="103555" y="0"/>
                      <a:pt x="133509" y="30575"/>
                      <a:pt x="133509" y="68104"/>
                    </a:cubicBezTo>
                    <a:cubicBezTo>
                      <a:pt x="133509" y="105632"/>
                      <a:pt x="103555" y="136208"/>
                      <a:pt x="66755" y="136208"/>
                    </a:cubicBezTo>
                    <a:close/>
                    <a:moveTo>
                      <a:pt x="66755" y="9525"/>
                    </a:moveTo>
                    <a:cubicBezTo>
                      <a:pt x="35184" y="9525"/>
                      <a:pt x="9509" y="35814"/>
                      <a:pt x="9509" y="68104"/>
                    </a:cubicBezTo>
                    <a:cubicBezTo>
                      <a:pt x="9509" y="100393"/>
                      <a:pt x="35184" y="126683"/>
                      <a:pt x="66755" y="126683"/>
                    </a:cubicBezTo>
                    <a:cubicBezTo>
                      <a:pt x="98325" y="126683"/>
                      <a:pt x="124000" y="100393"/>
                      <a:pt x="124000" y="68104"/>
                    </a:cubicBezTo>
                    <a:cubicBezTo>
                      <a:pt x="124000" y="35814"/>
                      <a:pt x="98325" y="9525"/>
                      <a:pt x="66755"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3" name="Freeform 103">
                <a:extLst>
                  <a:ext uri="{FF2B5EF4-FFF2-40B4-BE49-F238E27FC236}">
                    <a16:creationId xmlns:a16="http://schemas.microsoft.com/office/drawing/2014/main" id="{A770A0E3-4ECB-4643-1881-97FCD851572B}"/>
                  </a:ext>
                </a:extLst>
              </p:cNvPr>
              <p:cNvSpPr/>
              <p:nvPr/>
            </p:nvSpPr>
            <p:spPr>
              <a:xfrm>
                <a:off x="4483136" y="2435804"/>
                <a:ext cx="277191" cy="288098"/>
              </a:xfrm>
              <a:custGeom>
                <a:avLst/>
                <a:gdLst>
                  <a:gd name="connsiteX0" fmla="*/ 30334 w 60668"/>
                  <a:gd name="connsiteY0" fmla="*/ 63055 h 63055"/>
                  <a:gd name="connsiteX1" fmla="*/ 0 w 60668"/>
                  <a:gd name="connsiteY1" fmla="*/ 31528 h 63055"/>
                  <a:gd name="connsiteX2" fmla="*/ 30334 w 60668"/>
                  <a:gd name="connsiteY2" fmla="*/ 0 h 63055"/>
                  <a:gd name="connsiteX3" fmla="*/ 60669 w 60668"/>
                  <a:gd name="connsiteY3" fmla="*/ 31528 h 63055"/>
                  <a:gd name="connsiteX4" fmla="*/ 30334 w 60668"/>
                  <a:gd name="connsiteY4" fmla="*/ 63055 h 63055"/>
                  <a:gd name="connsiteX5" fmla="*/ 30334 w 60668"/>
                  <a:gd name="connsiteY5" fmla="*/ 9430 h 63055"/>
                  <a:gd name="connsiteX6" fmla="*/ 9509 w 60668"/>
                  <a:gd name="connsiteY6" fmla="*/ 31433 h 63055"/>
                  <a:gd name="connsiteX7" fmla="*/ 30334 w 60668"/>
                  <a:gd name="connsiteY7" fmla="*/ 53435 h 63055"/>
                  <a:gd name="connsiteX8" fmla="*/ 51160 w 60668"/>
                  <a:gd name="connsiteY8" fmla="*/ 31433 h 63055"/>
                  <a:gd name="connsiteX9" fmla="*/ 30334 w 60668"/>
                  <a:gd name="connsiteY9" fmla="*/ 9430 h 6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68" h="63055">
                    <a:moveTo>
                      <a:pt x="30334" y="63055"/>
                    </a:moveTo>
                    <a:cubicBezTo>
                      <a:pt x="13598" y="63055"/>
                      <a:pt x="0" y="48863"/>
                      <a:pt x="0" y="31528"/>
                    </a:cubicBezTo>
                    <a:cubicBezTo>
                      <a:pt x="0" y="14192"/>
                      <a:pt x="13598" y="0"/>
                      <a:pt x="30334" y="0"/>
                    </a:cubicBezTo>
                    <a:cubicBezTo>
                      <a:pt x="47070" y="0"/>
                      <a:pt x="60669" y="14192"/>
                      <a:pt x="60669" y="31528"/>
                    </a:cubicBezTo>
                    <a:cubicBezTo>
                      <a:pt x="60669" y="48863"/>
                      <a:pt x="47070" y="63055"/>
                      <a:pt x="30334" y="63055"/>
                    </a:cubicBezTo>
                    <a:close/>
                    <a:moveTo>
                      <a:pt x="30334" y="9430"/>
                    </a:moveTo>
                    <a:cubicBezTo>
                      <a:pt x="18828" y="9430"/>
                      <a:pt x="9509" y="19336"/>
                      <a:pt x="9509" y="31433"/>
                    </a:cubicBezTo>
                    <a:cubicBezTo>
                      <a:pt x="9509" y="43529"/>
                      <a:pt x="18828" y="53435"/>
                      <a:pt x="30334" y="53435"/>
                    </a:cubicBezTo>
                    <a:cubicBezTo>
                      <a:pt x="41840" y="53435"/>
                      <a:pt x="51160" y="43529"/>
                      <a:pt x="51160" y="31433"/>
                    </a:cubicBezTo>
                    <a:cubicBezTo>
                      <a:pt x="51160" y="19336"/>
                      <a:pt x="41840" y="9430"/>
                      <a:pt x="30334" y="9430"/>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4" name="Oval 213">
                <a:extLst>
                  <a:ext uri="{FF2B5EF4-FFF2-40B4-BE49-F238E27FC236}">
                    <a16:creationId xmlns:a16="http://schemas.microsoft.com/office/drawing/2014/main" id="{6129C038-A930-59F3-BB49-B542C8A959BB}"/>
                  </a:ext>
                </a:extLst>
              </p:cNvPr>
              <p:cNvSpPr/>
              <p:nvPr/>
            </p:nvSpPr>
            <p:spPr>
              <a:xfrm>
                <a:off x="4938921" y="1941206"/>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5" name="Oval 214">
                <a:extLst>
                  <a:ext uri="{FF2B5EF4-FFF2-40B4-BE49-F238E27FC236}">
                    <a16:creationId xmlns:a16="http://schemas.microsoft.com/office/drawing/2014/main" id="{29870ED3-EB85-CB11-ABC2-C202EA093AC0}"/>
                  </a:ext>
                </a:extLst>
              </p:cNvPr>
              <p:cNvSpPr/>
              <p:nvPr/>
            </p:nvSpPr>
            <p:spPr>
              <a:xfrm>
                <a:off x="4141596" y="2667769"/>
                <a:ext cx="461061" cy="461061"/>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6" name="Oval 215">
                <a:extLst>
                  <a:ext uri="{FF2B5EF4-FFF2-40B4-BE49-F238E27FC236}">
                    <a16:creationId xmlns:a16="http://schemas.microsoft.com/office/drawing/2014/main" id="{6C7267F2-CAA0-746F-6363-D756BDEEE96F}"/>
                  </a:ext>
                </a:extLst>
              </p:cNvPr>
              <p:cNvSpPr/>
              <p:nvPr/>
            </p:nvSpPr>
            <p:spPr>
              <a:xfrm>
                <a:off x="5220925" y="2607214"/>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55" name="Group 254">
              <a:extLst>
                <a:ext uri="{FF2B5EF4-FFF2-40B4-BE49-F238E27FC236}">
                  <a16:creationId xmlns:a16="http://schemas.microsoft.com/office/drawing/2014/main" id="{63F49248-D7C0-57AF-AF4B-D27719C93002}"/>
                </a:ext>
              </a:extLst>
            </p:cNvPr>
            <p:cNvGrpSpPr/>
            <p:nvPr/>
          </p:nvGrpSpPr>
          <p:grpSpPr>
            <a:xfrm>
              <a:off x="4505389" y="5212610"/>
              <a:ext cx="256572" cy="222591"/>
              <a:chOff x="4141596" y="1789977"/>
              <a:chExt cx="1651912" cy="1545814"/>
            </a:xfrm>
            <a:solidFill>
              <a:srgbClr val="003055"/>
            </a:solidFill>
          </p:grpSpPr>
          <p:sp>
            <p:nvSpPr>
              <p:cNvPr id="256" name="Freeform 97">
                <a:extLst>
                  <a:ext uri="{FF2B5EF4-FFF2-40B4-BE49-F238E27FC236}">
                    <a16:creationId xmlns:a16="http://schemas.microsoft.com/office/drawing/2014/main" id="{95AA38F5-F7A8-2021-78AA-D45950AAA004}"/>
                  </a:ext>
                </a:extLst>
              </p:cNvPr>
              <p:cNvSpPr/>
              <p:nvPr/>
            </p:nvSpPr>
            <p:spPr>
              <a:xfrm>
                <a:off x="4294574" y="1789977"/>
                <a:ext cx="621295" cy="611012"/>
              </a:xfrm>
              <a:custGeom>
                <a:avLst/>
                <a:gdLst>
                  <a:gd name="connsiteX0" fmla="*/ 67991 w 135981"/>
                  <a:gd name="connsiteY0" fmla="*/ 133731 h 133730"/>
                  <a:gd name="connsiteX1" fmla="*/ 0 w 135981"/>
                  <a:gd name="connsiteY1" fmla="*/ 66865 h 133730"/>
                  <a:gd name="connsiteX2" fmla="*/ 67991 w 135981"/>
                  <a:gd name="connsiteY2" fmla="*/ 0 h 133730"/>
                  <a:gd name="connsiteX3" fmla="*/ 135982 w 135981"/>
                  <a:gd name="connsiteY3" fmla="*/ 66865 h 133730"/>
                  <a:gd name="connsiteX4" fmla="*/ 67991 w 135981"/>
                  <a:gd name="connsiteY4" fmla="*/ 133731 h 133730"/>
                  <a:gd name="connsiteX5" fmla="*/ 67991 w 135981"/>
                  <a:gd name="connsiteY5" fmla="*/ 9525 h 133730"/>
                  <a:gd name="connsiteX6" fmla="*/ 9509 w 135981"/>
                  <a:gd name="connsiteY6" fmla="*/ 66865 h 133730"/>
                  <a:gd name="connsiteX7" fmla="*/ 67991 w 135981"/>
                  <a:gd name="connsiteY7" fmla="*/ 124206 h 133730"/>
                  <a:gd name="connsiteX8" fmla="*/ 126472 w 135981"/>
                  <a:gd name="connsiteY8" fmla="*/ 66865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4" y="133731"/>
                      <a:pt x="0" y="103727"/>
                      <a:pt x="0" y="66865"/>
                    </a:cubicBezTo>
                    <a:cubicBezTo>
                      <a:pt x="0" y="30004"/>
                      <a:pt x="30524" y="0"/>
                      <a:pt x="67991" y="0"/>
                    </a:cubicBezTo>
                    <a:cubicBezTo>
                      <a:pt x="105457" y="0"/>
                      <a:pt x="135982" y="30004"/>
                      <a:pt x="135982" y="66865"/>
                    </a:cubicBezTo>
                    <a:cubicBezTo>
                      <a:pt x="135982" y="103727"/>
                      <a:pt x="105457" y="133731"/>
                      <a:pt x="67991" y="133731"/>
                    </a:cubicBezTo>
                    <a:close/>
                    <a:moveTo>
                      <a:pt x="67991" y="9525"/>
                    </a:moveTo>
                    <a:cubicBezTo>
                      <a:pt x="35754" y="9525"/>
                      <a:pt x="9509" y="35242"/>
                      <a:pt x="9509" y="66865"/>
                    </a:cubicBezTo>
                    <a:cubicBezTo>
                      <a:pt x="9509" y="98488"/>
                      <a:pt x="35754" y="124206"/>
                      <a:pt x="67991" y="124206"/>
                    </a:cubicBezTo>
                    <a:cubicBezTo>
                      <a:pt x="100227" y="124206"/>
                      <a:pt x="126472" y="98488"/>
                      <a:pt x="126472" y="66865"/>
                    </a:cubicBezTo>
                    <a:cubicBezTo>
                      <a:pt x="126472"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7" name="Freeform 98">
                <a:extLst>
                  <a:ext uri="{FF2B5EF4-FFF2-40B4-BE49-F238E27FC236}">
                    <a16:creationId xmlns:a16="http://schemas.microsoft.com/office/drawing/2014/main" id="{1991EBA0-F18C-7177-9483-43188BEC9CA5}"/>
                  </a:ext>
                </a:extLst>
              </p:cNvPr>
              <p:cNvSpPr/>
              <p:nvPr/>
            </p:nvSpPr>
            <p:spPr>
              <a:xfrm>
                <a:off x="4783360" y="2290885"/>
                <a:ext cx="398845" cy="399508"/>
              </a:xfrm>
              <a:custGeom>
                <a:avLst/>
                <a:gdLst>
                  <a:gd name="connsiteX0" fmla="*/ 43647 w 87294"/>
                  <a:gd name="connsiteY0" fmla="*/ 87440 h 87439"/>
                  <a:gd name="connsiteX1" fmla="*/ 0 w 87294"/>
                  <a:gd name="connsiteY1" fmla="*/ 43720 h 87439"/>
                  <a:gd name="connsiteX2" fmla="*/ 43647 w 87294"/>
                  <a:gd name="connsiteY2" fmla="*/ 0 h 87439"/>
                  <a:gd name="connsiteX3" fmla="*/ 87294 w 87294"/>
                  <a:gd name="connsiteY3" fmla="*/ 43720 h 87439"/>
                  <a:gd name="connsiteX4" fmla="*/ 43647 w 87294"/>
                  <a:gd name="connsiteY4" fmla="*/ 87440 h 87439"/>
                  <a:gd name="connsiteX5" fmla="*/ 43647 w 87294"/>
                  <a:gd name="connsiteY5" fmla="*/ 9525 h 87439"/>
                  <a:gd name="connsiteX6" fmla="*/ 9509 w 87294"/>
                  <a:gd name="connsiteY6" fmla="*/ 43720 h 87439"/>
                  <a:gd name="connsiteX7" fmla="*/ 43647 w 87294"/>
                  <a:gd name="connsiteY7" fmla="*/ 77915 h 87439"/>
                  <a:gd name="connsiteX8" fmla="*/ 77785 w 87294"/>
                  <a:gd name="connsiteY8" fmla="*/ 43720 h 87439"/>
                  <a:gd name="connsiteX9" fmla="*/ 43647 w 87294"/>
                  <a:gd name="connsiteY9" fmla="*/ 9525 h 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94" h="87439">
                    <a:moveTo>
                      <a:pt x="43647" y="87440"/>
                    </a:moveTo>
                    <a:cubicBezTo>
                      <a:pt x="19589" y="87440"/>
                      <a:pt x="0" y="67818"/>
                      <a:pt x="0" y="43720"/>
                    </a:cubicBezTo>
                    <a:cubicBezTo>
                      <a:pt x="0" y="19621"/>
                      <a:pt x="19589" y="0"/>
                      <a:pt x="43647" y="0"/>
                    </a:cubicBezTo>
                    <a:cubicBezTo>
                      <a:pt x="67705" y="0"/>
                      <a:pt x="87294" y="19621"/>
                      <a:pt x="87294" y="43720"/>
                    </a:cubicBezTo>
                    <a:cubicBezTo>
                      <a:pt x="87294" y="67818"/>
                      <a:pt x="67705" y="87440"/>
                      <a:pt x="43647" y="87440"/>
                    </a:cubicBezTo>
                    <a:close/>
                    <a:moveTo>
                      <a:pt x="43647" y="9525"/>
                    </a:moveTo>
                    <a:cubicBezTo>
                      <a:pt x="24819" y="9525"/>
                      <a:pt x="9509" y="24860"/>
                      <a:pt x="9509" y="43720"/>
                    </a:cubicBezTo>
                    <a:cubicBezTo>
                      <a:pt x="9509" y="62579"/>
                      <a:pt x="24819" y="77915"/>
                      <a:pt x="43647" y="77915"/>
                    </a:cubicBezTo>
                    <a:cubicBezTo>
                      <a:pt x="62475" y="77915"/>
                      <a:pt x="77785" y="62579"/>
                      <a:pt x="77785" y="43720"/>
                    </a:cubicBezTo>
                    <a:cubicBezTo>
                      <a:pt x="77785" y="24860"/>
                      <a:pt x="62475" y="9525"/>
                      <a:pt x="4364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8" name="Freeform 99">
                <a:extLst>
                  <a:ext uri="{FF2B5EF4-FFF2-40B4-BE49-F238E27FC236}">
                    <a16:creationId xmlns:a16="http://schemas.microsoft.com/office/drawing/2014/main" id="{77EFB895-7157-7290-18F8-D6D99D404BE5}"/>
                  </a:ext>
                </a:extLst>
              </p:cNvPr>
              <p:cNvSpPr/>
              <p:nvPr/>
            </p:nvSpPr>
            <p:spPr>
              <a:xfrm>
                <a:off x="5172213" y="1956654"/>
                <a:ext cx="621295" cy="611012"/>
              </a:xfrm>
              <a:custGeom>
                <a:avLst/>
                <a:gdLst>
                  <a:gd name="connsiteX0" fmla="*/ 67991 w 135981"/>
                  <a:gd name="connsiteY0" fmla="*/ 133731 h 133730"/>
                  <a:gd name="connsiteX1" fmla="*/ 0 w 135981"/>
                  <a:gd name="connsiteY1" fmla="*/ 66866 h 133730"/>
                  <a:gd name="connsiteX2" fmla="*/ 67991 w 135981"/>
                  <a:gd name="connsiteY2" fmla="*/ 0 h 133730"/>
                  <a:gd name="connsiteX3" fmla="*/ 135982 w 135981"/>
                  <a:gd name="connsiteY3" fmla="*/ 66866 h 133730"/>
                  <a:gd name="connsiteX4" fmla="*/ 67991 w 135981"/>
                  <a:gd name="connsiteY4" fmla="*/ 133731 h 133730"/>
                  <a:gd name="connsiteX5" fmla="*/ 67991 w 135981"/>
                  <a:gd name="connsiteY5" fmla="*/ 9525 h 133730"/>
                  <a:gd name="connsiteX6" fmla="*/ 9509 w 135981"/>
                  <a:gd name="connsiteY6" fmla="*/ 66866 h 133730"/>
                  <a:gd name="connsiteX7" fmla="*/ 67991 w 135981"/>
                  <a:gd name="connsiteY7" fmla="*/ 124206 h 133730"/>
                  <a:gd name="connsiteX8" fmla="*/ 126473 w 135981"/>
                  <a:gd name="connsiteY8" fmla="*/ 66866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5" y="133731"/>
                      <a:pt x="0" y="103727"/>
                      <a:pt x="0" y="66866"/>
                    </a:cubicBezTo>
                    <a:cubicBezTo>
                      <a:pt x="0" y="30004"/>
                      <a:pt x="30525" y="0"/>
                      <a:pt x="67991" y="0"/>
                    </a:cubicBezTo>
                    <a:cubicBezTo>
                      <a:pt x="105457" y="0"/>
                      <a:pt x="135982" y="30004"/>
                      <a:pt x="135982" y="66866"/>
                    </a:cubicBezTo>
                    <a:cubicBezTo>
                      <a:pt x="135982" y="103727"/>
                      <a:pt x="105457" y="133731"/>
                      <a:pt x="67991" y="133731"/>
                    </a:cubicBezTo>
                    <a:close/>
                    <a:moveTo>
                      <a:pt x="67991" y="9525"/>
                    </a:moveTo>
                    <a:cubicBezTo>
                      <a:pt x="35755" y="9525"/>
                      <a:pt x="9509" y="35242"/>
                      <a:pt x="9509" y="66866"/>
                    </a:cubicBezTo>
                    <a:cubicBezTo>
                      <a:pt x="9509" y="98488"/>
                      <a:pt x="35755" y="124206"/>
                      <a:pt x="67991" y="124206"/>
                    </a:cubicBezTo>
                    <a:cubicBezTo>
                      <a:pt x="100227" y="124206"/>
                      <a:pt x="126473" y="98488"/>
                      <a:pt x="126473" y="66866"/>
                    </a:cubicBezTo>
                    <a:cubicBezTo>
                      <a:pt x="126473"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9" name="Freeform 101">
                <a:extLst>
                  <a:ext uri="{FF2B5EF4-FFF2-40B4-BE49-F238E27FC236}">
                    <a16:creationId xmlns:a16="http://schemas.microsoft.com/office/drawing/2014/main" id="{F4592350-9BDB-C58B-B147-8D5CDE2E3C9C}"/>
                  </a:ext>
                </a:extLst>
              </p:cNvPr>
              <p:cNvSpPr/>
              <p:nvPr/>
            </p:nvSpPr>
            <p:spPr>
              <a:xfrm>
                <a:off x="4649973" y="2713462"/>
                <a:ext cx="610001" cy="622329"/>
              </a:xfrm>
              <a:custGeom>
                <a:avLst/>
                <a:gdLst>
                  <a:gd name="connsiteX0" fmla="*/ 66755 w 133509"/>
                  <a:gd name="connsiteY0" fmla="*/ 136208 h 136207"/>
                  <a:gd name="connsiteX1" fmla="*/ 0 w 133509"/>
                  <a:gd name="connsiteY1" fmla="*/ 68104 h 136207"/>
                  <a:gd name="connsiteX2" fmla="*/ 66755 w 133509"/>
                  <a:gd name="connsiteY2" fmla="*/ 0 h 136207"/>
                  <a:gd name="connsiteX3" fmla="*/ 133509 w 133509"/>
                  <a:gd name="connsiteY3" fmla="*/ 68104 h 136207"/>
                  <a:gd name="connsiteX4" fmla="*/ 66755 w 133509"/>
                  <a:gd name="connsiteY4" fmla="*/ 136208 h 136207"/>
                  <a:gd name="connsiteX5" fmla="*/ 66755 w 133509"/>
                  <a:gd name="connsiteY5" fmla="*/ 9525 h 136207"/>
                  <a:gd name="connsiteX6" fmla="*/ 9509 w 133509"/>
                  <a:gd name="connsiteY6" fmla="*/ 68104 h 136207"/>
                  <a:gd name="connsiteX7" fmla="*/ 66755 w 133509"/>
                  <a:gd name="connsiteY7" fmla="*/ 126683 h 136207"/>
                  <a:gd name="connsiteX8" fmla="*/ 124000 w 133509"/>
                  <a:gd name="connsiteY8" fmla="*/ 68104 h 136207"/>
                  <a:gd name="connsiteX9" fmla="*/ 66755 w 133509"/>
                  <a:gd name="connsiteY9" fmla="*/ 952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509" h="136207">
                    <a:moveTo>
                      <a:pt x="66755" y="136208"/>
                    </a:moveTo>
                    <a:cubicBezTo>
                      <a:pt x="29954" y="136208"/>
                      <a:pt x="0" y="105632"/>
                      <a:pt x="0" y="68104"/>
                    </a:cubicBezTo>
                    <a:cubicBezTo>
                      <a:pt x="0" y="30575"/>
                      <a:pt x="29954" y="0"/>
                      <a:pt x="66755" y="0"/>
                    </a:cubicBezTo>
                    <a:cubicBezTo>
                      <a:pt x="103555" y="0"/>
                      <a:pt x="133509" y="30575"/>
                      <a:pt x="133509" y="68104"/>
                    </a:cubicBezTo>
                    <a:cubicBezTo>
                      <a:pt x="133509" y="105632"/>
                      <a:pt x="103555" y="136208"/>
                      <a:pt x="66755" y="136208"/>
                    </a:cubicBezTo>
                    <a:close/>
                    <a:moveTo>
                      <a:pt x="66755" y="9525"/>
                    </a:moveTo>
                    <a:cubicBezTo>
                      <a:pt x="35184" y="9525"/>
                      <a:pt x="9509" y="35814"/>
                      <a:pt x="9509" y="68104"/>
                    </a:cubicBezTo>
                    <a:cubicBezTo>
                      <a:pt x="9509" y="100393"/>
                      <a:pt x="35184" y="126683"/>
                      <a:pt x="66755" y="126683"/>
                    </a:cubicBezTo>
                    <a:cubicBezTo>
                      <a:pt x="98325" y="126683"/>
                      <a:pt x="124000" y="100393"/>
                      <a:pt x="124000" y="68104"/>
                    </a:cubicBezTo>
                    <a:cubicBezTo>
                      <a:pt x="124000" y="35814"/>
                      <a:pt x="98325" y="9525"/>
                      <a:pt x="66755"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0" name="Freeform 103">
                <a:extLst>
                  <a:ext uri="{FF2B5EF4-FFF2-40B4-BE49-F238E27FC236}">
                    <a16:creationId xmlns:a16="http://schemas.microsoft.com/office/drawing/2014/main" id="{BEA8A3B6-5236-0B98-80FD-D06160F677CA}"/>
                  </a:ext>
                </a:extLst>
              </p:cNvPr>
              <p:cNvSpPr/>
              <p:nvPr/>
            </p:nvSpPr>
            <p:spPr>
              <a:xfrm>
                <a:off x="4483136" y="2435804"/>
                <a:ext cx="277191" cy="288098"/>
              </a:xfrm>
              <a:custGeom>
                <a:avLst/>
                <a:gdLst>
                  <a:gd name="connsiteX0" fmla="*/ 30334 w 60668"/>
                  <a:gd name="connsiteY0" fmla="*/ 63055 h 63055"/>
                  <a:gd name="connsiteX1" fmla="*/ 0 w 60668"/>
                  <a:gd name="connsiteY1" fmla="*/ 31528 h 63055"/>
                  <a:gd name="connsiteX2" fmla="*/ 30334 w 60668"/>
                  <a:gd name="connsiteY2" fmla="*/ 0 h 63055"/>
                  <a:gd name="connsiteX3" fmla="*/ 60669 w 60668"/>
                  <a:gd name="connsiteY3" fmla="*/ 31528 h 63055"/>
                  <a:gd name="connsiteX4" fmla="*/ 30334 w 60668"/>
                  <a:gd name="connsiteY4" fmla="*/ 63055 h 63055"/>
                  <a:gd name="connsiteX5" fmla="*/ 30334 w 60668"/>
                  <a:gd name="connsiteY5" fmla="*/ 9430 h 63055"/>
                  <a:gd name="connsiteX6" fmla="*/ 9509 w 60668"/>
                  <a:gd name="connsiteY6" fmla="*/ 31433 h 63055"/>
                  <a:gd name="connsiteX7" fmla="*/ 30334 w 60668"/>
                  <a:gd name="connsiteY7" fmla="*/ 53435 h 63055"/>
                  <a:gd name="connsiteX8" fmla="*/ 51160 w 60668"/>
                  <a:gd name="connsiteY8" fmla="*/ 31433 h 63055"/>
                  <a:gd name="connsiteX9" fmla="*/ 30334 w 60668"/>
                  <a:gd name="connsiteY9" fmla="*/ 9430 h 6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68" h="63055">
                    <a:moveTo>
                      <a:pt x="30334" y="63055"/>
                    </a:moveTo>
                    <a:cubicBezTo>
                      <a:pt x="13598" y="63055"/>
                      <a:pt x="0" y="48863"/>
                      <a:pt x="0" y="31528"/>
                    </a:cubicBezTo>
                    <a:cubicBezTo>
                      <a:pt x="0" y="14192"/>
                      <a:pt x="13598" y="0"/>
                      <a:pt x="30334" y="0"/>
                    </a:cubicBezTo>
                    <a:cubicBezTo>
                      <a:pt x="47070" y="0"/>
                      <a:pt x="60669" y="14192"/>
                      <a:pt x="60669" y="31528"/>
                    </a:cubicBezTo>
                    <a:cubicBezTo>
                      <a:pt x="60669" y="48863"/>
                      <a:pt x="47070" y="63055"/>
                      <a:pt x="30334" y="63055"/>
                    </a:cubicBezTo>
                    <a:close/>
                    <a:moveTo>
                      <a:pt x="30334" y="9430"/>
                    </a:moveTo>
                    <a:cubicBezTo>
                      <a:pt x="18828" y="9430"/>
                      <a:pt x="9509" y="19336"/>
                      <a:pt x="9509" y="31433"/>
                    </a:cubicBezTo>
                    <a:cubicBezTo>
                      <a:pt x="9509" y="43529"/>
                      <a:pt x="18828" y="53435"/>
                      <a:pt x="30334" y="53435"/>
                    </a:cubicBezTo>
                    <a:cubicBezTo>
                      <a:pt x="41840" y="53435"/>
                      <a:pt x="51160" y="43529"/>
                      <a:pt x="51160" y="31433"/>
                    </a:cubicBezTo>
                    <a:cubicBezTo>
                      <a:pt x="51160" y="19336"/>
                      <a:pt x="41840" y="9430"/>
                      <a:pt x="30334" y="9430"/>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1" name="Oval 260">
                <a:extLst>
                  <a:ext uri="{FF2B5EF4-FFF2-40B4-BE49-F238E27FC236}">
                    <a16:creationId xmlns:a16="http://schemas.microsoft.com/office/drawing/2014/main" id="{DBC49C62-31A4-F04A-DA5B-B57FB70C2491}"/>
                  </a:ext>
                </a:extLst>
              </p:cNvPr>
              <p:cNvSpPr/>
              <p:nvPr/>
            </p:nvSpPr>
            <p:spPr>
              <a:xfrm>
                <a:off x="4938921" y="1941206"/>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2" name="Oval 261">
                <a:extLst>
                  <a:ext uri="{FF2B5EF4-FFF2-40B4-BE49-F238E27FC236}">
                    <a16:creationId xmlns:a16="http://schemas.microsoft.com/office/drawing/2014/main" id="{46B4C59F-FA7F-9EB4-74E7-CA73F01B2B33}"/>
                  </a:ext>
                </a:extLst>
              </p:cNvPr>
              <p:cNvSpPr/>
              <p:nvPr/>
            </p:nvSpPr>
            <p:spPr>
              <a:xfrm>
                <a:off x="4141596" y="2667769"/>
                <a:ext cx="461061" cy="461061"/>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3" name="Oval 262">
                <a:extLst>
                  <a:ext uri="{FF2B5EF4-FFF2-40B4-BE49-F238E27FC236}">
                    <a16:creationId xmlns:a16="http://schemas.microsoft.com/office/drawing/2014/main" id="{81147169-1711-25FD-9768-8E0E929682E3}"/>
                  </a:ext>
                </a:extLst>
              </p:cNvPr>
              <p:cNvSpPr/>
              <p:nvPr/>
            </p:nvSpPr>
            <p:spPr>
              <a:xfrm>
                <a:off x="5220925" y="2607214"/>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6" name="Group 45">
            <a:extLst>
              <a:ext uri="{FF2B5EF4-FFF2-40B4-BE49-F238E27FC236}">
                <a16:creationId xmlns:a16="http://schemas.microsoft.com/office/drawing/2014/main" id="{334362FC-FFD8-BA7E-3C3D-366590BB92B6}"/>
              </a:ext>
            </a:extLst>
          </p:cNvPr>
          <p:cNvGrpSpPr/>
          <p:nvPr/>
        </p:nvGrpSpPr>
        <p:grpSpPr>
          <a:xfrm>
            <a:off x="4501693" y="5189731"/>
            <a:ext cx="225954" cy="577665"/>
            <a:chOff x="4501693" y="4104014"/>
            <a:chExt cx="225954" cy="577665"/>
          </a:xfrm>
        </p:grpSpPr>
        <p:grpSp>
          <p:nvGrpSpPr>
            <p:cNvPr id="236" name="Group 235">
              <a:extLst>
                <a:ext uri="{FF2B5EF4-FFF2-40B4-BE49-F238E27FC236}">
                  <a16:creationId xmlns:a16="http://schemas.microsoft.com/office/drawing/2014/main" id="{A5D066BA-81C2-D119-A61D-7A3C524D2F6B}"/>
                </a:ext>
              </a:extLst>
            </p:cNvPr>
            <p:cNvGrpSpPr/>
            <p:nvPr/>
          </p:nvGrpSpPr>
          <p:grpSpPr>
            <a:xfrm>
              <a:off x="4501693" y="4104014"/>
              <a:ext cx="225954" cy="216631"/>
              <a:chOff x="6465137" y="2161944"/>
              <a:chExt cx="1504381" cy="1549300"/>
            </a:xfrm>
            <a:solidFill>
              <a:srgbClr val="003055"/>
            </a:solidFill>
          </p:grpSpPr>
          <p:sp>
            <p:nvSpPr>
              <p:cNvPr id="237" name="Freeform 111">
                <a:extLst>
                  <a:ext uri="{FF2B5EF4-FFF2-40B4-BE49-F238E27FC236}">
                    <a16:creationId xmlns:a16="http://schemas.microsoft.com/office/drawing/2014/main" id="{5E686062-EFE8-983A-D8D3-9EB7B1DD2923}"/>
                  </a:ext>
                </a:extLst>
              </p:cNvPr>
              <p:cNvSpPr/>
              <p:nvPr/>
            </p:nvSpPr>
            <p:spPr>
              <a:xfrm>
                <a:off x="6804491" y="2523155"/>
                <a:ext cx="825500" cy="826874"/>
              </a:xfrm>
              <a:custGeom>
                <a:avLst/>
                <a:gdLst>
                  <a:gd name="connsiteX0" fmla="*/ 90337 w 180674"/>
                  <a:gd name="connsiteY0" fmla="*/ 180975 h 180975"/>
                  <a:gd name="connsiteX1" fmla="*/ 0 w 180674"/>
                  <a:gd name="connsiteY1" fmla="*/ 90488 h 180975"/>
                  <a:gd name="connsiteX2" fmla="*/ 90337 w 180674"/>
                  <a:gd name="connsiteY2" fmla="*/ 0 h 180975"/>
                  <a:gd name="connsiteX3" fmla="*/ 180675 w 180674"/>
                  <a:gd name="connsiteY3" fmla="*/ 90488 h 180975"/>
                  <a:gd name="connsiteX4" fmla="*/ 90337 w 180674"/>
                  <a:gd name="connsiteY4" fmla="*/ 180975 h 180975"/>
                  <a:gd name="connsiteX5" fmla="*/ 90337 w 180674"/>
                  <a:gd name="connsiteY5" fmla="*/ 9525 h 180975"/>
                  <a:gd name="connsiteX6" fmla="*/ 9509 w 180674"/>
                  <a:gd name="connsiteY6" fmla="*/ 90488 h 180975"/>
                  <a:gd name="connsiteX7" fmla="*/ 90337 w 180674"/>
                  <a:gd name="connsiteY7" fmla="*/ 171450 h 180975"/>
                  <a:gd name="connsiteX8" fmla="*/ 171166 w 180674"/>
                  <a:gd name="connsiteY8" fmla="*/ 90488 h 180975"/>
                  <a:gd name="connsiteX9" fmla="*/ 90337 w 180674"/>
                  <a:gd name="connsiteY9" fmla="*/ 952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674" h="180975">
                    <a:moveTo>
                      <a:pt x="90337" y="180975"/>
                    </a:moveTo>
                    <a:cubicBezTo>
                      <a:pt x="40509" y="180975"/>
                      <a:pt x="0" y="140399"/>
                      <a:pt x="0" y="90488"/>
                    </a:cubicBezTo>
                    <a:cubicBezTo>
                      <a:pt x="0" y="40577"/>
                      <a:pt x="40509" y="0"/>
                      <a:pt x="90337" y="0"/>
                    </a:cubicBezTo>
                    <a:cubicBezTo>
                      <a:pt x="140166" y="0"/>
                      <a:pt x="180675" y="40577"/>
                      <a:pt x="180675" y="90488"/>
                    </a:cubicBezTo>
                    <a:cubicBezTo>
                      <a:pt x="180675" y="140399"/>
                      <a:pt x="140166" y="180975"/>
                      <a:pt x="90337" y="180975"/>
                    </a:cubicBezTo>
                    <a:close/>
                    <a:moveTo>
                      <a:pt x="90337" y="9525"/>
                    </a:moveTo>
                    <a:cubicBezTo>
                      <a:pt x="45739" y="9525"/>
                      <a:pt x="9509" y="45815"/>
                      <a:pt x="9509" y="90488"/>
                    </a:cubicBezTo>
                    <a:cubicBezTo>
                      <a:pt x="9509" y="135160"/>
                      <a:pt x="45739" y="171450"/>
                      <a:pt x="90337" y="171450"/>
                    </a:cubicBezTo>
                    <a:cubicBezTo>
                      <a:pt x="134936" y="171450"/>
                      <a:pt x="171166" y="135160"/>
                      <a:pt x="171166" y="90488"/>
                    </a:cubicBezTo>
                    <a:cubicBezTo>
                      <a:pt x="171166" y="45815"/>
                      <a:pt x="134936" y="9525"/>
                      <a:pt x="9033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Freeform 112">
                <a:extLst>
                  <a:ext uri="{FF2B5EF4-FFF2-40B4-BE49-F238E27FC236}">
                    <a16:creationId xmlns:a16="http://schemas.microsoft.com/office/drawing/2014/main" id="{26376AC1-1740-9B12-4DE8-A849DE7FBE9D}"/>
                  </a:ext>
                </a:extLst>
              </p:cNvPr>
              <p:cNvSpPr/>
              <p:nvPr/>
            </p:nvSpPr>
            <p:spPr>
              <a:xfrm>
                <a:off x="7024771" y="2161944"/>
                <a:ext cx="384943" cy="385582"/>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9" name="Freeform 113">
                <a:extLst>
                  <a:ext uri="{FF2B5EF4-FFF2-40B4-BE49-F238E27FC236}">
                    <a16:creationId xmlns:a16="http://schemas.microsoft.com/office/drawing/2014/main" id="{BBB557C1-A792-3BBD-C709-952FA908284C}"/>
                  </a:ext>
                </a:extLst>
              </p:cNvPr>
              <p:cNvSpPr/>
              <p:nvPr/>
            </p:nvSpPr>
            <p:spPr>
              <a:xfrm>
                <a:off x="7024771" y="3325662"/>
                <a:ext cx="384943" cy="385582"/>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0" name="Freeform 114">
                <a:extLst>
                  <a:ext uri="{FF2B5EF4-FFF2-40B4-BE49-F238E27FC236}">
                    <a16:creationId xmlns:a16="http://schemas.microsoft.com/office/drawing/2014/main" id="{63DEB924-8231-8F6C-C71B-12C4C42EC412}"/>
                  </a:ext>
                </a:extLst>
              </p:cNvPr>
              <p:cNvSpPr/>
              <p:nvPr/>
            </p:nvSpPr>
            <p:spPr>
              <a:xfrm>
                <a:off x="7372692" y="2278609"/>
                <a:ext cx="384884" cy="385550"/>
              </a:xfrm>
              <a:custGeom>
                <a:avLst/>
                <a:gdLst>
                  <a:gd name="connsiteX0" fmla="*/ 42051 w 84238"/>
                  <a:gd name="connsiteY0" fmla="*/ 84289 h 84384"/>
                  <a:gd name="connsiteX1" fmla="*/ 16852 w 84238"/>
                  <a:gd name="connsiteY1" fmla="*/ 75907 h 84384"/>
                  <a:gd name="connsiteX2" fmla="*/ 8389 w 84238"/>
                  <a:gd name="connsiteY2" fmla="*/ 16852 h 84384"/>
                  <a:gd name="connsiteX3" fmla="*/ 67346 w 84238"/>
                  <a:gd name="connsiteY3" fmla="*/ 8375 h 84384"/>
                  <a:gd name="connsiteX4" fmla="*/ 83797 w 84238"/>
                  <a:gd name="connsiteY4" fmla="*/ 36188 h 84384"/>
                  <a:gd name="connsiteX5" fmla="*/ 75809 w 84238"/>
                  <a:gd name="connsiteY5" fmla="*/ 67430 h 84384"/>
                  <a:gd name="connsiteX6" fmla="*/ 75809 w 84238"/>
                  <a:gd name="connsiteY6" fmla="*/ 67430 h 84384"/>
                  <a:gd name="connsiteX7" fmla="*/ 48042 w 84238"/>
                  <a:gd name="connsiteY7" fmla="*/ 83908 h 84384"/>
                  <a:gd name="connsiteX8" fmla="*/ 41956 w 84238"/>
                  <a:gd name="connsiteY8" fmla="*/ 84384 h 84384"/>
                  <a:gd name="connsiteX9" fmla="*/ 42147 w 84238"/>
                  <a:gd name="connsiteY9" fmla="*/ 9423 h 84384"/>
                  <a:gd name="connsiteX10" fmla="*/ 15996 w 84238"/>
                  <a:gd name="connsiteY10" fmla="*/ 22472 h 84384"/>
                  <a:gd name="connsiteX11" fmla="*/ 22558 w 84238"/>
                  <a:gd name="connsiteY11" fmla="*/ 68192 h 84384"/>
                  <a:gd name="connsiteX12" fmla="*/ 46711 w 84238"/>
                  <a:gd name="connsiteY12" fmla="*/ 74383 h 84384"/>
                  <a:gd name="connsiteX13" fmla="*/ 68202 w 84238"/>
                  <a:gd name="connsiteY13" fmla="*/ 61620 h 84384"/>
                  <a:gd name="connsiteX14" fmla="*/ 68202 w 84238"/>
                  <a:gd name="connsiteY14" fmla="*/ 61620 h 84384"/>
                  <a:gd name="connsiteX15" fmla="*/ 74383 w 84238"/>
                  <a:gd name="connsiteY15" fmla="*/ 37426 h 84384"/>
                  <a:gd name="connsiteX16" fmla="*/ 61640 w 84238"/>
                  <a:gd name="connsiteY16" fmla="*/ 15900 h 84384"/>
                  <a:gd name="connsiteX17" fmla="*/ 42147 w 84238"/>
                  <a:gd name="connsiteY17" fmla="*/ 9423 h 8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38" h="84384">
                    <a:moveTo>
                      <a:pt x="42051" y="84289"/>
                    </a:moveTo>
                    <a:cubicBezTo>
                      <a:pt x="33018" y="84289"/>
                      <a:pt x="24269" y="81432"/>
                      <a:pt x="16852" y="75907"/>
                    </a:cubicBezTo>
                    <a:cubicBezTo>
                      <a:pt x="-1786" y="62000"/>
                      <a:pt x="-5495" y="35521"/>
                      <a:pt x="8389" y="16852"/>
                    </a:cubicBezTo>
                    <a:cubicBezTo>
                      <a:pt x="22272" y="-1722"/>
                      <a:pt x="48708" y="-5532"/>
                      <a:pt x="67346" y="8375"/>
                    </a:cubicBezTo>
                    <a:cubicBezTo>
                      <a:pt x="76380" y="15138"/>
                      <a:pt x="82180" y="24948"/>
                      <a:pt x="83797" y="36188"/>
                    </a:cubicBezTo>
                    <a:cubicBezTo>
                      <a:pt x="85413" y="47332"/>
                      <a:pt x="82561" y="58476"/>
                      <a:pt x="75809" y="67430"/>
                    </a:cubicBezTo>
                    <a:lnTo>
                      <a:pt x="75809" y="67430"/>
                    </a:lnTo>
                    <a:cubicBezTo>
                      <a:pt x="69057" y="76479"/>
                      <a:pt x="59263" y="82289"/>
                      <a:pt x="48042" y="83908"/>
                    </a:cubicBezTo>
                    <a:cubicBezTo>
                      <a:pt x="46045" y="84194"/>
                      <a:pt x="43953" y="84384"/>
                      <a:pt x="41956" y="84384"/>
                    </a:cubicBezTo>
                    <a:close/>
                    <a:moveTo>
                      <a:pt x="42147" y="9423"/>
                    </a:moveTo>
                    <a:cubicBezTo>
                      <a:pt x="32257" y="9423"/>
                      <a:pt x="22368" y="13899"/>
                      <a:pt x="15996" y="22472"/>
                    </a:cubicBezTo>
                    <a:cubicBezTo>
                      <a:pt x="5251" y="36854"/>
                      <a:pt x="8199" y="57429"/>
                      <a:pt x="22558" y="68192"/>
                    </a:cubicBezTo>
                    <a:cubicBezTo>
                      <a:pt x="29499" y="73431"/>
                      <a:pt x="38058" y="75621"/>
                      <a:pt x="46711" y="74383"/>
                    </a:cubicBezTo>
                    <a:cubicBezTo>
                      <a:pt x="55364" y="73145"/>
                      <a:pt x="62972" y="68573"/>
                      <a:pt x="68202" y="61620"/>
                    </a:cubicBezTo>
                    <a:lnTo>
                      <a:pt x="68202" y="61620"/>
                    </a:lnTo>
                    <a:cubicBezTo>
                      <a:pt x="73432" y="54666"/>
                      <a:pt x="75619" y="45998"/>
                      <a:pt x="74383" y="37426"/>
                    </a:cubicBezTo>
                    <a:cubicBezTo>
                      <a:pt x="73147" y="28758"/>
                      <a:pt x="68582" y="21138"/>
                      <a:pt x="61640" y="15900"/>
                    </a:cubicBezTo>
                    <a:cubicBezTo>
                      <a:pt x="55745" y="11518"/>
                      <a:pt x="48898" y="9423"/>
                      <a:pt x="42147" y="9423"/>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1" name="Freeform 115">
                <a:extLst>
                  <a:ext uri="{FF2B5EF4-FFF2-40B4-BE49-F238E27FC236}">
                    <a16:creationId xmlns:a16="http://schemas.microsoft.com/office/drawing/2014/main" id="{D885974C-C94E-D2A1-6EC8-FDA9C51356A3}"/>
                  </a:ext>
                </a:extLst>
              </p:cNvPr>
              <p:cNvSpPr/>
              <p:nvPr/>
            </p:nvSpPr>
            <p:spPr>
              <a:xfrm>
                <a:off x="6676476" y="3209614"/>
                <a:ext cx="384756" cy="385865"/>
              </a:xfrm>
              <a:custGeom>
                <a:avLst/>
                <a:gdLst>
                  <a:gd name="connsiteX0" fmla="*/ 42092 w 84210"/>
                  <a:gd name="connsiteY0" fmla="*/ 84358 h 84453"/>
                  <a:gd name="connsiteX1" fmla="*/ 16893 w 84210"/>
                  <a:gd name="connsiteY1" fmla="*/ 75976 h 84453"/>
                  <a:gd name="connsiteX2" fmla="*/ 442 w 84210"/>
                  <a:gd name="connsiteY2" fmla="*/ 48163 h 84453"/>
                  <a:gd name="connsiteX3" fmla="*/ 8430 w 84210"/>
                  <a:gd name="connsiteY3" fmla="*/ 16921 h 84453"/>
                  <a:gd name="connsiteX4" fmla="*/ 36197 w 84210"/>
                  <a:gd name="connsiteY4" fmla="*/ 443 h 84453"/>
                  <a:gd name="connsiteX5" fmla="*/ 67387 w 84210"/>
                  <a:gd name="connsiteY5" fmla="*/ 8444 h 84453"/>
                  <a:gd name="connsiteX6" fmla="*/ 75850 w 84210"/>
                  <a:gd name="connsiteY6" fmla="*/ 67499 h 84453"/>
                  <a:gd name="connsiteX7" fmla="*/ 75850 w 84210"/>
                  <a:gd name="connsiteY7" fmla="*/ 67499 h 84453"/>
                  <a:gd name="connsiteX8" fmla="*/ 48083 w 84210"/>
                  <a:gd name="connsiteY8" fmla="*/ 83977 h 84453"/>
                  <a:gd name="connsiteX9" fmla="*/ 41997 w 84210"/>
                  <a:gd name="connsiteY9" fmla="*/ 84453 h 84453"/>
                  <a:gd name="connsiteX10" fmla="*/ 42282 w 84210"/>
                  <a:gd name="connsiteY10" fmla="*/ 9491 h 84453"/>
                  <a:gd name="connsiteX11" fmla="*/ 37528 w 84210"/>
                  <a:gd name="connsiteY11" fmla="*/ 9872 h 84453"/>
                  <a:gd name="connsiteX12" fmla="*/ 16037 w 84210"/>
                  <a:gd name="connsiteY12" fmla="*/ 22636 h 84453"/>
                  <a:gd name="connsiteX13" fmla="*/ 9856 w 84210"/>
                  <a:gd name="connsiteY13" fmla="*/ 46829 h 84453"/>
                  <a:gd name="connsiteX14" fmla="*/ 22599 w 84210"/>
                  <a:gd name="connsiteY14" fmla="*/ 68356 h 84453"/>
                  <a:gd name="connsiteX15" fmla="*/ 46752 w 84210"/>
                  <a:gd name="connsiteY15" fmla="*/ 74547 h 84453"/>
                  <a:gd name="connsiteX16" fmla="*/ 68243 w 84210"/>
                  <a:gd name="connsiteY16" fmla="*/ 61784 h 84453"/>
                  <a:gd name="connsiteX17" fmla="*/ 61681 w 84210"/>
                  <a:gd name="connsiteY17" fmla="*/ 16064 h 84453"/>
                  <a:gd name="connsiteX18" fmla="*/ 42187 w 84210"/>
                  <a:gd name="connsiteY18" fmla="*/ 9587 h 84453"/>
                  <a:gd name="connsiteX19" fmla="*/ 72141 w 84210"/>
                  <a:gd name="connsiteY19" fmla="*/ 64546 h 84453"/>
                  <a:gd name="connsiteX20" fmla="*/ 72141 w 84210"/>
                  <a:gd name="connsiteY20" fmla="*/ 64546 h 84453"/>
                  <a:gd name="connsiteX21" fmla="*/ 72141 w 84210"/>
                  <a:gd name="connsiteY21" fmla="*/ 64546 h 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210" h="84453">
                    <a:moveTo>
                      <a:pt x="42092" y="84358"/>
                    </a:moveTo>
                    <a:cubicBezTo>
                      <a:pt x="33058" y="84358"/>
                      <a:pt x="24310" y="81500"/>
                      <a:pt x="16893" y="75976"/>
                    </a:cubicBezTo>
                    <a:cubicBezTo>
                      <a:pt x="7859" y="69213"/>
                      <a:pt x="2059" y="59402"/>
                      <a:pt x="442" y="48163"/>
                    </a:cubicBezTo>
                    <a:cubicBezTo>
                      <a:pt x="-1174" y="37019"/>
                      <a:pt x="1678" y="25875"/>
                      <a:pt x="8430" y="16921"/>
                    </a:cubicBezTo>
                    <a:cubicBezTo>
                      <a:pt x="15181" y="7967"/>
                      <a:pt x="24976" y="2062"/>
                      <a:pt x="36197" y="443"/>
                    </a:cubicBezTo>
                    <a:cubicBezTo>
                      <a:pt x="47322" y="-1177"/>
                      <a:pt x="58448" y="1681"/>
                      <a:pt x="67387" y="8444"/>
                    </a:cubicBezTo>
                    <a:cubicBezTo>
                      <a:pt x="85930" y="22350"/>
                      <a:pt x="89733" y="48925"/>
                      <a:pt x="75850" y="67499"/>
                    </a:cubicBezTo>
                    <a:lnTo>
                      <a:pt x="75850" y="67499"/>
                    </a:lnTo>
                    <a:cubicBezTo>
                      <a:pt x="69098" y="76548"/>
                      <a:pt x="59209" y="82358"/>
                      <a:pt x="48083" y="83977"/>
                    </a:cubicBezTo>
                    <a:cubicBezTo>
                      <a:pt x="46086" y="84263"/>
                      <a:pt x="43994" y="84453"/>
                      <a:pt x="41997" y="84453"/>
                    </a:cubicBezTo>
                    <a:close/>
                    <a:moveTo>
                      <a:pt x="42282" y="9491"/>
                    </a:moveTo>
                    <a:cubicBezTo>
                      <a:pt x="40761" y="9491"/>
                      <a:pt x="39144" y="9587"/>
                      <a:pt x="37528" y="9872"/>
                    </a:cubicBezTo>
                    <a:cubicBezTo>
                      <a:pt x="28874" y="11111"/>
                      <a:pt x="21267" y="15683"/>
                      <a:pt x="16037" y="22636"/>
                    </a:cubicBezTo>
                    <a:cubicBezTo>
                      <a:pt x="10807" y="29589"/>
                      <a:pt x="8620" y="38257"/>
                      <a:pt x="9856" y="46829"/>
                    </a:cubicBezTo>
                    <a:cubicBezTo>
                      <a:pt x="11092" y="55497"/>
                      <a:pt x="15657" y="63117"/>
                      <a:pt x="22599" y="68356"/>
                    </a:cubicBezTo>
                    <a:cubicBezTo>
                      <a:pt x="29540" y="73595"/>
                      <a:pt x="38193" y="75881"/>
                      <a:pt x="46752" y="74547"/>
                    </a:cubicBezTo>
                    <a:cubicBezTo>
                      <a:pt x="55405" y="73309"/>
                      <a:pt x="63013" y="68737"/>
                      <a:pt x="68243" y="61784"/>
                    </a:cubicBezTo>
                    <a:cubicBezTo>
                      <a:pt x="78988" y="47401"/>
                      <a:pt x="76040" y="26827"/>
                      <a:pt x="61681" y="16064"/>
                    </a:cubicBezTo>
                    <a:cubicBezTo>
                      <a:pt x="55976" y="11777"/>
                      <a:pt x="49224" y="9587"/>
                      <a:pt x="42187" y="9587"/>
                    </a:cubicBezTo>
                    <a:close/>
                    <a:moveTo>
                      <a:pt x="72141" y="64546"/>
                    </a:moveTo>
                    <a:lnTo>
                      <a:pt x="72141" y="64546"/>
                    </a:lnTo>
                    <a:lnTo>
                      <a:pt x="72141" y="64546"/>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2" name="Freeform 116">
                <a:extLst>
                  <a:ext uri="{FF2B5EF4-FFF2-40B4-BE49-F238E27FC236}">
                    <a16:creationId xmlns:a16="http://schemas.microsoft.com/office/drawing/2014/main" id="{209D4F0E-F672-AD1F-E86A-7F14156B669B}"/>
                  </a:ext>
                </a:extLst>
              </p:cNvPr>
              <p:cNvSpPr/>
              <p:nvPr/>
            </p:nvSpPr>
            <p:spPr>
              <a:xfrm>
                <a:off x="7584803" y="2589300"/>
                <a:ext cx="384715" cy="385152"/>
              </a:xfrm>
              <a:custGeom>
                <a:avLst/>
                <a:gdLst>
                  <a:gd name="connsiteX0" fmla="*/ 42032 w 84201"/>
                  <a:gd name="connsiteY0" fmla="*/ 84298 h 84297"/>
                  <a:gd name="connsiteX1" fmla="*/ 21302 w 84201"/>
                  <a:gd name="connsiteY1" fmla="*/ 78773 h 84297"/>
                  <a:gd name="connsiteX2" fmla="*/ 1523 w 84201"/>
                  <a:gd name="connsiteY2" fmla="*/ 53342 h 84297"/>
                  <a:gd name="connsiteX3" fmla="*/ 5517 w 84201"/>
                  <a:gd name="connsiteY3" fmla="*/ 21338 h 84297"/>
                  <a:gd name="connsiteX4" fmla="*/ 30907 w 84201"/>
                  <a:gd name="connsiteY4" fmla="*/ 1526 h 84297"/>
                  <a:gd name="connsiteX5" fmla="*/ 62857 w 84201"/>
                  <a:gd name="connsiteY5" fmla="*/ 5526 h 84297"/>
                  <a:gd name="connsiteX6" fmla="*/ 82637 w 84201"/>
                  <a:gd name="connsiteY6" fmla="*/ 30958 h 84297"/>
                  <a:gd name="connsiteX7" fmla="*/ 78643 w 84201"/>
                  <a:gd name="connsiteY7" fmla="*/ 62962 h 84297"/>
                  <a:gd name="connsiteX8" fmla="*/ 53253 w 84201"/>
                  <a:gd name="connsiteY8" fmla="*/ 82774 h 84297"/>
                  <a:gd name="connsiteX9" fmla="*/ 53253 w 84201"/>
                  <a:gd name="connsiteY9" fmla="*/ 82774 h 84297"/>
                  <a:gd name="connsiteX10" fmla="*/ 41937 w 84201"/>
                  <a:gd name="connsiteY10" fmla="*/ 84298 h 84297"/>
                  <a:gd name="connsiteX11" fmla="*/ 52017 w 84201"/>
                  <a:gd name="connsiteY11" fmla="*/ 78202 h 84297"/>
                  <a:gd name="connsiteX12" fmla="*/ 52017 w 84201"/>
                  <a:gd name="connsiteY12" fmla="*/ 78202 h 84297"/>
                  <a:gd name="connsiteX13" fmla="*/ 52017 w 84201"/>
                  <a:gd name="connsiteY13" fmla="*/ 78202 h 84297"/>
                  <a:gd name="connsiteX14" fmla="*/ 42127 w 84201"/>
                  <a:gd name="connsiteY14" fmla="*/ 9431 h 84297"/>
                  <a:gd name="connsiteX15" fmla="*/ 33379 w 84201"/>
                  <a:gd name="connsiteY15" fmla="*/ 10670 h 84297"/>
                  <a:gd name="connsiteX16" fmla="*/ 13695 w 84201"/>
                  <a:gd name="connsiteY16" fmla="*/ 26005 h 84297"/>
                  <a:gd name="connsiteX17" fmla="*/ 10652 w 84201"/>
                  <a:gd name="connsiteY17" fmla="*/ 50770 h 84297"/>
                  <a:gd name="connsiteX18" fmla="*/ 25962 w 84201"/>
                  <a:gd name="connsiteY18" fmla="*/ 70487 h 84297"/>
                  <a:gd name="connsiteX19" fmla="*/ 50781 w 84201"/>
                  <a:gd name="connsiteY19" fmla="*/ 73535 h 84297"/>
                  <a:gd name="connsiteX20" fmla="*/ 50781 w 84201"/>
                  <a:gd name="connsiteY20" fmla="*/ 73535 h 84297"/>
                  <a:gd name="connsiteX21" fmla="*/ 73508 w 84201"/>
                  <a:gd name="connsiteY21" fmla="*/ 33339 h 84297"/>
                  <a:gd name="connsiteX22" fmla="*/ 58198 w 84201"/>
                  <a:gd name="connsiteY22" fmla="*/ 13622 h 84297"/>
                  <a:gd name="connsiteX23" fmla="*/ 42127 w 84201"/>
                  <a:gd name="connsiteY23" fmla="*/ 9336 h 8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201" h="84297">
                    <a:moveTo>
                      <a:pt x="42032" y="84298"/>
                    </a:moveTo>
                    <a:cubicBezTo>
                      <a:pt x="34805" y="84298"/>
                      <a:pt x="27768" y="82488"/>
                      <a:pt x="21302" y="78773"/>
                    </a:cubicBezTo>
                    <a:cubicBezTo>
                      <a:pt x="11508" y="73249"/>
                      <a:pt x="4471" y="64200"/>
                      <a:pt x="1523" y="53342"/>
                    </a:cubicBezTo>
                    <a:cubicBezTo>
                      <a:pt x="-1425" y="42483"/>
                      <a:pt x="-93" y="31148"/>
                      <a:pt x="5517" y="21338"/>
                    </a:cubicBezTo>
                    <a:cubicBezTo>
                      <a:pt x="11032" y="11527"/>
                      <a:pt x="20066" y="4478"/>
                      <a:pt x="30907" y="1526"/>
                    </a:cubicBezTo>
                    <a:cubicBezTo>
                      <a:pt x="41747" y="-1427"/>
                      <a:pt x="53063" y="-94"/>
                      <a:pt x="62857" y="5526"/>
                    </a:cubicBezTo>
                    <a:cubicBezTo>
                      <a:pt x="72652" y="11051"/>
                      <a:pt x="79689" y="20099"/>
                      <a:pt x="82637" y="30958"/>
                    </a:cubicBezTo>
                    <a:cubicBezTo>
                      <a:pt x="85679" y="41816"/>
                      <a:pt x="84253" y="53151"/>
                      <a:pt x="78643" y="62962"/>
                    </a:cubicBezTo>
                    <a:cubicBezTo>
                      <a:pt x="73128" y="72773"/>
                      <a:pt x="64094" y="79821"/>
                      <a:pt x="53253" y="82774"/>
                    </a:cubicBezTo>
                    <a:lnTo>
                      <a:pt x="53253" y="82774"/>
                    </a:lnTo>
                    <a:cubicBezTo>
                      <a:pt x="49545" y="83822"/>
                      <a:pt x="45741" y="84298"/>
                      <a:pt x="41937" y="84298"/>
                    </a:cubicBezTo>
                    <a:close/>
                    <a:moveTo>
                      <a:pt x="52017" y="78202"/>
                    </a:moveTo>
                    <a:lnTo>
                      <a:pt x="52017" y="78202"/>
                    </a:lnTo>
                    <a:lnTo>
                      <a:pt x="52017" y="78202"/>
                    </a:lnTo>
                    <a:close/>
                    <a:moveTo>
                      <a:pt x="42127" y="9431"/>
                    </a:moveTo>
                    <a:cubicBezTo>
                      <a:pt x="39180" y="9431"/>
                      <a:pt x="36232" y="9812"/>
                      <a:pt x="33379" y="10670"/>
                    </a:cubicBezTo>
                    <a:cubicBezTo>
                      <a:pt x="25011" y="12956"/>
                      <a:pt x="17974" y="18480"/>
                      <a:pt x="13695" y="26005"/>
                    </a:cubicBezTo>
                    <a:cubicBezTo>
                      <a:pt x="9416" y="33625"/>
                      <a:pt x="8275" y="42388"/>
                      <a:pt x="10652" y="50770"/>
                    </a:cubicBezTo>
                    <a:cubicBezTo>
                      <a:pt x="12934" y="59152"/>
                      <a:pt x="18450" y="66200"/>
                      <a:pt x="25962" y="70487"/>
                    </a:cubicBezTo>
                    <a:cubicBezTo>
                      <a:pt x="33569" y="74773"/>
                      <a:pt x="42317" y="75821"/>
                      <a:pt x="50781" y="73535"/>
                    </a:cubicBezTo>
                    <a:lnTo>
                      <a:pt x="50781" y="73535"/>
                    </a:lnTo>
                    <a:cubicBezTo>
                      <a:pt x="68088" y="68772"/>
                      <a:pt x="78262" y="50675"/>
                      <a:pt x="73508" y="33339"/>
                    </a:cubicBezTo>
                    <a:cubicBezTo>
                      <a:pt x="71226" y="24957"/>
                      <a:pt x="65710" y="17909"/>
                      <a:pt x="58198" y="13622"/>
                    </a:cubicBezTo>
                    <a:cubicBezTo>
                      <a:pt x="53253" y="10765"/>
                      <a:pt x="47738" y="9336"/>
                      <a:pt x="42127" y="9336"/>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3" name="Freeform 117">
                <a:extLst>
                  <a:ext uri="{FF2B5EF4-FFF2-40B4-BE49-F238E27FC236}">
                    <a16:creationId xmlns:a16="http://schemas.microsoft.com/office/drawing/2014/main" id="{F851F1B4-C4F8-C2FD-D247-A79E1851B111}"/>
                  </a:ext>
                </a:extLst>
              </p:cNvPr>
              <p:cNvSpPr/>
              <p:nvPr/>
            </p:nvSpPr>
            <p:spPr>
              <a:xfrm>
                <a:off x="6465137" y="2898731"/>
                <a:ext cx="384980" cy="385582"/>
              </a:xfrm>
              <a:custGeom>
                <a:avLst/>
                <a:gdLst>
                  <a:gd name="connsiteX0" fmla="*/ 42133 w 84259"/>
                  <a:gd name="connsiteY0" fmla="*/ 84392 h 84391"/>
                  <a:gd name="connsiteX1" fmla="*/ 1528 w 84259"/>
                  <a:gd name="connsiteY1" fmla="*/ 53435 h 84391"/>
                  <a:gd name="connsiteX2" fmla="*/ 30911 w 84259"/>
                  <a:gd name="connsiteY2" fmla="*/ 1524 h 84391"/>
                  <a:gd name="connsiteX3" fmla="*/ 82737 w 84259"/>
                  <a:gd name="connsiteY3" fmla="*/ 30956 h 84391"/>
                  <a:gd name="connsiteX4" fmla="*/ 78743 w 84259"/>
                  <a:gd name="connsiteY4" fmla="*/ 62960 h 84391"/>
                  <a:gd name="connsiteX5" fmla="*/ 53353 w 84259"/>
                  <a:gd name="connsiteY5" fmla="*/ 82772 h 84391"/>
                  <a:gd name="connsiteX6" fmla="*/ 53353 w 84259"/>
                  <a:gd name="connsiteY6" fmla="*/ 82772 h 84391"/>
                  <a:gd name="connsiteX7" fmla="*/ 42133 w 84259"/>
                  <a:gd name="connsiteY7" fmla="*/ 84296 h 84391"/>
                  <a:gd name="connsiteX8" fmla="*/ 52022 w 84259"/>
                  <a:gd name="connsiteY8" fmla="*/ 78296 h 84391"/>
                  <a:gd name="connsiteX9" fmla="*/ 52022 w 84259"/>
                  <a:gd name="connsiteY9" fmla="*/ 78296 h 84391"/>
                  <a:gd name="connsiteX10" fmla="*/ 52022 w 84259"/>
                  <a:gd name="connsiteY10" fmla="*/ 78296 h 84391"/>
                  <a:gd name="connsiteX11" fmla="*/ 42037 w 84259"/>
                  <a:gd name="connsiteY11" fmla="*/ 9525 h 84391"/>
                  <a:gd name="connsiteX12" fmla="*/ 33384 w 84259"/>
                  <a:gd name="connsiteY12" fmla="*/ 10668 h 84391"/>
                  <a:gd name="connsiteX13" fmla="*/ 10657 w 84259"/>
                  <a:gd name="connsiteY13" fmla="*/ 50864 h 84391"/>
                  <a:gd name="connsiteX14" fmla="*/ 50786 w 84259"/>
                  <a:gd name="connsiteY14" fmla="*/ 73628 h 84391"/>
                  <a:gd name="connsiteX15" fmla="*/ 70470 w 84259"/>
                  <a:gd name="connsiteY15" fmla="*/ 58293 h 84391"/>
                  <a:gd name="connsiteX16" fmla="*/ 73513 w 84259"/>
                  <a:gd name="connsiteY16" fmla="*/ 33528 h 84391"/>
                  <a:gd name="connsiteX17" fmla="*/ 42037 w 84259"/>
                  <a:gd name="connsiteY17"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59" h="84391">
                    <a:moveTo>
                      <a:pt x="42133" y="84392"/>
                    </a:moveTo>
                    <a:cubicBezTo>
                      <a:pt x="23685" y="84392"/>
                      <a:pt x="6663" y="72104"/>
                      <a:pt x="1528" y="53435"/>
                    </a:cubicBezTo>
                    <a:cubicBezTo>
                      <a:pt x="-4653" y="31051"/>
                      <a:pt x="8470" y="7715"/>
                      <a:pt x="30911" y="1524"/>
                    </a:cubicBezTo>
                    <a:cubicBezTo>
                      <a:pt x="53353" y="-4667"/>
                      <a:pt x="76556" y="8572"/>
                      <a:pt x="82737" y="30956"/>
                    </a:cubicBezTo>
                    <a:cubicBezTo>
                      <a:pt x="85685" y="41815"/>
                      <a:pt x="84353" y="53149"/>
                      <a:pt x="78743" y="62960"/>
                    </a:cubicBezTo>
                    <a:cubicBezTo>
                      <a:pt x="73228" y="72771"/>
                      <a:pt x="64194" y="79820"/>
                      <a:pt x="53353" y="82772"/>
                    </a:cubicBezTo>
                    <a:lnTo>
                      <a:pt x="53353" y="82772"/>
                    </a:lnTo>
                    <a:cubicBezTo>
                      <a:pt x="49645" y="83820"/>
                      <a:pt x="45841" y="84296"/>
                      <a:pt x="42133" y="84296"/>
                    </a:cubicBezTo>
                    <a:close/>
                    <a:moveTo>
                      <a:pt x="52022" y="78296"/>
                    </a:moveTo>
                    <a:lnTo>
                      <a:pt x="52022" y="78296"/>
                    </a:lnTo>
                    <a:lnTo>
                      <a:pt x="52022" y="78296"/>
                    </a:lnTo>
                    <a:close/>
                    <a:moveTo>
                      <a:pt x="42037" y="9525"/>
                    </a:moveTo>
                    <a:cubicBezTo>
                      <a:pt x="39184" y="9525"/>
                      <a:pt x="36237" y="9906"/>
                      <a:pt x="33384" y="10668"/>
                    </a:cubicBezTo>
                    <a:cubicBezTo>
                      <a:pt x="16077" y="15430"/>
                      <a:pt x="5902" y="33528"/>
                      <a:pt x="10657" y="50864"/>
                    </a:cubicBezTo>
                    <a:cubicBezTo>
                      <a:pt x="15411" y="68199"/>
                      <a:pt x="33479" y="78391"/>
                      <a:pt x="50786" y="73628"/>
                    </a:cubicBezTo>
                    <a:cubicBezTo>
                      <a:pt x="59154" y="71342"/>
                      <a:pt x="66191" y="65818"/>
                      <a:pt x="70470" y="58293"/>
                    </a:cubicBezTo>
                    <a:cubicBezTo>
                      <a:pt x="74749" y="50673"/>
                      <a:pt x="75890" y="41910"/>
                      <a:pt x="73513" y="33528"/>
                    </a:cubicBezTo>
                    <a:cubicBezTo>
                      <a:pt x="69519" y="19050"/>
                      <a:pt x="56396" y="9525"/>
                      <a:pt x="4203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4" name="Freeform 118">
                <a:extLst>
                  <a:ext uri="{FF2B5EF4-FFF2-40B4-BE49-F238E27FC236}">
                    <a16:creationId xmlns:a16="http://schemas.microsoft.com/office/drawing/2014/main" id="{5878B5CA-3315-C73A-EC16-2423666F4996}"/>
                  </a:ext>
                </a:extLst>
              </p:cNvPr>
              <p:cNvSpPr/>
              <p:nvPr/>
            </p:nvSpPr>
            <p:spPr>
              <a:xfrm>
                <a:off x="7565540" y="2956428"/>
                <a:ext cx="384815" cy="385331"/>
              </a:xfrm>
              <a:custGeom>
                <a:avLst/>
                <a:gdLst>
                  <a:gd name="connsiteX0" fmla="*/ 42064 w 84223"/>
                  <a:gd name="connsiteY0" fmla="*/ 84337 h 84336"/>
                  <a:gd name="connsiteX1" fmla="*/ 26755 w 84223"/>
                  <a:gd name="connsiteY1" fmla="*/ 81479 h 84336"/>
                  <a:gd name="connsiteX2" fmla="*/ 26755 w 84223"/>
                  <a:gd name="connsiteY2" fmla="*/ 81479 h 84336"/>
                  <a:gd name="connsiteX3" fmla="*/ 3552 w 84223"/>
                  <a:gd name="connsiteY3" fmla="*/ 59096 h 84336"/>
                  <a:gd name="connsiteX4" fmla="*/ 2886 w 84223"/>
                  <a:gd name="connsiteY4" fmla="*/ 26806 h 84336"/>
                  <a:gd name="connsiteX5" fmla="*/ 57469 w 84223"/>
                  <a:gd name="connsiteY5" fmla="*/ 2898 h 84336"/>
                  <a:gd name="connsiteX6" fmla="*/ 80672 w 84223"/>
                  <a:gd name="connsiteY6" fmla="*/ 25282 h 84336"/>
                  <a:gd name="connsiteX7" fmla="*/ 81337 w 84223"/>
                  <a:gd name="connsiteY7" fmla="*/ 57572 h 84336"/>
                  <a:gd name="connsiteX8" fmla="*/ 42064 w 84223"/>
                  <a:gd name="connsiteY8" fmla="*/ 84337 h 84336"/>
                  <a:gd name="connsiteX9" fmla="*/ 30273 w 84223"/>
                  <a:gd name="connsiteY9" fmla="*/ 72526 h 84336"/>
                  <a:gd name="connsiteX10" fmla="*/ 72494 w 84223"/>
                  <a:gd name="connsiteY10" fmla="*/ 54047 h 84336"/>
                  <a:gd name="connsiteX11" fmla="*/ 54046 w 84223"/>
                  <a:gd name="connsiteY11" fmla="*/ 11756 h 84336"/>
                  <a:gd name="connsiteX12" fmla="*/ 11825 w 84223"/>
                  <a:gd name="connsiteY12" fmla="*/ 30235 h 84336"/>
                  <a:gd name="connsiteX13" fmla="*/ 30273 w 84223"/>
                  <a:gd name="connsiteY13" fmla="*/ 72526 h 84336"/>
                  <a:gd name="connsiteX14" fmla="*/ 30273 w 84223"/>
                  <a:gd name="connsiteY14" fmla="*/ 72526 h 8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23" h="84336">
                    <a:moveTo>
                      <a:pt x="42064" y="84337"/>
                    </a:moveTo>
                    <a:cubicBezTo>
                      <a:pt x="36929" y="84337"/>
                      <a:pt x="31794" y="83384"/>
                      <a:pt x="26755" y="81479"/>
                    </a:cubicBezTo>
                    <a:lnTo>
                      <a:pt x="26755" y="81479"/>
                    </a:lnTo>
                    <a:cubicBezTo>
                      <a:pt x="16294" y="77384"/>
                      <a:pt x="8021" y="69383"/>
                      <a:pt x="3552" y="59096"/>
                    </a:cubicBezTo>
                    <a:cubicBezTo>
                      <a:pt x="-917" y="48809"/>
                      <a:pt x="-1203" y="37283"/>
                      <a:pt x="2886" y="26806"/>
                    </a:cubicBezTo>
                    <a:cubicBezTo>
                      <a:pt x="11350" y="5184"/>
                      <a:pt x="35788" y="-5579"/>
                      <a:pt x="57469" y="2898"/>
                    </a:cubicBezTo>
                    <a:cubicBezTo>
                      <a:pt x="67929" y="6994"/>
                      <a:pt x="76202" y="14995"/>
                      <a:pt x="80672" y="25282"/>
                    </a:cubicBezTo>
                    <a:cubicBezTo>
                      <a:pt x="85141" y="35569"/>
                      <a:pt x="85426" y="47094"/>
                      <a:pt x="81337" y="57572"/>
                    </a:cubicBezTo>
                    <a:cubicBezTo>
                      <a:pt x="74871" y="74145"/>
                      <a:pt x="58896" y="84337"/>
                      <a:pt x="42064" y="84337"/>
                    </a:cubicBezTo>
                    <a:close/>
                    <a:moveTo>
                      <a:pt x="30273" y="72526"/>
                    </a:moveTo>
                    <a:cubicBezTo>
                      <a:pt x="47009" y="79098"/>
                      <a:pt x="65932" y="70811"/>
                      <a:pt x="72494" y="54047"/>
                    </a:cubicBezTo>
                    <a:cubicBezTo>
                      <a:pt x="79055" y="37283"/>
                      <a:pt x="70782" y="18329"/>
                      <a:pt x="54046" y="11756"/>
                    </a:cubicBezTo>
                    <a:cubicBezTo>
                      <a:pt x="37310" y="5184"/>
                      <a:pt x="18386" y="13471"/>
                      <a:pt x="11825" y="30235"/>
                    </a:cubicBezTo>
                    <a:cubicBezTo>
                      <a:pt x="5264" y="46999"/>
                      <a:pt x="13537" y="65954"/>
                      <a:pt x="30273" y="72526"/>
                    </a:cubicBezTo>
                    <a:lnTo>
                      <a:pt x="30273" y="72526"/>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5" name="Freeform 119">
                <a:extLst>
                  <a:ext uri="{FF2B5EF4-FFF2-40B4-BE49-F238E27FC236}">
                    <a16:creationId xmlns:a16="http://schemas.microsoft.com/office/drawing/2014/main" id="{6D6A3197-7048-250C-5E6D-9C8DE0264E7D}"/>
                  </a:ext>
                </a:extLst>
              </p:cNvPr>
              <p:cNvSpPr/>
              <p:nvPr/>
            </p:nvSpPr>
            <p:spPr>
              <a:xfrm>
                <a:off x="6484130" y="2531676"/>
                <a:ext cx="384815" cy="385769"/>
              </a:xfrm>
              <a:custGeom>
                <a:avLst/>
                <a:gdLst>
                  <a:gd name="connsiteX0" fmla="*/ 42159 w 84223"/>
                  <a:gd name="connsiteY0" fmla="*/ 84432 h 84432"/>
                  <a:gd name="connsiteX1" fmla="*/ 26755 w 84223"/>
                  <a:gd name="connsiteY1" fmla="*/ 81479 h 84432"/>
                  <a:gd name="connsiteX2" fmla="*/ 26755 w 84223"/>
                  <a:gd name="connsiteY2" fmla="*/ 81479 h 84432"/>
                  <a:gd name="connsiteX3" fmla="*/ 3552 w 84223"/>
                  <a:gd name="connsiteY3" fmla="*/ 59096 h 84432"/>
                  <a:gd name="connsiteX4" fmla="*/ 2887 w 84223"/>
                  <a:gd name="connsiteY4" fmla="*/ 26806 h 84432"/>
                  <a:gd name="connsiteX5" fmla="*/ 57469 w 84223"/>
                  <a:gd name="connsiteY5" fmla="*/ 2898 h 84432"/>
                  <a:gd name="connsiteX6" fmla="*/ 80672 w 84223"/>
                  <a:gd name="connsiteY6" fmla="*/ 25282 h 84432"/>
                  <a:gd name="connsiteX7" fmla="*/ 81338 w 84223"/>
                  <a:gd name="connsiteY7" fmla="*/ 57572 h 84432"/>
                  <a:gd name="connsiteX8" fmla="*/ 58991 w 84223"/>
                  <a:gd name="connsiteY8" fmla="*/ 80813 h 84432"/>
                  <a:gd name="connsiteX9" fmla="*/ 42159 w 84223"/>
                  <a:gd name="connsiteY9" fmla="*/ 84337 h 84432"/>
                  <a:gd name="connsiteX10" fmla="*/ 42159 w 84223"/>
                  <a:gd name="connsiteY10" fmla="*/ 9566 h 84432"/>
                  <a:gd name="connsiteX11" fmla="*/ 11730 w 84223"/>
                  <a:gd name="connsiteY11" fmla="*/ 30330 h 84432"/>
                  <a:gd name="connsiteX12" fmla="*/ 12205 w 84223"/>
                  <a:gd name="connsiteY12" fmla="*/ 55286 h 84432"/>
                  <a:gd name="connsiteX13" fmla="*/ 30178 w 84223"/>
                  <a:gd name="connsiteY13" fmla="*/ 72621 h 84432"/>
                  <a:gd name="connsiteX14" fmla="*/ 30178 w 84223"/>
                  <a:gd name="connsiteY14" fmla="*/ 72621 h 84432"/>
                  <a:gd name="connsiteX15" fmla="*/ 55092 w 84223"/>
                  <a:gd name="connsiteY15" fmla="*/ 72145 h 84432"/>
                  <a:gd name="connsiteX16" fmla="*/ 72399 w 84223"/>
                  <a:gd name="connsiteY16" fmla="*/ 54143 h 84432"/>
                  <a:gd name="connsiteX17" fmla="*/ 71923 w 84223"/>
                  <a:gd name="connsiteY17" fmla="*/ 29187 h 84432"/>
                  <a:gd name="connsiteX18" fmla="*/ 53951 w 84223"/>
                  <a:gd name="connsiteY18" fmla="*/ 11852 h 84432"/>
                  <a:gd name="connsiteX19" fmla="*/ 42065 w 84223"/>
                  <a:gd name="connsiteY19" fmla="*/ 9566 h 8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223" h="84432">
                    <a:moveTo>
                      <a:pt x="42159" y="84432"/>
                    </a:moveTo>
                    <a:cubicBezTo>
                      <a:pt x="36929" y="84432"/>
                      <a:pt x="31794" y="83480"/>
                      <a:pt x="26755" y="81479"/>
                    </a:cubicBezTo>
                    <a:lnTo>
                      <a:pt x="26755" y="81479"/>
                    </a:lnTo>
                    <a:cubicBezTo>
                      <a:pt x="16294" y="77384"/>
                      <a:pt x="8021" y="69383"/>
                      <a:pt x="3552" y="59096"/>
                    </a:cubicBezTo>
                    <a:cubicBezTo>
                      <a:pt x="-917" y="48809"/>
                      <a:pt x="-1203" y="37283"/>
                      <a:pt x="2887" y="26806"/>
                    </a:cubicBezTo>
                    <a:cubicBezTo>
                      <a:pt x="11350" y="5184"/>
                      <a:pt x="35788" y="-5579"/>
                      <a:pt x="57469" y="2898"/>
                    </a:cubicBezTo>
                    <a:cubicBezTo>
                      <a:pt x="67930" y="6994"/>
                      <a:pt x="76203" y="14995"/>
                      <a:pt x="80672" y="25282"/>
                    </a:cubicBezTo>
                    <a:cubicBezTo>
                      <a:pt x="85141" y="35569"/>
                      <a:pt x="85426" y="47094"/>
                      <a:pt x="81338" y="57572"/>
                    </a:cubicBezTo>
                    <a:cubicBezTo>
                      <a:pt x="77248" y="68049"/>
                      <a:pt x="69261" y="76336"/>
                      <a:pt x="58991" y="80813"/>
                    </a:cubicBezTo>
                    <a:cubicBezTo>
                      <a:pt x="53571" y="83194"/>
                      <a:pt x="47865" y="84337"/>
                      <a:pt x="42159" y="84337"/>
                    </a:cubicBezTo>
                    <a:close/>
                    <a:moveTo>
                      <a:pt x="42159" y="9566"/>
                    </a:moveTo>
                    <a:cubicBezTo>
                      <a:pt x="29132" y="9566"/>
                      <a:pt x="16770" y="17471"/>
                      <a:pt x="11730" y="30330"/>
                    </a:cubicBezTo>
                    <a:cubicBezTo>
                      <a:pt x="8592" y="38426"/>
                      <a:pt x="8687" y="47285"/>
                      <a:pt x="12205" y="55286"/>
                    </a:cubicBezTo>
                    <a:cubicBezTo>
                      <a:pt x="15724" y="63287"/>
                      <a:pt x="22095" y="69383"/>
                      <a:pt x="30178" y="72621"/>
                    </a:cubicBezTo>
                    <a:lnTo>
                      <a:pt x="30178" y="72621"/>
                    </a:lnTo>
                    <a:cubicBezTo>
                      <a:pt x="38261" y="75764"/>
                      <a:pt x="47104" y="75669"/>
                      <a:pt x="55092" y="72145"/>
                    </a:cubicBezTo>
                    <a:cubicBezTo>
                      <a:pt x="63080" y="68621"/>
                      <a:pt x="69166" y="62239"/>
                      <a:pt x="72399" y="54143"/>
                    </a:cubicBezTo>
                    <a:cubicBezTo>
                      <a:pt x="75537" y="46046"/>
                      <a:pt x="75442" y="37188"/>
                      <a:pt x="71923" y="29187"/>
                    </a:cubicBezTo>
                    <a:cubicBezTo>
                      <a:pt x="68405" y="21186"/>
                      <a:pt x="62034" y="14995"/>
                      <a:pt x="53951" y="11852"/>
                    </a:cubicBezTo>
                    <a:cubicBezTo>
                      <a:pt x="50052" y="10328"/>
                      <a:pt x="46058" y="9566"/>
                      <a:pt x="42065" y="9566"/>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6" name="Freeform 120">
                <a:extLst>
                  <a:ext uri="{FF2B5EF4-FFF2-40B4-BE49-F238E27FC236}">
                    <a16:creationId xmlns:a16="http://schemas.microsoft.com/office/drawing/2014/main" id="{5310D065-B942-92CC-5FE3-F289AA293D16}"/>
                  </a:ext>
                </a:extLst>
              </p:cNvPr>
              <p:cNvSpPr/>
              <p:nvPr/>
            </p:nvSpPr>
            <p:spPr>
              <a:xfrm>
                <a:off x="7351524" y="3225158"/>
                <a:ext cx="384884" cy="385555"/>
              </a:xfrm>
              <a:custGeom>
                <a:avLst/>
                <a:gdLst>
                  <a:gd name="connsiteX0" fmla="*/ 42214 w 84238"/>
                  <a:gd name="connsiteY0" fmla="*/ 84290 h 84385"/>
                  <a:gd name="connsiteX1" fmla="*/ 7316 w 84238"/>
                  <a:gd name="connsiteY1" fmla="*/ 65907 h 84385"/>
                  <a:gd name="connsiteX2" fmla="*/ 7316 w 84238"/>
                  <a:gd name="connsiteY2" fmla="*/ 65907 h 84385"/>
                  <a:gd name="connsiteX3" fmla="*/ 754 w 84238"/>
                  <a:gd name="connsiteY3" fmla="*/ 34284 h 84385"/>
                  <a:gd name="connsiteX4" fmla="*/ 18441 w 84238"/>
                  <a:gd name="connsiteY4" fmla="*/ 7328 h 84385"/>
                  <a:gd name="connsiteX5" fmla="*/ 50012 w 84238"/>
                  <a:gd name="connsiteY5" fmla="*/ 756 h 84385"/>
                  <a:gd name="connsiteX6" fmla="*/ 76923 w 84238"/>
                  <a:gd name="connsiteY6" fmla="*/ 18472 h 84385"/>
                  <a:gd name="connsiteX7" fmla="*/ 83485 w 84238"/>
                  <a:gd name="connsiteY7" fmla="*/ 50095 h 84385"/>
                  <a:gd name="connsiteX8" fmla="*/ 65797 w 84238"/>
                  <a:gd name="connsiteY8" fmla="*/ 77051 h 84385"/>
                  <a:gd name="connsiteX9" fmla="*/ 42119 w 84238"/>
                  <a:gd name="connsiteY9" fmla="*/ 84385 h 84385"/>
                  <a:gd name="connsiteX10" fmla="*/ 15208 w 84238"/>
                  <a:gd name="connsiteY10" fmla="*/ 60477 h 84385"/>
                  <a:gd name="connsiteX11" fmla="*/ 36129 w 84238"/>
                  <a:gd name="connsiteY11" fmla="*/ 74193 h 84385"/>
                  <a:gd name="connsiteX12" fmla="*/ 60567 w 84238"/>
                  <a:gd name="connsiteY12" fmla="*/ 69145 h 84385"/>
                  <a:gd name="connsiteX13" fmla="*/ 74261 w 84238"/>
                  <a:gd name="connsiteY13" fmla="*/ 48285 h 84385"/>
                  <a:gd name="connsiteX14" fmla="*/ 69221 w 84238"/>
                  <a:gd name="connsiteY14" fmla="*/ 23806 h 84385"/>
                  <a:gd name="connsiteX15" fmla="*/ 48396 w 84238"/>
                  <a:gd name="connsiteY15" fmla="*/ 10090 h 84385"/>
                  <a:gd name="connsiteX16" fmla="*/ 23957 w 84238"/>
                  <a:gd name="connsiteY16" fmla="*/ 15138 h 84385"/>
                  <a:gd name="connsiteX17" fmla="*/ 15303 w 84238"/>
                  <a:gd name="connsiteY17" fmla="*/ 60477 h 84385"/>
                  <a:gd name="connsiteX18" fmla="*/ 15303 w 84238"/>
                  <a:gd name="connsiteY18" fmla="*/ 60477 h 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38" h="84385">
                    <a:moveTo>
                      <a:pt x="42214" y="84290"/>
                    </a:moveTo>
                    <a:cubicBezTo>
                      <a:pt x="28711" y="84290"/>
                      <a:pt x="15494" y="77813"/>
                      <a:pt x="7316" y="65907"/>
                    </a:cubicBezTo>
                    <a:lnTo>
                      <a:pt x="7316" y="65907"/>
                    </a:lnTo>
                    <a:cubicBezTo>
                      <a:pt x="944" y="56572"/>
                      <a:pt x="-1338" y="45333"/>
                      <a:pt x="754" y="34284"/>
                    </a:cubicBezTo>
                    <a:cubicBezTo>
                      <a:pt x="2846" y="23235"/>
                      <a:pt x="9123" y="13614"/>
                      <a:pt x="18441" y="7328"/>
                    </a:cubicBezTo>
                    <a:cubicBezTo>
                      <a:pt x="27760" y="946"/>
                      <a:pt x="38981" y="-1340"/>
                      <a:pt x="50012" y="756"/>
                    </a:cubicBezTo>
                    <a:cubicBezTo>
                      <a:pt x="61043" y="2851"/>
                      <a:pt x="70647" y="9138"/>
                      <a:pt x="76923" y="18472"/>
                    </a:cubicBezTo>
                    <a:cubicBezTo>
                      <a:pt x="83294" y="27807"/>
                      <a:pt x="85576" y="39046"/>
                      <a:pt x="83485" y="50095"/>
                    </a:cubicBezTo>
                    <a:cubicBezTo>
                      <a:pt x="81393" y="61144"/>
                      <a:pt x="75116" y="70764"/>
                      <a:pt x="65797" y="77051"/>
                    </a:cubicBezTo>
                    <a:cubicBezTo>
                      <a:pt x="58570" y="82004"/>
                      <a:pt x="50297" y="84385"/>
                      <a:pt x="42119" y="84385"/>
                    </a:cubicBezTo>
                    <a:close/>
                    <a:moveTo>
                      <a:pt x="15208" y="60477"/>
                    </a:moveTo>
                    <a:cubicBezTo>
                      <a:pt x="20153" y="67716"/>
                      <a:pt x="27570" y="72574"/>
                      <a:pt x="36129" y="74193"/>
                    </a:cubicBezTo>
                    <a:cubicBezTo>
                      <a:pt x="44687" y="75813"/>
                      <a:pt x="53340" y="74003"/>
                      <a:pt x="60567" y="69145"/>
                    </a:cubicBezTo>
                    <a:cubicBezTo>
                      <a:pt x="67794" y="64192"/>
                      <a:pt x="72644" y="56858"/>
                      <a:pt x="74261" y="48285"/>
                    </a:cubicBezTo>
                    <a:cubicBezTo>
                      <a:pt x="75877" y="39713"/>
                      <a:pt x="74070" y="31045"/>
                      <a:pt x="69221" y="23806"/>
                    </a:cubicBezTo>
                    <a:cubicBezTo>
                      <a:pt x="64276" y="16567"/>
                      <a:pt x="56954" y="11709"/>
                      <a:pt x="48396" y="10090"/>
                    </a:cubicBezTo>
                    <a:cubicBezTo>
                      <a:pt x="39837" y="8471"/>
                      <a:pt x="31184" y="10281"/>
                      <a:pt x="23957" y="15138"/>
                    </a:cubicBezTo>
                    <a:cubicBezTo>
                      <a:pt x="9123" y="25235"/>
                      <a:pt x="5224" y="45618"/>
                      <a:pt x="15303" y="60477"/>
                    </a:cubicBezTo>
                    <a:lnTo>
                      <a:pt x="15303" y="60477"/>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7" name="Freeform 121">
                <a:extLst>
                  <a:ext uri="{FF2B5EF4-FFF2-40B4-BE49-F238E27FC236}">
                    <a16:creationId xmlns:a16="http://schemas.microsoft.com/office/drawing/2014/main" id="{432AFE98-CF61-6761-DB57-510D3290C650}"/>
                  </a:ext>
                </a:extLst>
              </p:cNvPr>
              <p:cNvSpPr/>
              <p:nvPr/>
            </p:nvSpPr>
            <p:spPr>
              <a:xfrm>
                <a:off x="6698074" y="2262960"/>
                <a:ext cx="384674" cy="385532"/>
              </a:xfrm>
              <a:custGeom>
                <a:avLst/>
                <a:gdLst>
                  <a:gd name="connsiteX0" fmla="*/ 42215 w 84192"/>
                  <a:gd name="connsiteY0" fmla="*/ 84381 h 84380"/>
                  <a:gd name="connsiteX1" fmla="*/ 34227 w 84192"/>
                  <a:gd name="connsiteY1" fmla="*/ 83619 h 84380"/>
                  <a:gd name="connsiteX2" fmla="*/ 7316 w 84192"/>
                  <a:gd name="connsiteY2" fmla="*/ 65902 h 84380"/>
                  <a:gd name="connsiteX3" fmla="*/ 7316 w 84192"/>
                  <a:gd name="connsiteY3" fmla="*/ 65902 h 84380"/>
                  <a:gd name="connsiteX4" fmla="*/ 754 w 84192"/>
                  <a:gd name="connsiteY4" fmla="*/ 34279 h 84380"/>
                  <a:gd name="connsiteX5" fmla="*/ 18442 w 84192"/>
                  <a:gd name="connsiteY5" fmla="*/ 7324 h 84380"/>
                  <a:gd name="connsiteX6" fmla="*/ 76923 w 84192"/>
                  <a:gd name="connsiteY6" fmla="*/ 18468 h 84380"/>
                  <a:gd name="connsiteX7" fmla="*/ 65797 w 84192"/>
                  <a:gd name="connsiteY7" fmla="*/ 77047 h 84380"/>
                  <a:gd name="connsiteX8" fmla="*/ 42215 w 84192"/>
                  <a:gd name="connsiteY8" fmla="*/ 84381 h 84380"/>
                  <a:gd name="connsiteX9" fmla="*/ 42119 w 84192"/>
                  <a:gd name="connsiteY9" fmla="*/ 9514 h 84380"/>
                  <a:gd name="connsiteX10" fmla="*/ 23862 w 84192"/>
                  <a:gd name="connsiteY10" fmla="*/ 15134 h 84380"/>
                  <a:gd name="connsiteX11" fmla="*/ 10169 w 84192"/>
                  <a:gd name="connsiteY11" fmla="*/ 35994 h 84380"/>
                  <a:gd name="connsiteX12" fmla="*/ 15209 w 84192"/>
                  <a:gd name="connsiteY12" fmla="*/ 60473 h 84380"/>
                  <a:gd name="connsiteX13" fmla="*/ 15209 w 84192"/>
                  <a:gd name="connsiteY13" fmla="*/ 60473 h 84380"/>
                  <a:gd name="connsiteX14" fmla="*/ 36033 w 84192"/>
                  <a:gd name="connsiteY14" fmla="*/ 74189 h 84380"/>
                  <a:gd name="connsiteX15" fmla="*/ 60472 w 84192"/>
                  <a:gd name="connsiteY15" fmla="*/ 69141 h 84380"/>
                  <a:gd name="connsiteX16" fmla="*/ 69126 w 84192"/>
                  <a:gd name="connsiteY16" fmla="*/ 23802 h 84380"/>
                  <a:gd name="connsiteX17" fmla="*/ 42119 w 84192"/>
                  <a:gd name="connsiteY17" fmla="*/ 9514 h 8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2" h="84380">
                    <a:moveTo>
                      <a:pt x="42215" y="84381"/>
                    </a:moveTo>
                    <a:cubicBezTo>
                      <a:pt x="39552" y="84381"/>
                      <a:pt x="36889" y="84095"/>
                      <a:pt x="34227" y="83619"/>
                    </a:cubicBezTo>
                    <a:cubicBezTo>
                      <a:pt x="23196" y="81523"/>
                      <a:pt x="13592" y="75237"/>
                      <a:pt x="7316" y="65902"/>
                    </a:cubicBezTo>
                    <a:lnTo>
                      <a:pt x="7316" y="65902"/>
                    </a:lnTo>
                    <a:cubicBezTo>
                      <a:pt x="945" y="56568"/>
                      <a:pt x="-1338" y="45328"/>
                      <a:pt x="754" y="34279"/>
                    </a:cubicBezTo>
                    <a:cubicBezTo>
                      <a:pt x="2846" y="23230"/>
                      <a:pt x="9122" y="13610"/>
                      <a:pt x="18442" y="7324"/>
                    </a:cubicBezTo>
                    <a:cubicBezTo>
                      <a:pt x="37650" y="-5821"/>
                      <a:pt x="63896" y="-773"/>
                      <a:pt x="76923" y="18468"/>
                    </a:cubicBezTo>
                    <a:cubicBezTo>
                      <a:pt x="89951" y="37708"/>
                      <a:pt x="85006" y="63997"/>
                      <a:pt x="65797" y="77047"/>
                    </a:cubicBezTo>
                    <a:cubicBezTo>
                      <a:pt x="58761" y="81904"/>
                      <a:pt x="50583" y="84381"/>
                      <a:pt x="42215" y="84381"/>
                    </a:cubicBezTo>
                    <a:close/>
                    <a:moveTo>
                      <a:pt x="42119" y="9514"/>
                    </a:moveTo>
                    <a:cubicBezTo>
                      <a:pt x="35748" y="9514"/>
                      <a:pt x="29377" y="11324"/>
                      <a:pt x="23862" y="15134"/>
                    </a:cubicBezTo>
                    <a:cubicBezTo>
                      <a:pt x="16635" y="20087"/>
                      <a:pt x="11785" y="27421"/>
                      <a:pt x="10169" y="35994"/>
                    </a:cubicBezTo>
                    <a:cubicBezTo>
                      <a:pt x="8552" y="44566"/>
                      <a:pt x="10359" y="53234"/>
                      <a:pt x="15209" y="60473"/>
                    </a:cubicBezTo>
                    <a:lnTo>
                      <a:pt x="15209" y="60473"/>
                    </a:lnTo>
                    <a:cubicBezTo>
                      <a:pt x="20153" y="67712"/>
                      <a:pt x="27475" y="72570"/>
                      <a:pt x="36033" y="74189"/>
                    </a:cubicBezTo>
                    <a:cubicBezTo>
                      <a:pt x="44592" y="75808"/>
                      <a:pt x="53245" y="73999"/>
                      <a:pt x="60472" y="69141"/>
                    </a:cubicBezTo>
                    <a:cubicBezTo>
                      <a:pt x="75306" y="59044"/>
                      <a:pt x="79205" y="38661"/>
                      <a:pt x="69126" y="23802"/>
                    </a:cubicBezTo>
                    <a:cubicBezTo>
                      <a:pt x="62849" y="14563"/>
                      <a:pt x="52580" y="9514"/>
                      <a:pt x="42119" y="9514"/>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64" name="Group 263">
              <a:extLst>
                <a:ext uri="{FF2B5EF4-FFF2-40B4-BE49-F238E27FC236}">
                  <a16:creationId xmlns:a16="http://schemas.microsoft.com/office/drawing/2014/main" id="{DEA798BA-EB85-A083-75DC-3D24BA9BB100}"/>
                </a:ext>
              </a:extLst>
            </p:cNvPr>
            <p:cNvGrpSpPr/>
            <p:nvPr/>
          </p:nvGrpSpPr>
          <p:grpSpPr>
            <a:xfrm>
              <a:off x="4501693" y="4465048"/>
              <a:ext cx="225954" cy="216631"/>
              <a:chOff x="6465137" y="2161944"/>
              <a:chExt cx="1504381" cy="1549300"/>
            </a:xfrm>
            <a:solidFill>
              <a:srgbClr val="003055"/>
            </a:solidFill>
          </p:grpSpPr>
          <p:sp>
            <p:nvSpPr>
              <p:cNvPr id="265" name="Freeform 111">
                <a:extLst>
                  <a:ext uri="{FF2B5EF4-FFF2-40B4-BE49-F238E27FC236}">
                    <a16:creationId xmlns:a16="http://schemas.microsoft.com/office/drawing/2014/main" id="{00F35084-1B60-38FA-410F-097AA322B740}"/>
                  </a:ext>
                </a:extLst>
              </p:cNvPr>
              <p:cNvSpPr/>
              <p:nvPr/>
            </p:nvSpPr>
            <p:spPr>
              <a:xfrm>
                <a:off x="6804491" y="2523155"/>
                <a:ext cx="825500" cy="826874"/>
              </a:xfrm>
              <a:custGeom>
                <a:avLst/>
                <a:gdLst>
                  <a:gd name="connsiteX0" fmla="*/ 90337 w 180674"/>
                  <a:gd name="connsiteY0" fmla="*/ 180975 h 180975"/>
                  <a:gd name="connsiteX1" fmla="*/ 0 w 180674"/>
                  <a:gd name="connsiteY1" fmla="*/ 90488 h 180975"/>
                  <a:gd name="connsiteX2" fmla="*/ 90337 w 180674"/>
                  <a:gd name="connsiteY2" fmla="*/ 0 h 180975"/>
                  <a:gd name="connsiteX3" fmla="*/ 180675 w 180674"/>
                  <a:gd name="connsiteY3" fmla="*/ 90488 h 180975"/>
                  <a:gd name="connsiteX4" fmla="*/ 90337 w 180674"/>
                  <a:gd name="connsiteY4" fmla="*/ 180975 h 180975"/>
                  <a:gd name="connsiteX5" fmla="*/ 90337 w 180674"/>
                  <a:gd name="connsiteY5" fmla="*/ 9525 h 180975"/>
                  <a:gd name="connsiteX6" fmla="*/ 9509 w 180674"/>
                  <a:gd name="connsiteY6" fmla="*/ 90488 h 180975"/>
                  <a:gd name="connsiteX7" fmla="*/ 90337 w 180674"/>
                  <a:gd name="connsiteY7" fmla="*/ 171450 h 180975"/>
                  <a:gd name="connsiteX8" fmla="*/ 171166 w 180674"/>
                  <a:gd name="connsiteY8" fmla="*/ 90488 h 180975"/>
                  <a:gd name="connsiteX9" fmla="*/ 90337 w 180674"/>
                  <a:gd name="connsiteY9" fmla="*/ 952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674" h="180975">
                    <a:moveTo>
                      <a:pt x="90337" y="180975"/>
                    </a:moveTo>
                    <a:cubicBezTo>
                      <a:pt x="40509" y="180975"/>
                      <a:pt x="0" y="140399"/>
                      <a:pt x="0" y="90488"/>
                    </a:cubicBezTo>
                    <a:cubicBezTo>
                      <a:pt x="0" y="40577"/>
                      <a:pt x="40509" y="0"/>
                      <a:pt x="90337" y="0"/>
                    </a:cubicBezTo>
                    <a:cubicBezTo>
                      <a:pt x="140166" y="0"/>
                      <a:pt x="180675" y="40577"/>
                      <a:pt x="180675" y="90488"/>
                    </a:cubicBezTo>
                    <a:cubicBezTo>
                      <a:pt x="180675" y="140399"/>
                      <a:pt x="140166" y="180975"/>
                      <a:pt x="90337" y="180975"/>
                    </a:cubicBezTo>
                    <a:close/>
                    <a:moveTo>
                      <a:pt x="90337" y="9525"/>
                    </a:moveTo>
                    <a:cubicBezTo>
                      <a:pt x="45739" y="9525"/>
                      <a:pt x="9509" y="45815"/>
                      <a:pt x="9509" y="90488"/>
                    </a:cubicBezTo>
                    <a:cubicBezTo>
                      <a:pt x="9509" y="135160"/>
                      <a:pt x="45739" y="171450"/>
                      <a:pt x="90337" y="171450"/>
                    </a:cubicBezTo>
                    <a:cubicBezTo>
                      <a:pt x="134936" y="171450"/>
                      <a:pt x="171166" y="135160"/>
                      <a:pt x="171166" y="90488"/>
                    </a:cubicBezTo>
                    <a:cubicBezTo>
                      <a:pt x="171166" y="45815"/>
                      <a:pt x="134936" y="9525"/>
                      <a:pt x="9033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6" name="Freeform 112">
                <a:extLst>
                  <a:ext uri="{FF2B5EF4-FFF2-40B4-BE49-F238E27FC236}">
                    <a16:creationId xmlns:a16="http://schemas.microsoft.com/office/drawing/2014/main" id="{50A7BA38-1E52-B393-2D76-FD7621B5A540}"/>
                  </a:ext>
                </a:extLst>
              </p:cNvPr>
              <p:cNvSpPr/>
              <p:nvPr/>
            </p:nvSpPr>
            <p:spPr>
              <a:xfrm>
                <a:off x="7024771" y="2161944"/>
                <a:ext cx="384943" cy="385582"/>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7" name="Freeform 113">
                <a:extLst>
                  <a:ext uri="{FF2B5EF4-FFF2-40B4-BE49-F238E27FC236}">
                    <a16:creationId xmlns:a16="http://schemas.microsoft.com/office/drawing/2014/main" id="{F4524285-C971-C097-6AF7-2DF013B82B01}"/>
                  </a:ext>
                </a:extLst>
              </p:cNvPr>
              <p:cNvSpPr/>
              <p:nvPr/>
            </p:nvSpPr>
            <p:spPr>
              <a:xfrm>
                <a:off x="7024771" y="3325662"/>
                <a:ext cx="384943" cy="385582"/>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8" name="Freeform 114">
                <a:extLst>
                  <a:ext uri="{FF2B5EF4-FFF2-40B4-BE49-F238E27FC236}">
                    <a16:creationId xmlns:a16="http://schemas.microsoft.com/office/drawing/2014/main" id="{F2A61333-FF9F-4F35-5D05-A1C8F00F1448}"/>
                  </a:ext>
                </a:extLst>
              </p:cNvPr>
              <p:cNvSpPr/>
              <p:nvPr/>
            </p:nvSpPr>
            <p:spPr>
              <a:xfrm>
                <a:off x="7372692" y="2278609"/>
                <a:ext cx="384884" cy="385550"/>
              </a:xfrm>
              <a:custGeom>
                <a:avLst/>
                <a:gdLst>
                  <a:gd name="connsiteX0" fmla="*/ 42051 w 84238"/>
                  <a:gd name="connsiteY0" fmla="*/ 84289 h 84384"/>
                  <a:gd name="connsiteX1" fmla="*/ 16852 w 84238"/>
                  <a:gd name="connsiteY1" fmla="*/ 75907 h 84384"/>
                  <a:gd name="connsiteX2" fmla="*/ 8389 w 84238"/>
                  <a:gd name="connsiteY2" fmla="*/ 16852 h 84384"/>
                  <a:gd name="connsiteX3" fmla="*/ 67346 w 84238"/>
                  <a:gd name="connsiteY3" fmla="*/ 8375 h 84384"/>
                  <a:gd name="connsiteX4" fmla="*/ 83797 w 84238"/>
                  <a:gd name="connsiteY4" fmla="*/ 36188 h 84384"/>
                  <a:gd name="connsiteX5" fmla="*/ 75809 w 84238"/>
                  <a:gd name="connsiteY5" fmla="*/ 67430 h 84384"/>
                  <a:gd name="connsiteX6" fmla="*/ 75809 w 84238"/>
                  <a:gd name="connsiteY6" fmla="*/ 67430 h 84384"/>
                  <a:gd name="connsiteX7" fmla="*/ 48042 w 84238"/>
                  <a:gd name="connsiteY7" fmla="*/ 83908 h 84384"/>
                  <a:gd name="connsiteX8" fmla="*/ 41956 w 84238"/>
                  <a:gd name="connsiteY8" fmla="*/ 84384 h 84384"/>
                  <a:gd name="connsiteX9" fmla="*/ 42147 w 84238"/>
                  <a:gd name="connsiteY9" fmla="*/ 9423 h 84384"/>
                  <a:gd name="connsiteX10" fmla="*/ 15996 w 84238"/>
                  <a:gd name="connsiteY10" fmla="*/ 22472 h 84384"/>
                  <a:gd name="connsiteX11" fmla="*/ 22558 w 84238"/>
                  <a:gd name="connsiteY11" fmla="*/ 68192 h 84384"/>
                  <a:gd name="connsiteX12" fmla="*/ 46711 w 84238"/>
                  <a:gd name="connsiteY12" fmla="*/ 74383 h 84384"/>
                  <a:gd name="connsiteX13" fmla="*/ 68202 w 84238"/>
                  <a:gd name="connsiteY13" fmla="*/ 61620 h 84384"/>
                  <a:gd name="connsiteX14" fmla="*/ 68202 w 84238"/>
                  <a:gd name="connsiteY14" fmla="*/ 61620 h 84384"/>
                  <a:gd name="connsiteX15" fmla="*/ 74383 w 84238"/>
                  <a:gd name="connsiteY15" fmla="*/ 37426 h 84384"/>
                  <a:gd name="connsiteX16" fmla="*/ 61640 w 84238"/>
                  <a:gd name="connsiteY16" fmla="*/ 15900 h 84384"/>
                  <a:gd name="connsiteX17" fmla="*/ 42147 w 84238"/>
                  <a:gd name="connsiteY17" fmla="*/ 9423 h 8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38" h="84384">
                    <a:moveTo>
                      <a:pt x="42051" y="84289"/>
                    </a:moveTo>
                    <a:cubicBezTo>
                      <a:pt x="33018" y="84289"/>
                      <a:pt x="24269" y="81432"/>
                      <a:pt x="16852" y="75907"/>
                    </a:cubicBezTo>
                    <a:cubicBezTo>
                      <a:pt x="-1786" y="62000"/>
                      <a:pt x="-5495" y="35521"/>
                      <a:pt x="8389" y="16852"/>
                    </a:cubicBezTo>
                    <a:cubicBezTo>
                      <a:pt x="22272" y="-1722"/>
                      <a:pt x="48708" y="-5532"/>
                      <a:pt x="67346" y="8375"/>
                    </a:cubicBezTo>
                    <a:cubicBezTo>
                      <a:pt x="76380" y="15138"/>
                      <a:pt x="82180" y="24948"/>
                      <a:pt x="83797" y="36188"/>
                    </a:cubicBezTo>
                    <a:cubicBezTo>
                      <a:pt x="85413" y="47332"/>
                      <a:pt x="82561" y="58476"/>
                      <a:pt x="75809" y="67430"/>
                    </a:cubicBezTo>
                    <a:lnTo>
                      <a:pt x="75809" y="67430"/>
                    </a:lnTo>
                    <a:cubicBezTo>
                      <a:pt x="69057" y="76479"/>
                      <a:pt x="59263" y="82289"/>
                      <a:pt x="48042" y="83908"/>
                    </a:cubicBezTo>
                    <a:cubicBezTo>
                      <a:pt x="46045" y="84194"/>
                      <a:pt x="43953" y="84384"/>
                      <a:pt x="41956" y="84384"/>
                    </a:cubicBezTo>
                    <a:close/>
                    <a:moveTo>
                      <a:pt x="42147" y="9423"/>
                    </a:moveTo>
                    <a:cubicBezTo>
                      <a:pt x="32257" y="9423"/>
                      <a:pt x="22368" y="13899"/>
                      <a:pt x="15996" y="22472"/>
                    </a:cubicBezTo>
                    <a:cubicBezTo>
                      <a:pt x="5251" y="36854"/>
                      <a:pt x="8199" y="57429"/>
                      <a:pt x="22558" y="68192"/>
                    </a:cubicBezTo>
                    <a:cubicBezTo>
                      <a:pt x="29499" y="73431"/>
                      <a:pt x="38058" y="75621"/>
                      <a:pt x="46711" y="74383"/>
                    </a:cubicBezTo>
                    <a:cubicBezTo>
                      <a:pt x="55364" y="73145"/>
                      <a:pt x="62972" y="68573"/>
                      <a:pt x="68202" y="61620"/>
                    </a:cubicBezTo>
                    <a:lnTo>
                      <a:pt x="68202" y="61620"/>
                    </a:lnTo>
                    <a:cubicBezTo>
                      <a:pt x="73432" y="54666"/>
                      <a:pt x="75619" y="45998"/>
                      <a:pt x="74383" y="37426"/>
                    </a:cubicBezTo>
                    <a:cubicBezTo>
                      <a:pt x="73147" y="28758"/>
                      <a:pt x="68582" y="21138"/>
                      <a:pt x="61640" y="15900"/>
                    </a:cubicBezTo>
                    <a:cubicBezTo>
                      <a:pt x="55745" y="11518"/>
                      <a:pt x="48898" y="9423"/>
                      <a:pt x="42147" y="9423"/>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9" name="Freeform 115">
                <a:extLst>
                  <a:ext uri="{FF2B5EF4-FFF2-40B4-BE49-F238E27FC236}">
                    <a16:creationId xmlns:a16="http://schemas.microsoft.com/office/drawing/2014/main" id="{07E4BB5E-A47B-2F88-9302-1FA844581B64}"/>
                  </a:ext>
                </a:extLst>
              </p:cNvPr>
              <p:cNvSpPr/>
              <p:nvPr/>
            </p:nvSpPr>
            <p:spPr>
              <a:xfrm>
                <a:off x="6676476" y="3209614"/>
                <a:ext cx="384756" cy="385865"/>
              </a:xfrm>
              <a:custGeom>
                <a:avLst/>
                <a:gdLst>
                  <a:gd name="connsiteX0" fmla="*/ 42092 w 84210"/>
                  <a:gd name="connsiteY0" fmla="*/ 84358 h 84453"/>
                  <a:gd name="connsiteX1" fmla="*/ 16893 w 84210"/>
                  <a:gd name="connsiteY1" fmla="*/ 75976 h 84453"/>
                  <a:gd name="connsiteX2" fmla="*/ 442 w 84210"/>
                  <a:gd name="connsiteY2" fmla="*/ 48163 h 84453"/>
                  <a:gd name="connsiteX3" fmla="*/ 8430 w 84210"/>
                  <a:gd name="connsiteY3" fmla="*/ 16921 h 84453"/>
                  <a:gd name="connsiteX4" fmla="*/ 36197 w 84210"/>
                  <a:gd name="connsiteY4" fmla="*/ 443 h 84453"/>
                  <a:gd name="connsiteX5" fmla="*/ 67387 w 84210"/>
                  <a:gd name="connsiteY5" fmla="*/ 8444 h 84453"/>
                  <a:gd name="connsiteX6" fmla="*/ 75850 w 84210"/>
                  <a:gd name="connsiteY6" fmla="*/ 67499 h 84453"/>
                  <a:gd name="connsiteX7" fmla="*/ 75850 w 84210"/>
                  <a:gd name="connsiteY7" fmla="*/ 67499 h 84453"/>
                  <a:gd name="connsiteX8" fmla="*/ 48083 w 84210"/>
                  <a:gd name="connsiteY8" fmla="*/ 83977 h 84453"/>
                  <a:gd name="connsiteX9" fmla="*/ 41997 w 84210"/>
                  <a:gd name="connsiteY9" fmla="*/ 84453 h 84453"/>
                  <a:gd name="connsiteX10" fmla="*/ 42282 w 84210"/>
                  <a:gd name="connsiteY10" fmla="*/ 9491 h 84453"/>
                  <a:gd name="connsiteX11" fmla="*/ 37528 w 84210"/>
                  <a:gd name="connsiteY11" fmla="*/ 9872 h 84453"/>
                  <a:gd name="connsiteX12" fmla="*/ 16037 w 84210"/>
                  <a:gd name="connsiteY12" fmla="*/ 22636 h 84453"/>
                  <a:gd name="connsiteX13" fmla="*/ 9856 w 84210"/>
                  <a:gd name="connsiteY13" fmla="*/ 46829 h 84453"/>
                  <a:gd name="connsiteX14" fmla="*/ 22599 w 84210"/>
                  <a:gd name="connsiteY14" fmla="*/ 68356 h 84453"/>
                  <a:gd name="connsiteX15" fmla="*/ 46752 w 84210"/>
                  <a:gd name="connsiteY15" fmla="*/ 74547 h 84453"/>
                  <a:gd name="connsiteX16" fmla="*/ 68243 w 84210"/>
                  <a:gd name="connsiteY16" fmla="*/ 61784 h 84453"/>
                  <a:gd name="connsiteX17" fmla="*/ 61681 w 84210"/>
                  <a:gd name="connsiteY17" fmla="*/ 16064 h 84453"/>
                  <a:gd name="connsiteX18" fmla="*/ 42187 w 84210"/>
                  <a:gd name="connsiteY18" fmla="*/ 9587 h 84453"/>
                  <a:gd name="connsiteX19" fmla="*/ 72141 w 84210"/>
                  <a:gd name="connsiteY19" fmla="*/ 64546 h 84453"/>
                  <a:gd name="connsiteX20" fmla="*/ 72141 w 84210"/>
                  <a:gd name="connsiteY20" fmla="*/ 64546 h 84453"/>
                  <a:gd name="connsiteX21" fmla="*/ 72141 w 84210"/>
                  <a:gd name="connsiteY21" fmla="*/ 64546 h 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210" h="84453">
                    <a:moveTo>
                      <a:pt x="42092" y="84358"/>
                    </a:moveTo>
                    <a:cubicBezTo>
                      <a:pt x="33058" y="84358"/>
                      <a:pt x="24310" y="81500"/>
                      <a:pt x="16893" y="75976"/>
                    </a:cubicBezTo>
                    <a:cubicBezTo>
                      <a:pt x="7859" y="69213"/>
                      <a:pt x="2059" y="59402"/>
                      <a:pt x="442" y="48163"/>
                    </a:cubicBezTo>
                    <a:cubicBezTo>
                      <a:pt x="-1174" y="37019"/>
                      <a:pt x="1678" y="25875"/>
                      <a:pt x="8430" y="16921"/>
                    </a:cubicBezTo>
                    <a:cubicBezTo>
                      <a:pt x="15181" y="7967"/>
                      <a:pt x="24976" y="2062"/>
                      <a:pt x="36197" y="443"/>
                    </a:cubicBezTo>
                    <a:cubicBezTo>
                      <a:pt x="47322" y="-1177"/>
                      <a:pt x="58448" y="1681"/>
                      <a:pt x="67387" y="8444"/>
                    </a:cubicBezTo>
                    <a:cubicBezTo>
                      <a:pt x="85930" y="22350"/>
                      <a:pt x="89733" y="48925"/>
                      <a:pt x="75850" y="67499"/>
                    </a:cubicBezTo>
                    <a:lnTo>
                      <a:pt x="75850" y="67499"/>
                    </a:lnTo>
                    <a:cubicBezTo>
                      <a:pt x="69098" y="76548"/>
                      <a:pt x="59209" y="82358"/>
                      <a:pt x="48083" y="83977"/>
                    </a:cubicBezTo>
                    <a:cubicBezTo>
                      <a:pt x="46086" y="84263"/>
                      <a:pt x="43994" y="84453"/>
                      <a:pt x="41997" y="84453"/>
                    </a:cubicBezTo>
                    <a:close/>
                    <a:moveTo>
                      <a:pt x="42282" y="9491"/>
                    </a:moveTo>
                    <a:cubicBezTo>
                      <a:pt x="40761" y="9491"/>
                      <a:pt x="39144" y="9587"/>
                      <a:pt x="37528" y="9872"/>
                    </a:cubicBezTo>
                    <a:cubicBezTo>
                      <a:pt x="28874" y="11111"/>
                      <a:pt x="21267" y="15683"/>
                      <a:pt x="16037" y="22636"/>
                    </a:cubicBezTo>
                    <a:cubicBezTo>
                      <a:pt x="10807" y="29589"/>
                      <a:pt x="8620" y="38257"/>
                      <a:pt x="9856" y="46829"/>
                    </a:cubicBezTo>
                    <a:cubicBezTo>
                      <a:pt x="11092" y="55497"/>
                      <a:pt x="15657" y="63117"/>
                      <a:pt x="22599" y="68356"/>
                    </a:cubicBezTo>
                    <a:cubicBezTo>
                      <a:pt x="29540" y="73595"/>
                      <a:pt x="38193" y="75881"/>
                      <a:pt x="46752" y="74547"/>
                    </a:cubicBezTo>
                    <a:cubicBezTo>
                      <a:pt x="55405" y="73309"/>
                      <a:pt x="63013" y="68737"/>
                      <a:pt x="68243" y="61784"/>
                    </a:cubicBezTo>
                    <a:cubicBezTo>
                      <a:pt x="78988" y="47401"/>
                      <a:pt x="76040" y="26827"/>
                      <a:pt x="61681" y="16064"/>
                    </a:cubicBezTo>
                    <a:cubicBezTo>
                      <a:pt x="55976" y="11777"/>
                      <a:pt x="49224" y="9587"/>
                      <a:pt x="42187" y="9587"/>
                    </a:cubicBezTo>
                    <a:close/>
                    <a:moveTo>
                      <a:pt x="72141" y="64546"/>
                    </a:moveTo>
                    <a:lnTo>
                      <a:pt x="72141" y="64546"/>
                    </a:lnTo>
                    <a:lnTo>
                      <a:pt x="72141" y="64546"/>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0" name="Freeform 116">
                <a:extLst>
                  <a:ext uri="{FF2B5EF4-FFF2-40B4-BE49-F238E27FC236}">
                    <a16:creationId xmlns:a16="http://schemas.microsoft.com/office/drawing/2014/main" id="{C632928B-9119-CBC6-4BD9-3331A1CCFF83}"/>
                  </a:ext>
                </a:extLst>
              </p:cNvPr>
              <p:cNvSpPr/>
              <p:nvPr/>
            </p:nvSpPr>
            <p:spPr>
              <a:xfrm>
                <a:off x="7584803" y="2589300"/>
                <a:ext cx="384715" cy="385152"/>
              </a:xfrm>
              <a:custGeom>
                <a:avLst/>
                <a:gdLst>
                  <a:gd name="connsiteX0" fmla="*/ 42032 w 84201"/>
                  <a:gd name="connsiteY0" fmla="*/ 84298 h 84297"/>
                  <a:gd name="connsiteX1" fmla="*/ 21302 w 84201"/>
                  <a:gd name="connsiteY1" fmla="*/ 78773 h 84297"/>
                  <a:gd name="connsiteX2" fmla="*/ 1523 w 84201"/>
                  <a:gd name="connsiteY2" fmla="*/ 53342 h 84297"/>
                  <a:gd name="connsiteX3" fmla="*/ 5517 w 84201"/>
                  <a:gd name="connsiteY3" fmla="*/ 21338 h 84297"/>
                  <a:gd name="connsiteX4" fmla="*/ 30907 w 84201"/>
                  <a:gd name="connsiteY4" fmla="*/ 1526 h 84297"/>
                  <a:gd name="connsiteX5" fmla="*/ 62857 w 84201"/>
                  <a:gd name="connsiteY5" fmla="*/ 5526 h 84297"/>
                  <a:gd name="connsiteX6" fmla="*/ 82637 w 84201"/>
                  <a:gd name="connsiteY6" fmla="*/ 30958 h 84297"/>
                  <a:gd name="connsiteX7" fmla="*/ 78643 w 84201"/>
                  <a:gd name="connsiteY7" fmla="*/ 62962 h 84297"/>
                  <a:gd name="connsiteX8" fmla="*/ 53253 w 84201"/>
                  <a:gd name="connsiteY8" fmla="*/ 82774 h 84297"/>
                  <a:gd name="connsiteX9" fmla="*/ 53253 w 84201"/>
                  <a:gd name="connsiteY9" fmla="*/ 82774 h 84297"/>
                  <a:gd name="connsiteX10" fmla="*/ 41937 w 84201"/>
                  <a:gd name="connsiteY10" fmla="*/ 84298 h 84297"/>
                  <a:gd name="connsiteX11" fmla="*/ 52017 w 84201"/>
                  <a:gd name="connsiteY11" fmla="*/ 78202 h 84297"/>
                  <a:gd name="connsiteX12" fmla="*/ 52017 w 84201"/>
                  <a:gd name="connsiteY12" fmla="*/ 78202 h 84297"/>
                  <a:gd name="connsiteX13" fmla="*/ 52017 w 84201"/>
                  <a:gd name="connsiteY13" fmla="*/ 78202 h 84297"/>
                  <a:gd name="connsiteX14" fmla="*/ 42127 w 84201"/>
                  <a:gd name="connsiteY14" fmla="*/ 9431 h 84297"/>
                  <a:gd name="connsiteX15" fmla="*/ 33379 w 84201"/>
                  <a:gd name="connsiteY15" fmla="*/ 10670 h 84297"/>
                  <a:gd name="connsiteX16" fmla="*/ 13695 w 84201"/>
                  <a:gd name="connsiteY16" fmla="*/ 26005 h 84297"/>
                  <a:gd name="connsiteX17" fmla="*/ 10652 w 84201"/>
                  <a:gd name="connsiteY17" fmla="*/ 50770 h 84297"/>
                  <a:gd name="connsiteX18" fmla="*/ 25962 w 84201"/>
                  <a:gd name="connsiteY18" fmla="*/ 70487 h 84297"/>
                  <a:gd name="connsiteX19" fmla="*/ 50781 w 84201"/>
                  <a:gd name="connsiteY19" fmla="*/ 73535 h 84297"/>
                  <a:gd name="connsiteX20" fmla="*/ 50781 w 84201"/>
                  <a:gd name="connsiteY20" fmla="*/ 73535 h 84297"/>
                  <a:gd name="connsiteX21" fmla="*/ 73508 w 84201"/>
                  <a:gd name="connsiteY21" fmla="*/ 33339 h 84297"/>
                  <a:gd name="connsiteX22" fmla="*/ 58198 w 84201"/>
                  <a:gd name="connsiteY22" fmla="*/ 13622 h 84297"/>
                  <a:gd name="connsiteX23" fmla="*/ 42127 w 84201"/>
                  <a:gd name="connsiteY23" fmla="*/ 9336 h 8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201" h="84297">
                    <a:moveTo>
                      <a:pt x="42032" y="84298"/>
                    </a:moveTo>
                    <a:cubicBezTo>
                      <a:pt x="34805" y="84298"/>
                      <a:pt x="27768" y="82488"/>
                      <a:pt x="21302" y="78773"/>
                    </a:cubicBezTo>
                    <a:cubicBezTo>
                      <a:pt x="11508" y="73249"/>
                      <a:pt x="4471" y="64200"/>
                      <a:pt x="1523" y="53342"/>
                    </a:cubicBezTo>
                    <a:cubicBezTo>
                      <a:pt x="-1425" y="42483"/>
                      <a:pt x="-93" y="31148"/>
                      <a:pt x="5517" y="21338"/>
                    </a:cubicBezTo>
                    <a:cubicBezTo>
                      <a:pt x="11032" y="11527"/>
                      <a:pt x="20066" y="4478"/>
                      <a:pt x="30907" y="1526"/>
                    </a:cubicBezTo>
                    <a:cubicBezTo>
                      <a:pt x="41747" y="-1427"/>
                      <a:pt x="53063" y="-94"/>
                      <a:pt x="62857" y="5526"/>
                    </a:cubicBezTo>
                    <a:cubicBezTo>
                      <a:pt x="72652" y="11051"/>
                      <a:pt x="79689" y="20099"/>
                      <a:pt x="82637" y="30958"/>
                    </a:cubicBezTo>
                    <a:cubicBezTo>
                      <a:pt x="85679" y="41816"/>
                      <a:pt x="84253" y="53151"/>
                      <a:pt x="78643" y="62962"/>
                    </a:cubicBezTo>
                    <a:cubicBezTo>
                      <a:pt x="73128" y="72773"/>
                      <a:pt x="64094" y="79821"/>
                      <a:pt x="53253" y="82774"/>
                    </a:cubicBezTo>
                    <a:lnTo>
                      <a:pt x="53253" y="82774"/>
                    </a:lnTo>
                    <a:cubicBezTo>
                      <a:pt x="49545" y="83822"/>
                      <a:pt x="45741" y="84298"/>
                      <a:pt x="41937" y="84298"/>
                    </a:cubicBezTo>
                    <a:close/>
                    <a:moveTo>
                      <a:pt x="52017" y="78202"/>
                    </a:moveTo>
                    <a:lnTo>
                      <a:pt x="52017" y="78202"/>
                    </a:lnTo>
                    <a:lnTo>
                      <a:pt x="52017" y="78202"/>
                    </a:lnTo>
                    <a:close/>
                    <a:moveTo>
                      <a:pt x="42127" y="9431"/>
                    </a:moveTo>
                    <a:cubicBezTo>
                      <a:pt x="39180" y="9431"/>
                      <a:pt x="36232" y="9812"/>
                      <a:pt x="33379" y="10670"/>
                    </a:cubicBezTo>
                    <a:cubicBezTo>
                      <a:pt x="25011" y="12956"/>
                      <a:pt x="17974" y="18480"/>
                      <a:pt x="13695" y="26005"/>
                    </a:cubicBezTo>
                    <a:cubicBezTo>
                      <a:pt x="9416" y="33625"/>
                      <a:pt x="8275" y="42388"/>
                      <a:pt x="10652" y="50770"/>
                    </a:cubicBezTo>
                    <a:cubicBezTo>
                      <a:pt x="12934" y="59152"/>
                      <a:pt x="18450" y="66200"/>
                      <a:pt x="25962" y="70487"/>
                    </a:cubicBezTo>
                    <a:cubicBezTo>
                      <a:pt x="33569" y="74773"/>
                      <a:pt x="42317" y="75821"/>
                      <a:pt x="50781" y="73535"/>
                    </a:cubicBezTo>
                    <a:lnTo>
                      <a:pt x="50781" y="73535"/>
                    </a:lnTo>
                    <a:cubicBezTo>
                      <a:pt x="68088" y="68772"/>
                      <a:pt x="78262" y="50675"/>
                      <a:pt x="73508" y="33339"/>
                    </a:cubicBezTo>
                    <a:cubicBezTo>
                      <a:pt x="71226" y="24957"/>
                      <a:pt x="65710" y="17909"/>
                      <a:pt x="58198" y="13622"/>
                    </a:cubicBezTo>
                    <a:cubicBezTo>
                      <a:pt x="53253" y="10765"/>
                      <a:pt x="47738" y="9336"/>
                      <a:pt x="42127" y="9336"/>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1" name="Freeform 117">
                <a:extLst>
                  <a:ext uri="{FF2B5EF4-FFF2-40B4-BE49-F238E27FC236}">
                    <a16:creationId xmlns:a16="http://schemas.microsoft.com/office/drawing/2014/main" id="{CCF99816-3E78-A803-71CA-211CD9AA0A5A}"/>
                  </a:ext>
                </a:extLst>
              </p:cNvPr>
              <p:cNvSpPr/>
              <p:nvPr/>
            </p:nvSpPr>
            <p:spPr>
              <a:xfrm>
                <a:off x="6465137" y="2898731"/>
                <a:ext cx="384980" cy="385582"/>
              </a:xfrm>
              <a:custGeom>
                <a:avLst/>
                <a:gdLst>
                  <a:gd name="connsiteX0" fmla="*/ 42133 w 84259"/>
                  <a:gd name="connsiteY0" fmla="*/ 84392 h 84391"/>
                  <a:gd name="connsiteX1" fmla="*/ 1528 w 84259"/>
                  <a:gd name="connsiteY1" fmla="*/ 53435 h 84391"/>
                  <a:gd name="connsiteX2" fmla="*/ 30911 w 84259"/>
                  <a:gd name="connsiteY2" fmla="*/ 1524 h 84391"/>
                  <a:gd name="connsiteX3" fmla="*/ 82737 w 84259"/>
                  <a:gd name="connsiteY3" fmla="*/ 30956 h 84391"/>
                  <a:gd name="connsiteX4" fmla="*/ 78743 w 84259"/>
                  <a:gd name="connsiteY4" fmla="*/ 62960 h 84391"/>
                  <a:gd name="connsiteX5" fmla="*/ 53353 w 84259"/>
                  <a:gd name="connsiteY5" fmla="*/ 82772 h 84391"/>
                  <a:gd name="connsiteX6" fmla="*/ 53353 w 84259"/>
                  <a:gd name="connsiteY6" fmla="*/ 82772 h 84391"/>
                  <a:gd name="connsiteX7" fmla="*/ 42133 w 84259"/>
                  <a:gd name="connsiteY7" fmla="*/ 84296 h 84391"/>
                  <a:gd name="connsiteX8" fmla="*/ 52022 w 84259"/>
                  <a:gd name="connsiteY8" fmla="*/ 78296 h 84391"/>
                  <a:gd name="connsiteX9" fmla="*/ 52022 w 84259"/>
                  <a:gd name="connsiteY9" fmla="*/ 78296 h 84391"/>
                  <a:gd name="connsiteX10" fmla="*/ 52022 w 84259"/>
                  <a:gd name="connsiteY10" fmla="*/ 78296 h 84391"/>
                  <a:gd name="connsiteX11" fmla="*/ 42037 w 84259"/>
                  <a:gd name="connsiteY11" fmla="*/ 9525 h 84391"/>
                  <a:gd name="connsiteX12" fmla="*/ 33384 w 84259"/>
                  <a:gd name="connsiteY12" fmla="*/ 10668 h 84391"/>
                  <a:gd name="connsiteX13" fmla="*/ 10657 w 84259"/>
                  <a:gd name="connsiteY13" fmla="*/ 50864 h 84391"/>
                  <a:gd name="connsiteX14" fmla="*/ 50786 w 84259"/>
                  <a:gd name="connsiteY14" fmla="*/ 73628 h 84391"/>
                  <a:gd name="connsiteX15" fmla="*/ 70470 w 84259"/>
                  <a:gd name="connsiteY15" fmla="*/ 58293 h 84391"/>
                  <a:gd name="connsiteX16" fmla="*/ 73513 w 84259"/>
                  <a:gd name="connsiteY16" fmla="*/ 33528 h 84391"/>
                  <a:gd name="connsiteX17" fmla="*/ 42037 w 84259"/>
                  <a:gd name="connsiteY17"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59" h="84391">
                    <a:moveTo>
                      <a:pt x="42133" y="84392"/>
                    </a:moveTo>
                    <a:cubicBezTo>
                      <a:pt x="23685" y="84392"/>
                      <a:pt x="6663" y="72104"/>
                      <a:pt x="1528" y="53435"/>
                    </a:cubicBezTo>
                    <a:cubicBezTo>
                      <a:pt x="-4653" y="31051"/>
                      <a:pt x="8470" y="7715"/>
                      <a:pt x="30911" y="1524"/>
                    </a:cubicBezTo>
                    <a:cubicBezTo>
                      <a:pt x="53353" y="-4667"/>
                      <a:pt x="76556" y="8572"/>
                      <a:pt x="82737" y="30956"/>
                    </a:cubicBezTo>
                    <a:cubicBezTo>
                      <a:pt x="85685" y="41815"/>
                      <a:pt x="84353" y="53149"/>
                      <a:pt x="78743" y="62960"/>
                    </a:cubicBezTo>
                    <a:cubicBezTo>
                      <a:pt x="73228" y="72771"/>
                      <a:pt x="64194" y="79820"/>
                      <a:pt x="53353" y="82772"/>
                    </a:cubicBezTo>
                    <a:lnTo>
                      <a:pt x="53353" y="82772"/>
                    </a:lnTo>
                    <a:cubicBezTo>
                      <a:pt x="49645" y="83820"/>
                      <a:pt x="45841" y="84296"/>
                      <a:pt x="42133" y="84296"/>
                    </a:cubicBezTo>
                    <a:close/>
                    <a:moveTo>
                      <a:pt x="52022" y="78296"/>
                    </a:moveTo>
                    <a:lnTo>
                      <a:pt x="52022" y="78296"/>
                    </a:lnTo>
                    <a:lnTo>
                      <a:pt x="52022" y="78296"/>
                    </a:lnTo>
                    <a:close/>
                    <a:moveTo>
                      <a:pt x="42037" y="9525"/>
                    </a:moveTo>
                    <a:cubicBezTo>
                      <a:pt x="39184" y="9525"/>
                      <a:pt x="36237" y="9906"/>
                      <a:pt x="33384" y="10668"/>
                    </a:cubicBezTo>
                    <a:cubicBezTo>
                      <a:pt x="16077" y="15430"/>
                      <a:pt x="5902" y="33528"/>
                      <a:pt x="10657" y="50864"/>
                    </a:cubicBezTo>
                    <a:cubicBezTo>
                      <a:pt x="15411" y="68199"/>
                      <a:pt x="33479" y="78391"/>
                      <a:pt x="50786" y="73628"/>
                    </a:cubicBezTo>
                    <a:cubicBezTo>
                      <a:pt x="59154" y="71342"/>
                      <a:pt x="66191" y="65818"/>
                      <a:pt x="70470" y="58293"/>
                    </a:cubicBezTo>
                    <a:cubicBezTo>
                      <a:pt x="74749" y="50673"/>
                      <a:pt x="75890" y="41910"/>
                      <a:pt x="73513" y="33528"/>
                    </a:cubicBezTo>
                    <a:cubicBezTo>
                      <a:pt x="69519" y="19050"/>
                      <a:pt x="56396" y="9525"/>
                      <a:pt x="4203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2" name="Freeform 118">
                <a:extLst>
                  <a:ext uri="{FF2B5EF4-FFF2-40B4-BE49-F238E27FC236}">
                    <a16:creationId xmlns:a16="http://schemas.microsoft.com/office/drawing/2014/main" id="{83B228CC-D2B1-5BFE-2867-12E254F31F43}"/>
                  </a:ext>
                </a:extLst>
              </p:cNvPr>
              <p:cNvSpPr/>
              <p:nvPr/>
            </p:nvSpPr>
            <p:spPr>
              <a:xfrm>
                <a:off x="7565540" y="2956428"/>
                <a:ext cx="384815" cy="385331"/>
              </a:xfrm>
              <a:custGeom>
                <a:avLst/>
                <a:gdLst>
                  <a:gd name="connsiteX0" fmla="*/ 42064 w 84223"/>
                  <a:gd name="connsiteY0" fmla="*/ 84337 h 84336"/>
                  <a:gd name="connsiteX1" fmla="*/ 26755 w 84223"/>
                  <a:gd name="connsiteY1" fmla="*/ 81479 h 84336"/>
                  <a:gd name="connsiteX2" fmla="*/ 26755 w 84223"/>
                  <a:gd name="connsiteY2" fmla="*/ 81479 h 84336"/>
                  <a:gd name="connsiteX3" fmla="*/ 3552 w 84223"/>
                  <a:gd name="connsiteY3" fmla="*/ 59096 h 84336"/>
                  <a:gd name="connsiteX4" fmla="*/ 2886 w 84223"/>
                  <a:gd name="connsiteY4" fmla="*/ 26806 h 84336"/>
                  <a:gd name="connsiteX5" fmla="*/ 57469 w 84223"/>
                  <a:gd name="connsiteY5" fmla="*/ 2898 h 84336"/>
                  <a:gd name="connsiteX6" fmla="*/ 80672 w 84223"/>
                  <a:gd name="connsiteY6" fmla="*/ 25282 h 84336"/>
                  <a:gd name="connsiteX7" fmla="*/ 81337 w 84223"/>
                  <a:gd name="connsiteY7" fmla="*/ 57572 h 84336"/>
                  <a:gd name="connsiteX8" fmla="*/ 42064 w 84223"/>
                  <a:gd name="connsiteY8" fmla="*/ 84337 h 84336"/>
                  <a:gd name="connsiteX9" fmla="*/ 30273 w 84223"/>
                  <a:gd name="connsiteY9" fmla="*/ 72526 h 84336"/>
                  <a:gd name="connsiteX10" fmla="*/ 72494 w 84223"/>
                  <a:gd name="connsiteY10" fmla="*/ 54047 h 84336"/>
                  <a:gd name="connsiteX11" fmla="*/ 54046 w 84223"/>
                  <a:gd name="connsiteY11" fmla="*/ 11756 h 84336"/>
                  <a:gd name="connsiteX12" fmla="*/ 11825 w 84223"/>
                  <a:gd name="connsiteY12" fmla="*/ 30235 h 84336"/>
                  <a:gd name="connsiteX13" fmla="*/ 30273 w 84223"/>
                  <a:gd name="connsiteY13" fmla="*/ 72526 h 84336"/>
                  <a:gd name="connsiteX14" fmla="*/ 30273 w 84223"/>
                  <a:gd name="connsiteY14" fmla="*/ 72526 h 8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23" h="84336">
                    <a:moveTo>
                      <a:pt x="42064" y="84337"/>
                    </a:moveTo>
                    <a:cubicBezTo>
                      <a:pt x="36929" y="84337"/>
                      <a:pt x="31794" y="83384"/>
                      <a:pt x="26755" y="81479"/>
                    </a:cubicBezTo>
                    <a:lnTo>
                      <a:pt x="26755" y="81479"/>
                    </a:lnTo>
                    <a:cubicBezTo>
                      <a:pt x="16294" y="77384"/>
                      <a:pt x="8021" y="69383"/>
                      <a:pt x="3552" y="59096"/>
                    </a:cubicBezTo>
                    <a:cubicBezTo>
                      <a:pt x="-917" y="48809"/>
                      <a:pt x="-1203" y="37283"/>
                      <a:pt x="2886" y="26806"/>
                    </a:cubicBezTo>
                    <a:cubicBezTo>
                      <a:pt x="11350" y="5184"/>
                      <a:pt x="35788" y="-5579"/>
                      <a:pt x="57469" y="2898"/>
                    </a:cubicBezTo>
                    <a:cubicBezTo>
                      <a:pt x="67929" y="6994"/>
                      <a:pt x="76202" y="14995"/>
                      <a:pt x="80672" y="25282"/>
                    </a:cubicBezTo>
                    <a:cubicBezTo>
                      <a:pt x="85141" y="35569"/>
                      <a:pt x="85426" y="47094"/>
                      <a:pt x="81337" y="57572"/>
                    </a:cubicBezTo>
                    <a:cubicBezTo>
                      <a:pt x="74871" y="74145"/>
                      <a:pt x="58896" y="84337"/>
                      <a:pt x="42064" y="84337"/>
                    </a:cubicBezTo>
                    <a:close/>
                    <a:moveTo>
                      <a:pt x="30273" y="72526"/>
                    </a:moveTo>
                    <a:cubicBezTo>
                      <a:pt x="47009" y="79098"/>
                      <a:pt x="65932" y="70811"/>
                      <a:pt x="72494" y="54047"/>
                    </a:cubicBezTo>
                    <a:cubicBezTo>
                      <a:pt x="79055" y="37283"/>
                      <a:pt x="70782" y="18329"/>
                      <a:pt x="54046" y="11756"/>
                    </a:cubicBezTo>
                    <a:cubicBezTo>
                      <a:pt x="37310" y="5184"/>
                      <a:pt x="18386" y="13471"/>
                      <a:pt x="11825" y="30235"/>
                    </a:cubicBezTo>
                    <a:cubicBezTo>
                      <a:pt x="5264" y="46999"/>
                      <a:pt x="13537" y="65954"/>
                      <a:pt x="30273" y="72526"/>
                    </a:cubicBezTo>
                    <a:lnTo>
                      <a:pt x="30273" y="72526"/>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3" name="Freeform 119">
                <a:extLst>
                  <a:ext uri="{FF2B5EF4-FFF2-40B4-BE49-F238E27FC236}">
                    <a16:creationId xmlns:a16="http://schemas.microsoft.com/office/drawing/2014/main" id="{555935FD-AB63-0A58-9469-440DB274C9EC}"/>
                  </a:ext>
                </a:extLst>
              </p:cNvPr>
              <p:cNvSpPr/>
              <p:nvPr/>
            </p:nvSpPr>
            <p:spPr>
              <a:xfrm>
                <a:off x="6484130" y="2531676"/>
                <a:ext cx="384815" cy="385769"/>
              </a:xfrm>
              <a:custGeom>
                <a:avLst/>
                <a:gdLst>
                  <a:gd name="connsiteX0" fmla="*/ 42159 w 84223"/>
                  <a:gd name="connsiteY0" fmla="*/ 84432 h 84432"/>
                  <a:gd name="connsiteX1" fmla="*/ 26755 w 84223"/>
                  <a:gd name="connsiteY1" fmla="*/ 81479 h 84432"/>
                  <a:gd name="connsiteX2" fmla="*/ 26755 w 84223"/>
                  <a:gd name="connsiteY2" fmla="*/ 81479 h 84432"/>
                  <a:gd name="connsiteX3" fmla="*/ 3552 w 84223"/>
                  <a:gd name="connsiteY3" fmla="*/ 59096 h 84432"/>
                  <a:gd name="connsiteX4" fmla="*/ 2887 w 84223"/>
                  <a:gd name="connsiteY4" fmla="*/ 26806 h 84432"/>
                  <a:gd name="connsiteX5" fmla="*/ 57469 w 84223"/>
                  <a:gd name="connsiteY5" fmla="*/ 2898 h 84432"/>
                  <a:gd name="connsiteX6" fmla="*/ 80672 w 84223"/>
                  <a:gd name="connsiteY6" fmla="*/ 25282 h 84432"/>
                  <a:gd name="connsiteX7" fmla="*/ 81338 w 84223"/>
                  <a:gd name="connsiteY7" fmla="*/ 57572 h 84432"/>
                  <a:gd name="connsiteX8" fmla="*/ 58991 w 84223"/>
                  <a:gd name="connsiteY8" fmla="*/ 80813 h 84432"/>
                  <a:gd name="connsiteX9" fmla="*/ 42159 w 84223"/>
                  <a:gd name="connsiteY9" fmla="*/ 84337 h 84432"/>
                  <a:gd name="connsiteX10" fmla="*/ 42159 w 84223"/>
                  <a:gd name="connsiteY10" fmla="*/ 9566 h 84432"/>
                  <a:gd name="connsiteX11" fmla="*/ 11730 w 84223"/>
                  <a:gd name="connsiteY11" fmla="*/ 30330 h 84432"/>
                  <a:gd name="connsiteX12" fmla="*/ 12205 w 84223"/>
                  <a:gd name="connsiteY12" fmla="*/ 55286 h 84432"/>
                  <a:gd name="connsiteX13" fmla="*/ 30178 w 84223"/>
                  <a:gd name="connsiteY13" fmla="*/ 72621 h 84432"/>
                  <a:gd name="connsiteX14" fmla="*/ 30178 w 84223"/>
                  <a:gd name="connsiteY14" fmla="*/ 72621 h 84432"/>
                  <a:gd name="connsiteX15" fmla="*/ 55092 w 84223"/>
                  <a:gd name="connsiteY15" fmla="*/ 72145 h 84432"/>
                  <a:gd name="connsiteX16" fmla="*/ 72399 w 84223"/>
                  <a:gd name="connsiteY16" fmla="*/ 54143 h 84432"/>
                  <a:gd name="connsiteX17" fmla="*/ 71923 w 84223"/>
                  <a:gd name="connsiteY17" fmla="*/ 29187 h 84432"/>
                  <a:gd name="connsiteX18" fmla="*/ 53951 w 84223"/>
                  <a:gd name="connsiteY18" fmla="*/ 11852 h 84432"/>
                  <a:gd name="connsiteX19" fmla="*/ 42065 w 84223"/>
                  <a:gd name="connsiteY19" fmla="*/ 9566 h 8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223" h="84432">
                    <a:moveTo>
                      <a:pt x="42159" y="84432"/>
                    </a:moveTo>
                    <a:cubicBezTo>
                      <a:pt x="36929" y="84432"/>
                      <a:pt x="31794" y="83480"/>
                      <a:pt x="26755" y="81479"/>
                    </a:cubicBezTo>
                    <a:lnTo>
                      <a:pt x="26755" y="81479"/>
                    </a:lnTo>
                    <a:cubicBezTo>
                      <a:pt x="16294" y="77384"/>
                      <a:pt x="8021" y="69383"/>
                      <a:pt x="3552" y="59096"/>
                    </a:cubicBezTo>
                    <a:cubicBezTo>
                      <a:pt x="-917" y="48809"/>
                      <a:pt x="-1203" y="37283"/>
                      <a:pt x="2887" y="26806"/>
                    </a:cubicBezTo>
                    <a:cubicBezTo>
                      <a:pt x="11350" y="5184"/>
                      <a:pt x="35788" y="-5579"/>
                      <a:pt x="57469" y="2898"/>
                    </a:cubicBezTo>
                    <a:cubicBezTo>
                      <a:pt x="67930" y="6994"/>
                      <a:pt x="76203" y="14995"/>
                      <a:pt x="80672" y="25282"/>
                    </a:cubicBezTo>
                    <a:cubicBezTo>
                      <a:pt x="85141" y="35569"/>
                      <a:pt x="85426" y="47094"/>
                      <a:pt x="81338" y="57572"/>
                    </a:cubicBezTo>
                    <a:cubicBezTo>
                      <a:pt x="77248" y="68049"/>
                      <a:pt x="69261" y="76336"/>
                      <a:pt x="58991" y="80813"/>
                    </a:cubicBezTo>
                    <a:cubicBezTo>
                      <a:pt x="53571" y="83194"/>
                      <a:pt x="47865" y="84337"/>
                      <a:pt x="42159" y="84337"/>
                    </a:cubicBezTo>
                    <a:close/>
                    <a:moveTo>
                      <a:pt x="42159" y="9566"/>
                    </a:moveTo>
                    <a:cubicBezTo>
                      <a:pt x="29132" y="9566"/>
                      <a:pt x="16770" y="17471"/>
                      <a:pt x="11730" y="30330"/>
                    </a:cubicBezTo>
                    <a:cubicBezTo>
                      <a:pt x="8592" y="38426"/>
                      <a:pt x="8687" y="47285"/>
                      <a:pt x="12205" y="55286"/>
                    </a:cubicBezTo>
                    <a:cubicBezTo>
                      <a:pt x="15724" y="63287"/>
                      <a:pt x="22095" y="69383"/>
                      <a:pt x="30178" y="72621"/>
                    </a:cubicBezTo>
                    <a:lnTo>
                      <a:pt x="30178" y="72621"/>
                    </a:lnTo>
                    <a:cubicBezTo>
                      <a:pt x="38261" y="75764"/>
                      <a:pt x="47104" y="75669"/>
                      <a:pt x="55092" y="72145"/>
                    </a:cubicBezTo>
                    <a:cubicBezTo>
                      <a:pt x="63080" y="68621"/>
                      <a:pt x="69166" y="62239"/>
                      <a:pt x="72399" y="54143"/>
                    </a:cubicBezTo>
                    <a:cubicBezTo>
                      <a:pt x="75537" y="46046"/>
                      <a:pt x="75442" y="37188"/>
                      <a:pt x="71923" y="29187"/>
                    </a:cubicBezTo>
                    <a:cubicBezTo>
                      <a:pt x="68405" y="21186"/>
                      <a:pt x="62034" y="14995"/>
                      <a:pt x="53951" y="11852"/>
                    </a:cubicBezTo>
                    <a:cubicBezTo>
                      <a:pt x="50052" y="10328"/>
                      <a:pt x="46058" y="9566"/>
                      <a:pt x="42065" y="9566"/>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4" name="Freeform 120">
                <a:extLst>
                  <a:ext uri="{FF2B5EF4-FFF2-40B4-BE49-F238E27FC236}">
                    <a16:creationId xmlns:a16="http://schemas.microsoft.com/office/drawing/2014/main" id="{F86BA2FD-3599-2C0B-F18F-FC1AF6FF6632}"/>
                  </a:ext>
                </a:extLst>
              </p:cNvPr>
              <p:cNvSpPr/>
              <p:nvPr/>
            </p:nvSpPr>
            <p:spPr>
              <a:xfrm>
                <a:off x="7351524" y="3225158"/>
                <a:ext cx="384884" cy="385555"/>
              </a:xfrm>
              <a:custGeom>
                <a:avLst/>
                <a:gdLst>
                  <a:gd name="connsiteX0" fmla="*/ 42214 w 84238"/>
                  <a:gd name="connsiteY0" fmla="*/ 84290 h 84385"/>
                  <a:gd name="connsiteX1" fmla="*/ 7316 w 84238"/>
                  <a:gd name="connsiteY1" fmla="*/ 65907 h 84385"/>
                  <a:gd name="connsiteX2" fmla="*/ 7316 w 84238"/>
                  <a:gd name="connsiteY2" fmla="*/ 65907 h 84385"/>
                  <a:gd name="connsiteX3" fmla="*/ 754 w 84238"/>
                  <a:gd name="connsiteY3" fmla="*/ 34284 h 84385"/>
                  <a:gd name="connsiteX4" fmla="*/ 18441 w 84238"/>
                  <a:gd name="connsiteY4" fmla="*/ 7328 h 84385"/>
                  <a:gd name="connsiteX5" fmla="*/ 50012 w 84238"/>
                  <a:gd name="connsiteY5" fmla="*/ 756 h 84385"/>
                  <a:gd name="connsiteX6" fmla="*/ 76923 w 84238"/>
                  <a:gd name="connsiteY6" fmla="*/ 18472 h 84385"/>
                  <a:gd name="connsiteX7" fmla="*/ 83485 w 84238"/>
                  <a:gd name="connsiteY7" fmla="*/ 50095 h 84385"/>
                  <a:gd name="connsiteX8" fmla="*/ 65797 w 84238"/>
                  <a:gd name="connsiteY8" fmla="*/ 77051 h 84385"/>
                  <a:gd name="connsiteX9" fmla="*/ 42119 w 84238"/>
                  <a:gd name="connsiteY9" fmla="*/ 84385 h 84385"/>
                  <a:gd name="connsiteX10" fmla="*/ 15208 w 84238"/>
                  <a:gd name="connsiteY10" fmla="*/ 60477 h 84385"/>
                  <a:gd name="connsiteX11" fmla="*/ 36129 w 84238"/>
                  <a:gd name="connsiteY11" fmla="*/ 74193 h 84385"/>
                  <a:gd name="connsiteX12" fmla="*/ 60567 w 84238"/>
                  <a:gd name="connsiteY12" fmla="*/ 69145 h 84385"/>
                  <a:gd name="connsiteX13" fmla="*/ 74261 w 84238"/>
                  <a:gd name="connsiteY13" fmla="*/ 48285 h 84385"/>
                  <a:gd name="connsiteX14" fmla="*/ 69221 w 84238"/>
                  <a:gd name="connsiteY14" fmla="*/ 23806 h 84385"/>
                  <a:gd name="connsiteX15" fmla="*/ 48396 w 84238"/>
                  <a:gd name="connsiteY15" fmla="*/ 10090 h 84385"/>
                  <a:gd name="connsiteX16" fmla="*/ 23957 w 84238"/>
                  <a:gd name="connsiteY16" fmla="*/ 15138 h 84385"/>
                  <a:gd name="connsiteX17" fmla="*/ 15303 w 84238"/>
                  <a:gd name="connsiteY17" fmla="*/ 60477 h 84385"/>
                  <a:gd name="connsiteX18" fmla="*/ 15303 w 84238"/>
                  <a:gd name="connsiteY18" fmla="*/ 60477 h 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38" h="84385">
                    <a:moveTo>
                      <a:pt x="42214" y="84290"/>
                    </a:moveTo>
                    <a:cubicBezTo>
                      <a:pt x="28711" y="84290"/>
                      <a:pt x="15494" y="77813"/>
                      <a:pt x="7316" y="65907"/>
                    </a:cubicBezTo>
                    <a:lnTo>
                      <a:pt x="7316" y="65907"/>
                    </a:lnTo>
                    <a:cubicBezTo>
                      <a:pt x="944" y="56572"/>
                      <a:pt x="-1338" y="45333"/>
                      <a:pt x="754" y="34284"/>
                    </a:cubicBezTo>
                    <a:cubicBezTo>
                      <a:pt x="2846" y="23235"/>
                      <a:pt x="9123" y="13614"/>
                      <a:pt x="18441" y="7328"/>
                    </a:cubicBezTo>
                    <a:cubicBezTo>
                      <a:pt x="27760" y="946"/>
                      <a:pt x="38981" y="-1340"/>
                      <a:pt x="50012" y="756"/>
                    </a:cubicBezTo>
                    <a:cubicBezTo>
                      <a:pt x="61043" y="2851"/>
                      <a:pt x="70647" y="9138"/>
                      <a:pt x="76923" y="18472"/>
                    </a:cubicBezTo>
                    <a:cubicBezTo>
                      <a:pt x="83294" y="27807"/>
                      <a:pt x="85576" y="39046"/>
                      <a:pt x="83485" y="50095"/>
                    </a:cubicBezTo>
                    <a:cubicBezTo>
                      <a:pt x="81393" y="61144"/>
                      <a:pt x="75116" y="70764"/>
                      <a:pt x="65797" y="77051"/>
                    </a:cubicBezTo>
                    <a:cubicBezTo>
                      <a:pt x="58570" y="82004"/>
                      <a:pt x="50297" y="84385"/>
                      <a:pt x="42119" y="84385"/>
                    </a:cubicBezTo>
                    <a:close/>
                    <a:moveTo>
                      <a:pt x="15208" y="60477"/>
                    </a:moveTo>
                    <a:cubicBezTo>
                      <a:pt x="20153" y="67716"/>
                      <a:pt x="27570" y="72574"/>
                      <a:pt x="36129" y="74193"/>
                    </a:cubicBezTo>
                    <a:cubicBezTo>
                      <a:pt x="44687" y="75813"/>
                      <a:pt x="53340" y="74003"/>
                      <a:pt x="60567" y="69145"/>
                    </a:cubicBezTo>
                    <a:cubicBezTo>
                      <a:pt x="67794" y="64192"/>
                      <a:pt x="72644" y="56858"/>
                      <a:pt x="74261" y="48285"/>
                    </a:cubicBezTo>
                    <a:cubicBezTo>
                      <a:pt x="75877" y="39713"/>
                      <a:pt x="74070" y="31045"/>
                      <a:pt x="69221" y="23806"/>
                    </a:cubicBezTo>
                    <a:cubicBezTo>
                      <a:pt x="64276" y="16567"/>
                      <a:pt x="56954" y="11709"/>
                      <a:pt x="48396" y="10090"/>
                    </a:cubicBezTo>
                    <a:cubicBezTo>
                      <a:pt x="39837" y="8471"/>
                      <a:pt x="31184" y="10281"/>
                      <a:pt x="23957" y="15138"/>
                    </a:cubicBezTo>
                    <a:cubicBezTo>
                      <a:pt x="9123" y="25235"/>
                      <a:pt x="5224" y="45618"/>
                      <a:pt x="15303" y="60477"/>
                    </a:cubicBezTo>
                    <a:lnTo>
                      <a:pt x="15303" y="60477"/>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5" name="Freeform 121">
                <a:extLst>
                  <a:ext uri="{FF2B5EF4-FFF2-40B4-BE49-F238E27FC236}">
                    <a16:creationId xmlns:a16="http://schemas.microsoft.com/office/drawing/2014/main" id="{D1F14BB7-16F4-4CE5-0CAB-54345234D79B}"/>
                  </a:ext>
                </a:extLst>
              </p:cNvPr>
              <p:cNvSpPr/>
              <p:nvPr/>
            </p:nvSpPr>
            <p:spPr>
              <a:xfrm>
                <a:off x="6698074" y="2262960"/>
                <a:ext cx="384674" cy="385532"/>
              </a:xfrm>
              <a:custGeom>
                <a:avLst/>
                <a:gdLst>
                  <a:gd name="connsiteX0" fmla="*/ 42215 w 84192"/>
                  <a:gd name="connsiteY0" fmla="*/ 84381 h 84380"/>
                  <a:gd name="connsiteX1" fmla="*/ 34227 w 84192"/>
                  <a:gd name="connsiteY1" fmla="*/ 83619 h 84380"/>
                  <a:gd name="connsiteX2" fmla="*/ 7316 w 84192"/>
                  <a:gd name="connsiteY2" fmla="*/ 65902 h 84380"/>
                  <a:gd name="connsiteX3" fmla="*/ 7316 w 84192"/>
                  <a:gd name="connsiteY3" fmla="*/ 65902 h 84380"/>
                  <a:gd name="connsiteX4" fmla="*/ 754 w 84192"/>
                  <a:gd name="connsiteY4" fmla="*/ 34279 h 84380"/>
                  <a:gd name="connsiteX5" fmla="*/ 18442 w 84192"/>
                  <a:gd name="connsiteY5" fmla="*/ 7324 h 84380"/>
                  <a:gd name="connsiteX6" fmla="*/ 76923 w 84192"/>
                  <a:gd name="connsiteY6" fmla="*/ 18468 h 84380"/>
                  <a:gd name="connsiteX7" fmla="*/ 65797 w 84192"/>
                  <a:gd name="connsiteY7" fmla="*/ 77047 h 84380"/>
                  <a:gd name="connsiteX8" fmla="*/ 42215 w 84192"/>
                  <a:gd name="connsiteY8" fmla="*/ 84381 h 84380"/>
                  <a:gd name="connsiteX9" fmla="*/ 42119 w 84192"/>
                  <a:gd name="connsiteY9" fmla="*/ 9514 h 84380"/>
                  <a:gd name="connsiteX10" fmla="*/ 23862 w 84192"/>
                  <a:gd name="connsiteY10" fmla="*/ 15134 h 84380"/>
                  <a:gd name="connsiteX11" fmla="*/ 10169 w 84192"/>
                  <a:gd name="connsiteY11" fmla="*/ 35994 h 84380"/>
                  <a:gd name="connsiteX12" fmla="*/ 15209 w 84192"/>
                  <a:gd name="connsiteY12" fmla="*/ 60473 h 84380"/>
                  <a:gd name="connsiteX13" fmla="*/ 15209 w 84192"/>
                  <a:gd name="connsiteY13" fmla="*/ 60473 h 84380"/>
                  <a:gd name="connsiteX14" fmla="*/ 36033 w 84192"/>
                  <a:gd name="connsiteY14" fmla="*/ 74189 h 84380"/>
                  <a:gd name="connsiteX15" fmla="*/ 60472 w 84192"/>
                  <a:gd name="connsiteY15" fmla="*/ 69141 h 84380"/>
                  <a:gd name="connsiteX16" fmla="*/ 69126 w 84192"/>
                  <a:gd name="connsiteY16" fmla="*/ 23802 h 84380"/>
                  <a:gd name="connsiteX17" fmla="*/ 42119 w 84192"/>
                  <a:gd name="connsiteY17" fmla="*/ 9514 h 8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2" h="84380">
                    <a:moveTo>
                      <a:pt x="42215" y="84381"/>
                    </a:moveTo>
                    <a:cubicBezTo>
                      <a:pt x="39552" y="84381"/>
                      <a:pt x="36889" y="84095"/>
                      <a:pt x="34227" y="83619"/>
                    </a:cubicBezTo>
                    <a:cubicBezTo>
                      <a:pt x="23196" y="81523"/>
                      <a:pt x="13592" y="75237"/>
                      <a:pt x="7316" y="65902"/>
                    </a:cubicBezTo>
                    <a:lnTo>
                      <a:pt x="7316" y="65902"/>
                    </a:lnTo>
                    <a:cubicBezTo>
                      <a:pt x="945" y="56568"/>
                      <a:pt x="-1338" y="45328"/>
                      <a:pt x="754" y="34279"/>
                    </a:cubicBezTo>
                    <a:cubicBezTo>
                      <a:pt x="2846" y="23230"/>
                      <a:pt x="9122" y="13610"/>
                      <a:pt x="18442" y="7324"/>
                    </a:cubicBezTo>
                    <a:cubicBezTo>
                      <a:pt x="37650" y="-5821"/>
                      <a:pt x="63896" y="-773"/>
                      <a:pt x="76923" y="18468"/>
                    </a:cubicBezTo>
                    <a:cubicBezTo>
                      <a:pt x="89951" y="37708"/>
                      <a:pt x="85006" y="63997"/>
                      <a:pt x="65797" y="77047"/>
                    </a:cubicBezTo>
                    <a:cubicBezTo>
                      <a:pt x="58761" y="81904"/>
                      <a:pt x="50583" y="84381"/>
                      <a:pt x="42215" y="84381"/>
                    </a:cubicBezTo>
                    <a:close/>
                    <a:moveTo>
                      <a:pt x="42119" y="9514"/>
                    </a:moveTo>
                    <a:cubicBezTo>
                      <a:pt x="35748" y="9514"/>
                      <a:pt x="29377" y="11324"/>
                      <a:pt x="23862" y="15134"/>
                    </a:cubicBezTo>
                    <a:cubicBezTo>
                      <a:pt x="16635" y="20087"/>
                      <a:pt x="11785" y="27421"/>
                      <a:pt x="10169" y="35994"/>
                    </a:cubicBezTo>
                    <a:cubicBezTo>
                      <a:pt x="8552" y="44566"/>
                      <a:pt x="10359" y="53234"/>
                      <a:pt x="15209" y="60473"/>
                    </a:cubicBezTo>
                    <a:lnTo>
                      <a:pt x="15209" y="60473"/>
                    </a:lnTo>
                    <a:cubicBezTo>
                      <a:pt x="20153" y="67712"/>
                      <a:pt x="27475" y="72570"/>
                      <a:pt x="36033" y="74189"/>
                    </a:cubicBezTo>
                    <a:cubicBezTo>
                      <a:pt x="44592" y="75808"/>
                      <a:pt x="53245" y="73999"/>
                      <a:pt x="60472" y="69141"/>
                    </a:cubicBezTo>
                    <a:cubicBezTo>
                      <a:pt x="75306" y="59044"/>
                      <a:pt x="79205" y="38661"/>
                      <a:pt x="69126" y="23802"/>
                    </a:cubicBezTo>
                    <a:cubicBezTo>
                      <a:pt x="62849" y="14563"/>
                      <a:pt x="52580" y="9514"/>
                      <a:pt x="42119" y="9514"/>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4" name="TextBox 3">
            <a:extLst>
              <a:ext uri="{FF2B5EF4-FFF2-40B4-BE49-F238E27FC236}">
                <a16:creationId xmlns:a16="http://schemas.microsoft.com/office/drawing/2014/main" id="{363C62CD-E600-8BC5-5E59-1000D5AE8427}"/>
              </a:ext>
            </a:extLst>
          </p:cNvPr>
          <p:cNvSpPr txBox="1"/>
          <p:nvPr/>
        </p:nvSpPr>
        <p:spPr>
          <a:xfrm>
            <a:off x="9406218" y="1368691"/>
            <a:ext cx="2319966" cy="1200329"/>
          </a:xfrm>
          <a:prstGeom prst="rect">
            <a:avLst/>
          </a:prstGeom>
          <a:noFill/>
        </p:spPr>
        <p:txBody>
          <a:bodyPr wrap="square" rtlCol="0">
            <a:spAutoFit/>
          </a:bodyPr>
          <a:lstStyle/>
          <a:p>
            <a:r>
              <a:rPr lang="en-US" dirty="0"/>
              <a:t>Functional value creation across </a:t>
            </a:r>
            <a:r>
              <a:rPr lang="en-US" b="1" dirty="0"/>
              <a:t>Consumer and Industrial </a:t>
            </a:r>
            <a:r>
              <a:rPr lang="en-US" dirty="0"/>
              <a:t>applications</a:t>
            </a:r>
          </a:p>
        </p:txBody>
      </p:sp>
      <p:grpSp>
        <p:nvGrpSpPr>
          <p:cNvPr id="8" name="Group 7">
            <a:extLst>
              <a:ext uri="{FF2B5EF4-FFF2-40B4-BE49-F238E27FC236}">
                <a16:creationId xmlns:a16="http://schemas.microsoft.com/office/drawing/2014/main" id="{ACE8AC5D-D7D2-9814-2189-ECB74CA16077}"/>
              </a:ext>
            </a:extLst>
          </p:cNvPr>
          <p:cNvGrpSpPr/>
          <p:nvPr/>
        </p:nvGrpSpPr>
        <p:grpSpPr>
          <a:xfrm>
            <a:off x="8365010" y="1603047"/>
            <a:ext cx="998835" cy="819033"/>
            <a:chOff x="9520852" y="2449061"/>
            <a:chExt cx="1169938" cy="1084004"/>
          </a:xfrm>
          <a:solidFill>
            <a:srgbClr val="003055"/>
          </a:solidFill>
        </p:grpSpPr>
        <p:pic>
          <p:nvPicPr>
            <p:cNvPr id="27" name="Graphic 26" descr="Signal with solid fill">
              <a:extLst>
                <a:ext uri="{FF2B5EF4-FFF2-40B4-BE49-F238E27FC236}">
                  <a16:creationId xmlns:a16="http://schemas.microsoft.com/office/drawing/2014/main" id="{8D454C90-F0A7-5A81-B538-B263264050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20852" y="2498742"/>
              <a:ext cx="1169938" cy="1034323"/>
            </a:xfrm>
            <a:prstGeom prst="rect">
              <a:avLst/>
            </a:prstGeom>
          </p:spPr>
        </p:pic>
        <p:cxnSp>
          <p:nvCxnSpPr>
            <p:cNvPr id="224" name="Straight Arrow Connector 223">
              <a:extLst>
                <a:ext uri="{FF2B5EF4-FFF2-40B4-BE49-F238E27FC236}">
                  <a16:creationId xmlns:a16="http://schemas.microsoft.com/office/drawing/2014/main" id="{E999DBAF-EE10-3CBA-D75C-93CCE0E36349}"/>
                </a:ext>
              </a:extLst>
            </p:cNvPr>
            <p:cNvCxnSpPr>
              <a:cxnSpLocks/>
            </p:cNvCxnSpPr>
            <p:nvPr/>
          </p:nvCxnSpPr>
          <p:spPr>
            <a:xfrm flipV="1">
              <a:off x="9692014" y="2449061"/>
              <a:ext cx="804361" cy="538375"/>
            </a:xfrm>
            <a:prstGeom prst="straightConnector1">
              <a:avLst/>
            </a:prstGeom>
            <a:grpFill/>
            <a:ln w="34925">
              <a:solidFill>
                <a:srgbClr val="003055"/>
              </a:solidFill>
              <a:tailEnd type="triangle"/>
            </a:ln>
          </p:spPr>
          <p:style>
            <a:lnRef idx="1">
              <a:schemeClr val="dk1"/>
            </a:lnRef>
            <a:fillRef idx="0">
              <a:schemeClr val="dk1"/>
            </a:fillRef>
            <a:effectRef idx="0">
              <a:schemeClr val="dk1"/>
            </a:effectRef>
            <a:fontRef idx="minor">
              <a:schemeClr val="tx1"/>
            </a:fontRef>
          </p:style>
        </p:cxnSp>
      </p:grpSp>
      <p:sp>
        <p:nvSpPr>
          <p:cNvPr id="225" name="TextBox 224">
            <a:extLst>
              <a:ext uri="{FF2B5EF4-FFF2-40B4-BE49-F238E27FC236}">
                <a16:creationId xmlns:a16="http://schemas.microsoft.com/office/drawing/2014/main" id="{3582580E-A219-1CA1-26A6-565DFBA2C00F}"/>
              </a:ext>
            </a:extLst>
          </p:cNvPr>
          <p:cNvSpPr txBox="1"/>
          <p:nvPr/>
        </p:nvSpPr>
        <p:spPr>
          <a:xfrm>
            <a:off x="9378084" y="3343915"/>
            <a:ext cx="2271194" cy="1508105"/>
          </a:xfrm>
          <a:prstGeom prst="rect">
            <a:avLst/>
          </a:prstGeom>
          <a:noFill/>
        </p:spPr>
        <p:txBody>
          <a:bodyPr wrap="square" rtlCol="0">
            <a:spAutoFit/>
          </a:bodyPr>
          <a:lstStyle/>
          <a:p>
            <a:r>
              <a:rPr lang="en-US" dirty="0"/>
              <a:t>Positions across in all product lines:</a:t>
            </a:r>
          </a:p>
          <a:p>
            <a:pPr marL="114300" indent="-114300">
              <a:buFont typeface="Calibri" panose="020F0502020204030204" pitchFamily="34" charset="0"/>
              <a:buChar char="-"/>
            </a:pPr>
            <a:r>
              <a:rPr lang="en-US" sz="1400" dirty="0"/>
              <a:t>Cat litter, </a:t>
            </a:r>
          </a:p>
          <a:p>
            <a:pPr marL="114300" indent="-114300">
              <a:buFont typeface="Calibri" panose="020F0502020204030204" pitchFamily="34" charset="0"/>
              <a:buChar char="-"/>
            </a:pPr>
            <a:r>
              <a:rPr lang="en-US" sz="1400" dirty="0"/>
              <a:t>Paper &amp; packaging, </a:t>
            </a:r>
          </a:p>
          <a:p>
            <a:pPr marL="114300" indent="-114300">
              <a:buFont typeface="Calibri" panose="020F0502020204030204" pitchFamily="34" charset="0"/>
              <a:buChar char="-"/>
            </a:pPr>
            <a:r>
              <a:rPr lang="en-US" sz="1400" dirty="0"/>
              <a:t>Foundry &amp; refractory, </a:t>
            </a:r>
          </a:p>
          <a:p>
            <a:pPr marL="114300" indent="-114300">
              <a:buFont typeface="Calibri" panose="020F0502020204030204" pitchFamily="34" charset="0"/>
              <a:buChar char="-"/>
            </a:pPr>
            <a:r>
              <a:rPr lang="en-US" sz="1400" dirty="0"/>
              <a:t>Building materials*</a:t>
            </a:r>
          </a:p>
        </p:txBody>
      </p:sp>
      <p:sp>
        <p:nvSpPr>
          <p:cNvPr id="226" name="TextBox 225">
            <a:extLst>
              <a:ext uri="{FF2B5EF4-FFF2-40B4-BE49-F238E27FC236}">
                <a16:creationId xmlns:a16="http://schemas.microsoft.com/office/drawing/2014/main" id="{D741C8C3-98DC-7BD7-4E95-D4720FA0D15F}"/>
              </a:ext>
            </a:extLst>
          </p:cNvPr>
          <p:cNvSpPr txBox="1"/>
          <p:nvPr/>
        </p:nvSpPr>
        <p:spPr>
          <a:xfrm>
            <a:off x="8391860" y="3171762"/>
            <a:ext cx="950058" cy="1015663"/>
          </a:xfrm>
          <a:prstGeom prst="rect">
            <a:avLst/>
          </a:prstGeom>
          <a:noFill/>
        </p:spPr>
        <p:txBody>
          <a:bodyPr wrap="square" rtlCol="0">
            <a:spAutoFit/>
          </a:bodyPr>
          <a:lstStyle/>
          <a:p>
            <a:r>
              <a:rPr lang="en-US" sz="6000" b="1" dirty="0">
                <a:solidFill>
                  <a:srgbClr val="003055"/>
                </a:solidFill>
              </a:rPr>
              <a:t>#1</a:t>
            </a:r>
            <a:endParaRPr lang="en-US" b="1" dirty="0">
              <a:solidFill>
                <a:srgbClr val="003055"/>
              </a:solidFill>
            </a:endParaRPr>
          </a:p>
        </p:txBody>
      </p:sp>
      <p:sp>
        <p:nvSpPr>
          <p:cNvPr id="230" name="TextBox 229">
            <a:extLst>
              <a:ext uri="{FF2B5EF4-FFF2-40B4-BE49-F238E27FC236}">
                <a16:creationId xmlns:a16="http://schemas.microsoft.com/office/drawing/2014/main" id="{25C3A765-49F0-21E8-921D-C8BD610DF9C2}"/>
              </a:ext>
            </a:extLst>
          </p:cNvPr>
          <p:cNvSpPr txBox="1"/>
          <p:nvPr/>
        </p:nvSpPr>
        <p:spPr>
          <a:xfrm>
            <a:off x="9378084" y="5221526"/>
            <a:ext cx="2271194" cy="646331"/>
          </a:xfrm>
          <a:prstGeom prst="rect">
            <a:avLst/>
          </a:prstGeom>
          <a:noFill/>
        </p:spPr>
        <p:txBody>
          <a:bodyPr wrap="square" rtlCol="0">
            <a:spAutoFit/>
          </a:bodyPr>
          <a:lstStyle/>
          <a:p>
            <a:r>
              <a:rPr lang="en-US" dirty="0"/>
              <a:t>Sustainable &amp; mineral based solutions</a:t>
            </a:r>
          </a:p>
        </p:txBody>
      </p:sp>
      <p:pic>
        <p:nvPicPr>
          <p:cNvPr id="233" name="Graphic 232" descr="Open hand with plant with solid fill">
            <a:extLst>
              <a:ext uri="{FF2B5EF4-FFF2-40B4-BE49-F238E27FC236}">
                <a16:creationId xmlns:a16="http://schemas.microsoft.com/office/drawing/2014/main" id="{CA86E7DC-B8A9-7004-8A5B-944A5ECFAD4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444179" y="4983566"/>
            <a:ext cx="962039" cy="1008289"/>
          </a:xfrm>
          <a:prstGeom prst="rect">
            <a:avLst/>
          </a:prstGeom>
        </p:spPr>
      </p:pic>
    </p:spTree>
    <p:extLst>
      <p:ext uri="{BB962C8B-B14F-4D97-AF65-F5344CB8AC3E}">
        <p14:creationId xmlns:p14="http://schemas.microsoft.com/office/powerpoint/2010/main" val="337583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9EE000-7A17-BD5B-F541-C1EA3D7C90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AC9EE000-7A17-BD5B-F541-C1EA3D7C90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1" name="Arrow: Right 240">
            <a:extLst>
              <a:ext uri="{FF2B5EF4-FFF2-40B4-BE49-F238E27FC236}">
                <a16:creationId xmlns:a16="http://schemas.microsoft.com/office/drawing/2014/main" id="{4C3F3AB1-C55A-5DCB-9A5D-149EBCF42A4B}"/>
              </a:ext>
            </a:extLst>
          </p:cNvPr>
          <p:cNvSpPr/>
          <p:nvPr/>
        </p:nvSpPr>
        <p:spPr>
          <a:xfrm rot="10800000">
            <a:off x="6063546" y="962303"/>
            <a:ext cx="5911685" cy="5318575"/>
          </a:xfrm>
          <a:prstGeom prst="rightArrow">
            <a:avLst>
              <a:gd name="adj1" fmla="val 100000"/>
              <a:gd name="adj2" fmla="val 32178"/>
            </a:avLst>
          </a:prstGeom>
          <a:solidFill>
            <a:srgbClr val="61A6CC">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2" name="Arrow: Right 241">
            <a:extLst>
              <a:ext uri="{FF2B5EF4-FFF2-40B4-BE49-F238E27FC236}">
                <a16:creationId xmlns:a16="http://schemas.microsoft.com/office/drawing/2014/main" id="{DF910A03-BF41-2592-B8A6-BB1D594FC9CA}"/>
              </a:ext>
            </a:extLst>
          </p:cNvPr>
          <p:cNvSpPr/>
          <p:nvPr/>
        </p:nvSpPr>
        <p:spPr>
          <a:xfrm>
            <a:off x="146053" y="966653"/>
            <a:ext cx="5911685" cy="5318575"/>
          </a:xfrm>
          <a:prstGeom prst="rightArrow">
            <a:avLst>
              <a:gd name="adj1" fmla="val 100000"/>
              <a:gd name="adj2" fmla="val 32178"/>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59572379-F422-25A3-510C-CF80D8D31894}"/>
              </a:ext>
            </a:extLst>
          </p:cNvPr>
          <p:cNvSpPr>
            <a:spLocks noGrp="1"/>
          </p:cNvSpPr>
          <p:nvPr>
            <p:ph type="title"/>
          </p:nvPr>
        </p:nvSpPr>
        <p:spPr>
          <a:xfrm>
            <a:off x="608815" y="215270"/>
            <a:ext cx="10138207" cy="523335"/>
          </a:xfrm>
        </p:spPr>
        <p:txBody>
          <a:bodyPr vert="horz">
            <a:noAutofit/>
          </a:bodyPr>
          <a:lstStyle/>
          <a:p>
            <a:r>
              <a:rPr lang="en-US" dirty="0"/>
              <a:t>Growth Driver Spotlight:​</a:t>
            </a:r>
            <a:br>
              <a:rPr lang="en-US" dirty="0"/>
            </a:br>
            <a:r>
              <a:rPr lang="en-US" dirty="0"/>
              <a:t>Innovation Aligned With Key Trends</a:t>
            </a:r>
          </a:p>
        </p:txBody>
      </p:sp>
      <p:sp>
        <p:nvSpPr>
          <p:cNvPr id="22" name="Rectangle 21">
            <a:extLst>
              <a:ext uri="{FF2B5EF4-FFF2-40B4-BE49-F238E27FC236}">
                <a16:creationId xmlns:a16="http://schemas.microsoft.com/office/drawing/2014/main" id="{E7CC5708-6B2E-2E8A-4644-9A534C4BF201}"/>
              </a:ext>
            </a:extLst>
          </p:cNvPr>
          <p:cNvSpPr/>
          <p:nvPr/>
        </p:nvSpPr>
        <p:spPr>
          <a:xfrm>
            <a:off x="7967114" y="5033475"/>
            <a:ext cx="3931919" cy="263499"/>
          </a:xfrm>
          <a:prstGeom prst="rect">
            <a:avLst/>
          </a:prstGeom>
          <a:solidFill>
            <a:srgbClr val="5374A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0" rIns="0" bIns="0" rtlCol="0" anchor="ctr" anchorCtr="0"/>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nvironmental &amp; Infrastructure</a:t>
            </a: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5" name="Group 24">
            <a:extLst>
              <a:ext uri="{FF2B5EF4-FFF2-40B4-BE49-F238E27FC236}">
                <a16:creationId xmlns:a16="http://schemas.microsoft.com/office/drawing/2014/main" id="{92A66BC4-C531-C1B6-B51F-9AA004817FF7}"/>
              </a:ext>
            </a:extLst>
          </p:cNvPr>
          <p:cNvGrpSpPr/>
          <p:nvPr/>
        </p:nvGrpSpPr>
        <p:grpSpPr>
          <a:xfrm>
            <a:off x="8026561" y="4888842"/>
            <a:ext cx="457200" cy="457200"/>
            <a:chOff x="2629743" y="-305070"/>
            <a:chExt cx="878442" cy="878442"/>
          </a:xfrm>
        </p:grpSpPr>
        <p:sp>
          <p:nvSpPr>
            <p:cNvPr id="58" name="Oval 57">
              <a:extLst>
                <a:ext uri="{FF2B5EF4-FFF2-40B4-BE49-F238E27FC236}">
                  <a16:creationId xmlns:a16="http://schemas.microsoft.com/office/drawing/2014/main" id="{CA3AF0A0-27CA-1F5F-DCC7-E123A7B1EC1E}"/>
                </a:ext>
              </a:extLst>
            </p:cNvPr>
            <p:cNvSpPr/>
            <p:nvPr/>
          </p:nvSpPr>
          <p:spPr>
            <a:xfrm>
              <a:off x="2629743" y="-305070"/>
              <a:ext cx="878442" cy="878442"/>
            </a:xfrm>
            <a:prstGeom prst="ellipse">
              <a:avLst/>
            </a:prstGeom>
            <a:solidFill>
              <a:srgbClr val="5374A1"/>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3B199755-5ACD-79E0-3A9E-347BFA3C7119}"/>
                </a:ext>
              </a:extLst>
            </p:cNvPr>
            <p:cNvGrpSpPr/>
            <p:nvPr/>
          </p:nvGrpSpPr>
          <p:grpSpPr>
            <a:xfrm>
              <a:off x="2825378" y="-232724"/>
              <a:ext cx="487173" cy="694063"/>
              <a:chOff x="4539014" y="-1405909"/>
              <a:chExt cx="487173" cy="694063"/>
            </a:xfrm>
            <a:solidFill>
              <a:schemeClr val="bg1"/>
            </a:solidFill>
          </p:grpSpPr>
          <p:sp>
            <p:nvSpPr>
              <p:cNvPr id="60" name="Freeform 21">
                <a:extLst>
                  <a:ext uri="{FF2B5EF4-FFF2-40B4-BE49-F238E27FC236}">
                    <a16:creationId xmlns:a16="http://schemas.microsoft.com/office/drawing/2014/main" id="{AD1306AA-33E0-F053-3EF9-92C7BBC29387}"/>
                  </a:ext>
                </a:extLst>
              </p:cNvPr>
              <p:cNvSpPr/>
              <p:nvPr/>
            </p:nvSpPr>
            <p:spPr>
              <a:xfrm>
                <a:off x="4539014" y="-1405909"/>
                <a:ext cx="487173" cy="694063"/>
              </a:xfrm>
              <a:custGeom>
                <a:avLst/>
                <a:gdLst>
                  <a:gd name="connsiteX0" fmla="*/ 243682 w 487173"/>
                  <a:gd name="connsiteY0" fmla="*/ 693969 h 694063"/>
                  <a:gd name="connsiteX1" fmla="*/ 0 w 487173"/>
                  <a:gd name="connsiteY1" fmla="*/ 451854 h 694063"/>
                  <a:gd name="connsiteX2" fmla="*/ 45981 w 487173"/>
                  <a:gd name="connsiteY2" fmla="*/ 310361 h 694063"/>
                  <a:gd name="connsiteX3" fmla="*/ 47501 w 487173"/>
                  <a:gd name="connsiteY3" fmla="*/ 304980 h 694063"/>
                  <a:gd name="connsiteX4" fmla="*/ 240357 w 487173"/>
                  <a:gd name="connsiteY4" fmla="*/ 4342 h 694063"/>
                  <a:gd name="connsiteX5" fmla="*/ 248432 w 487173"/>
                  <a:gd name="connsiteY5" fmla="*/ 0 h 694063"/>
                  <a:gd name="connsiteX6" fmla="*/ 256412 w 487173"/>
                  <a:gd name="connsiteY6" fmla="*/ 4531 h 694063"/>
                  <a:gd name="connsiteX7" fmla="*/ 463423 w 487173"/>
                  <a:gd name="connsiteY7" fmla="*/ 343870 h 694063"/>
                  <a:gd name="connsiteX8" fmla="*/ 464658 w 487173"/>
                  <a:gd name="connsiteY8" fmla="*/ 350288 h 694063"/>
                  <a:gd name="connsiteX9" fmla="*/ 487173 w 487173"/>
                  <a:gd name="connsiteY9" fmla="*/ 451948 h 694063"/>
                  <a:gd name="connsiteX10" fmla="*/ 243492 w 487173"/>
                  <a:gd name="connsiteY10" fmla="*/ 694064 h 694063"/>
                  <a:gd name="connsiteX11" fmla="*/ 67357 w 487173"/>
                  <a:gd name="connsiteY11" fmla="*/ 309133 h 694063"/>
                  <a:gd name="connsiteX12" fmla="*/ 65457 w 487173"/>
                  <a:gd name="connsiteY12" fmla="*/ 316024 h 694063"/>
                  <a:gd name="connsiteX13" fmla="*/ 19001 w 487173"/>
                  <a:gd name="connsiteY13" fmla="*/ 451854 h 694063"/>
                  <a:gd name="connsiteX14" fmla="*/ 243682 w 487173"/>
                  <a:gd name="connsiteY14" fmla="*/ 675091 h 694063"/>
                  <a:gd name="connsiteX15" fmla="*/ 468363 w 487173"/>
                  <a:gd name="connsiteY15" fmla="*/ 451854 h 694063"/>
                  <a:gd name="connsiteX16" fmla="*/ 444992 w 487173"/>
                  <a:gd name="connsiteY16" fmla="*/ 352743 h 694063"/>
                  <a:gd name="connsiteX17" fmla="*/ 444042 w 487173"/>
                  <a:gd name="connsiteY17" fmla="*/ 348117 h 694063"/>
                  <a:gd name="connsiteX18" fmla="*/ 248242 w 487173"/>
                  <a:gd name="connsiteY18" fmla="*/ 27279 h 694063"/>
                  <a:gd name="connsiteX19" fmla="*/ 67357 w 487173"/>
                  <a:gd name="connsiteY19" fmla="*/ 309133 h 69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7173" h="694063">
                    <a:moveTo>
                      <a:pt x="243682" y="693969"/>
                    </a:moveTo>
                    <a:cubicBezTo>
                      <a:pt x="109348" y="693969"/>
                      <a:pt x="0" y="585324"/>
                      <a:pt x="0" y="451854"/>
                    </a:cubicBezTo>
                    <a:cubicBezTo>
                      <a:pt x="0" y="400505"/>
                      <a:pt x="15865" y="351704"/>
                      <a:pt x="45981" y="310361"/>
                    </a:cubicBezTo>
                    <a:cubicBezTo>
                      <a:pt x="45981" y="308473"/>
                      <a:pt x="46456" y="306585"/>
                      <a:pt x="47501" y="304980"/>
                    </a:cubicBezTo>
                    <a:lnTo>
                      <a:pt x="240357" y="4342"/>
                    </a:lnTo>
                    <a:cubicBezTo>
                      <a:pt x="242162" y="1605"/>
                      <a:pt x="245202" y="189"/>
                      <a:pt x="248432" y="0"/>
                    </a:cubicBezTo>
                    <a:cubicBezTo>
                      <a:pt x="251757" y="0"/>
                      <a:pt x="254702" y="1793"/>
                      <a:pt x="256412" y="4531"/>
                    </a:cubicBezTo>
                    <a:lnTo>
                      <a:pt x="463423" y="343870"/>
                    </a:lnTo>
                    <a:cubicBezTo>
                      <a:pt x="464563" y="345852"/>
                      <a:pt x="465038" y="348117"/>
                      <a:pt x="464658" y="350288"/>
                    </a:cubicBezTo>
                    <a:cubicBezTo>
                      <a:pt x="479573" y="382287"/>
                      <a:pt x="487173" y="416457"/>
                      <a:pt x="487173" y="451948"/>
                    </a:cubicBezTo>
                    <a:cubicBezTo>
                      <a:pt x="487173" y="585419"/>
                      <a:pt x="377825" y="694064"/>
                      <a:pt x="243492" y="694064"/>
                    </a:cubicBezTo>
                    <a:close/>
                    <a:moveTo>
                      <a:pt x="67357" y="309133"/>
                    </a:moveTo>
                    <a:cubicBezTo>
                      <a:pt x="67642" y="311588"/>
                      <a:pt x="66977" y="314042"/>
                      <a:pt x="65457" y="316024"/>
                    </a:cubicBezTo>
                    <a:cubicBezTo>
                      <a:pt x="35056" y="355291"/>
                      <a:pt x="19001" y="402298"/>
                      <a:pt x="19001" y="451854"/>
                    </a:cubicBezTo>
                    <a:cubicBezTo>
                      <a:pt x="19001" y="574941"/>
                      <a:pt x="119798" y="675091"/>
                      <a:pt x="243682" y="675091"/>
                    </a:cubicBezTo>
                    <a:cubicBezTo>
                      <a:pt x="367565" y="675091"/>
                      <a:pt x="468363" y="574941"/>
                      <a:pt x="468363" y="451854"/>
                    </a:cubicBezTo>
                    <a:cubicBezTo>
                      <a:pt x="468363" y="417118"/>
                      <a:pt x="460478" y="383703"/>
                      <a:pt x="444992" y="352743"/>
                    </a:cubicBezTo>
                    <a:cubicBezTo>
                      <a:pt x="444232" y="351327"/>
                      <a:pt x="443947" y="349722"/>
                      <a:pt x="444042" y="348117"/>
                    </a:cubicBezTo>
                    <a:lnTo>
                      <a:pt x="248242" y="27279"/>
                    </a:lnTo>
                    <a:lnTo>
                      <a:pt x="67357" y="309133"/>
                    </a:ln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 name="Freeform 22">
                <a:extLst>
                  <a:ext uri="{FF2B5EF4-FFF2-40B4-BE49-F238E27FC236}">
                    <a16:creationId xmlns:a16="http://schemas.microsoft.com/office/drawing/2014/main" id="{6B028BC7-A853-1D8D-BFE0-2C295AD8DE47}"/>
                  </a:ext>
                </a:extLst>
              </p:cNvPr>
              <p:cNvSpPr/>
              <p:nvPr/>
            </p:nvSpPr>
            <p:spPr>
              <a:xfrm>
                <a:off x="4794855" y="-969158"/>
                <a:ext cx="148869" cy="157068"/>
              </a:xfrm>
              <a:custGeom>
                <a:avLst/>
                <a:gdLst>
                  <a:gd name="connsiteX0" fmla="*/ 17290 w 148869"/>
                  <a:gd name="connsiteY0" fmla="*/ 157068 h 157068"/>
                  <a:gd name="connsiteX1" fmla="*/ 0 w 148869"/>
                  <a:gd name="connsiteY1" fmla="*/ 155935 h 157068"/>
                  <a:gd name="connsiteX2" fmla="*/ 2470 w 148869"/>
                  <a:gd name="connsiteY2" fmla="*/ 137246 h 157068"/>
                  <a:gd name="connsiteX3" fmla="*/ 17290 w 148869"/>
                  <a:gd name="connsiteY3" fmla="*/ 138190 h 157068"/>
                  <a:gd name="connsiteX4" fmla="*/ 129869 w 148869"/>
                  <a:gd name="connsiteY4" fmla="*/ 26335 h 157068"/>
                  <a:gd name="connsiteX5" fmla="*/ 127588 w 148869"/>
                  <a:gd name="connsiteY5" fmla="*/ 3776 h 157068"/>
                  <a:gd name="connsiteX6" fmla="*/ 146209 w 148869"/>
                  <a:gd name="connsiteY6" fmla="*/ 0 h 157068"/>
                  <a:gd name="connsiteX7" fmla="*/ 148869 w 148869"/>
                  <a:gd name="connsiteY7" fmla="*/ 26335 h 157068"/>
                  <a:gd name="connsiteX8" fmla="*/ 17290 w 148869"/>
                  <a:gd name="connsiteY8" fmla="*/ 157068 h 15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69" h="157068">
                    <a:moveTo>
                      <a:pt x="17290" y="157068"/>
                    </a:moveTo>
                    <a:cubicBezTo>
                      <a:pt x="11495" y="157068"/>
                      <a:pt x="5700" y="156691"/>
                      <a:pt x="0" y="155935"/>
                    </a:cubicBezTo>
                    <a:lnTo>
                      <a:pt x="2470" y="137246"/>
                    </a:lnTo>
                    <a:cubicBezTo>
                      <a:pt x="7315" y="137907"/>
                      <a:pt x="12350" y="138190"/>
                      <a:pt x="17290" y="138190"/>
                    </a:cubicBezTo>
                    <a:cubicBezTo>
                      <a:pt x="79422" y="138190"/>
                      <a:pt x="129869" y="87973"/>
                      <a:pt x="129869" y="26335"/>
                    </a:cubicBezTo>
                    <a:cubicBezTo>
                      <a:pt x="129869" y="18784"/>
                      <a:pt x="129109" y="11138"/>
                      <a:pt x="127588" y="3776"/>
                    </a:cubicBezTo>
                    <a:lnTo>
                      <a:pt x="146209" y="0"/>
                    </a:lnTo>
                    <a:cubicBezTo>
                      <a:pt x="148014" y="8590"/>
                      <a:pt x="148869" y="17462"/>
                      <a:pt x="148869" y="26335"/>
                    </a:cubicBezTo>
                    <a:cubicBezTo>
                      <a:pt x="148869" y="98451"/>
                      <a:pt x="89872" y="157068"/>
                      <a:pt x="17290" y="157068"/>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27" name="Rectangle 26">
            <a:extLst>
              <a:ext uri="{FF2B5EF4-FFF2-40B4-BE49-F238E27FC236}">
                <a16:creationId xmlns:a16="http://schemas.microsoft.com/office/drawing/2014/main" id="{5D97D0D4-C783-CF98-F807-99F8B22CA85C}"/>
              </a:ext>
            </a:extLst>
          </p:cNvPr>
          <p:cNvSpPr/>
          <p:nvPr/>
        </p:nvSpPr>
        <p:spPr>
          <a:xfrm>
            <a:off x="7967114" y="4043499"/>
            <a:ext cx="3931919" cy="263499"/>
          </a:xfrm>
          <a:prstGeom prst="rect">
            <a:avLst/>
          </a:prstGeom>
          <a:solidFill>
            <a:srgbClr val="5374A1"/>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0" rIns="0" bIns="0" rtlCol="0" anchor="ctr" anchorCtr="0"/>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igh-Temperature Technologie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8" name="Group 27">
            <a:extLst>
              <a:ext uri="{FF2B5EF4-FFF2-40B4-BE49-F238E27FC236}">
                <a16:creationId xmlns:a16="http://schemas.microsoft.com/office/drawing/2014/main" id="{77DD3208-0D15-358C-5B8D-1A391E4F0C69}"/>
              </a:ext>
            </a:extLst>
          </p:cNvPr>
          <p:cNvGrpSpPr/>
          <p:nvPr/>
        </p:nvGrpSpPr>
        <p:grpSpPr>
          <a:xfrm>
            <a:off x="8026561" y="3891623"/>
            <a:ext cx="457200" cy="457200"/>
            <a:chOff x="3955826" y="-246215"/>
            <a:chExt cx="878442" cy="878442"/>
          </a:xfrm>
        </p:grpSpPr>
        <p:sp>
          <p:nvSpPr>
            <p:cNvPr id="53" name="Oval 52">
              <a:extLst>
                <a:ext uri="{FF2B5EF4-FFF2-40B4-BE49-F238E27FC236}">
                  <a16:creationId xmlns:a16="http://schemas.microsoft.com/office/drawing/2014/main" id="{1E9FA181-D3AC-D0ED-1663-0EA6CD2709EB}"/>
                </a:ext>
              </a:extLst>
            </p:cNvPr>
            <p:cNvSpPr/>
            <p:nvPr/>
          </p:nvSpPr>
          <p:spPr>
            <a:xfrm>
              <a:off x="3955826" y="-246215"/>
              <a:ext cx="878442" cy="878442"/>
            </a:xfrm>
            <a:prstGeom prst="ellipse">
              <a:avLst/>
            </a:prstGeom>
            <a:solidFill>
              <a:srgbClr val="5374A1"/>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4" name="Group 53">
              <a:extLst>
                <a:ext uri="{FF2B5EF4-FFF2-40B4-BE49-F238E27FC236}">
                  <a16:creationId xmlns:a16="http://schemas.microsoft.com/office/drawing/2014/main" id="{7397078C-0C22-03CE-D80A-0403BDCA602E}"/>
                </a:ext>
              </a:extLst>
            </p:cNvPr>
            <p:cNvGrpSpPr/>
            <p:nvPr/>
          </p:nvGrpSpPr>
          <p:grpSpPr>
            <a:xfrm>
              <a:off x="4018029" y="-163513"/>
              <a:ext cx="694076" cy="673350"/>
              <a:chOff x="12099561" y="-675971"/>
              <a:chExt cx="694076" cy="673350"/>
            </a:xfrm>
            <a:solidFill>
              <a:schemeClr val="bg1"/>
            </a:solidFill>
          </p:grpSpPr>
          <p:sp>
            <p:nvSpPr>
              <p:cNvPr id="55" name="Freeform 44">
                <a:extLst>
                  <a:ext uri="{FF2B5EF4-FFF2-40B4-BE49-F238E27FC236}">
                    <a16:creationId xmlns:a16="http://schemas.microsoft.com/office/drawing/2014/main" id="{3CEC370E-B9A7-93BD-B397-01B44FBCF264}"/>
                  </a:ext>
                </a:extLst>
              </p:cNvPr>
              <p:cNvSpPr/>
              <p:nvPr/>
            </p:nvSpPr>
            <p:spPr>
              <a:xfrm>
                <a:off x="12099561" y="-665009"/>
                <a:ext cx="438073" cy="457086"/>
              </a:xfrm>
              <a:custGeom>
                <a:avLst/>
                <a:gdLst>
                  <a:gd name="connsiteX0" fmla="*/ 198209 w 438073"/>
                  <a:gd name="connsiteY0" fmla="*/ 456992 h 457086"/>
                  <a:gd name="connsiteX1" fmla="*/ 31764 w 438073"/>
                  <a:gd name="connsiteY1" fmla="*/ 382800 h 457086"/>
                  <a:gd name="connsiteX2" fmla="*/ 157833 w 438073"/>
                  <a:gd name="connsiteY2" fmla="*/ 15899 h 457086"/>
                  <a:gd name="connsiteX3" fmla="*/ 179398 w 438073"/>
                  <a:gd name="connsiteY3" fmla="*/ 1457 h 457086"/>
                  <a:gd name="connsiteX4" fmla="*/ 190513 w 438073"/>
                  <a:gd name="connsiteY4" fmla="*/ 2118 h 457086"/>
                  <a:gd name="connsiteX5" fmla="*/ 193363 w 438073"/>
                  <a:gd name="connsiteY5" fmla="*/ 12879 h 457086"/>
                  <a:gd name="connsiteX6" fmla="*/ 280006 w 438073"/>
                  <a:gd name="connsiteY6" fmla="*/ 204777 h 457086"/>
                  <a:gd name="connsiteX7" fmla="*/ 280006 w 438073"/>
                  <a:gd name="connsiteY7" fmla="*/ 204777 h 457086"/>
                  <a:gd name="connsiteX8" fmla="*/ 428020 w 438073"/>
                  <a:gd name="connsiteY8" fmla="*/ 349952 h 457086"/>
                  <a:gd name="connsiteX9" fmla="*/ 437425 w 438073"/>
                  <a:gd name="connsiteY9" fmla="*/ 355993 h 457086"/>
                  <a:gd name="connsiteX10" fmla="*/ 434575 w 438073"/>
                  <a:gd name="connsiteY10" fmla="*/ 366754 h 457086"/>
                  <a:gd name="connsiteX11" fmla="*/ 430585 w 438073"/>
                  <a:gd name="connsiteY11" fmla="*/ 371001 h 457086"/>
                  <a:gd name="connsiteX12" fmla="*/ 422035 w 438073"/>
                  <a:gd name="connsiteY12" fmla="*/ 379497 h 457086"/>
                  <a:gd name="connsiteX13" fmla="*/ 198304 w 438073"/>
                  <a:gd name="connsiteY13" fmla="*/ 457087 h 457086"/>
                  <a:gd name="connsiteX14" fmla="*/ 173033 w 438073"/>
                  <a:gd name="connsiteY14" fmla="*/ 28359 h 457086"/>
                  <a:gd name="connsiteX15" fmla="*/ 168948 w 438073"/>
                  <a:gd name="connsiteY15" fmla="*/ 31191 h 457086"/>
                  <a:gd name="connsiteX16" fmla="*/ 47155 w 438073"/>
                  <a:gd name="connsiteY16" fmla="*/ 371757 h 457086"/>
                  <a:gd name="connsiteX17" fmla="*/ 409589 w 438073"/>
                  <a:gd name="connsiteY17" fmla="*/ 364960 h 457086"/>
                  <a:gd name="connsiteX18" fmla="*/ 264521 w 438073"/>
                  <a:gd name="connsiteY18" fmla="*/ 215821 h 457086"/>
                  <a:gd name="connsiteX19" fmla="*/ 264521 w 438073"/>
                  <a:gd name="connsiteY19" fmla="*/ 215821 h 457086"/>
                  <a:gd name="connsiteX20" fmla="*/ 173033 w 438073"/>
                  <a:gd name="connsiteY20" fmla="*/ 28359 h 45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8073" h="457086">
                    <a:moveTo>
                      <a:pt x="198209" y="456992"/>
                    </a:moveTo>
                    <a:cubicBezTo>
                      <a:pt x="128572" y="456992"/>
                      <a:pt x="67675" y="432356"/>
                      <a:pt x="31764" y="382800"/>
                    </a:cubicBezTo>
                    <a:cubicBezTo>
                      <a:pt x="-41008" y="282556"/>
                      <a:pt x="15519" y="118031"/>
                      <a:pt x="157833" y="15899"/>
                    </a:cubicBezTo>
                    <a:cubicBezTo>
                      <a:pt x="164293" y="11274"/>
                      <a:pt x="171323" y="6554"/>
                      <a:pt x="179398" y="1457"/>
                    </a:cubicBezTo>
                    <a:cubicBezTo>
                      <a:pt x="182818" y="-714"/>
                      <a:pt x="187378" y="-431"/>
                      <a:pt x="190513" y="2118"/>
                    </a:cubicBezTo>
                    <a:cubicBezTo>
                      <a:pt x="193648" y="4666"/>
                      <a:pt x="194788" y="9009"/>
                      <a:pt x="193363" y="12879"/>
                    </a:cubicBezTo>
                    <a:cubicBezTo>
                      <a:pt x="184243" y="36099"/>
                      <a:pt x="214169" y="114161"/>
                      <a:pt x="280006" y="204777"/>
                    </a:cubicBezTo>
                    <a:lnTo>
                      <a:pt x="280006" y="204777"/>
                    </a:lnTo>
                    <a:cubicBezTo>
                      <a:pt x="358953" y="313422"/>
                      <a:pt x="407879" y="351368"/>
                      <a:pt x="428020" y="349952"/>
                    </a:cubicBezTo>
                    <a:cubicBezTo>
                      <a:pt x="432200" y="349763"/>
                      <a:pt x="435905" y="352217"/>
                      <a:pt x="437425" y="355993"/>
                    </a:cubicBezTo>
                    <a:cubicBezTo>
                      <a:pt x="438945" y="359769"/>
                      <a:pt x="437710" y="364111"/>
                      <a:pt x="434575" y="366754"/>
                    </a:cubicBezTo>
                    <a:cubicBezTo>
                      <a:pt x="432485" y="368453"/>
                      <a:pt x="431725" y="369491"/>
                      <a:pt x="430585" y="371001"/>
                    </a:cubicBezTo>
                    <a:cubicBezTo>
                      <a:pt x="428970" y="373172"/>
                      <a:pt x="426975" y="375910"/>
                      <a:pt x="422035" y="379497"/>
                    </a:cubicBezTo>
                    <a:cubicBezTo>
                      <a:pt x="350023" y="431129"/>
                      <a:pt x="269556" y="457087"/>
                      <a:pt x="198304" y="457087"/>
                    </a:cubicBezTo>
                    <a:close/>
                    <a:moveTo>
                      <a:pt x="173033" y="28359"/>
                    </a:moveTo>
                    <a:cubicBezTo>
                      <a:pt x="171608" y="29303"/>
                      <a:pt x="170278" y="30247"/>
                      <a:pt x="168948" y="31191"/>
                    </a:cubicBezTo>
                    <a:cubicBezTo>
                      <a:pt x="35089" y="127187"/>
                      <a:pt x="-19537" y="279913"/>
                      <a:pt x="47155" y="371757"/>
                    </a:cubicBezTo>
                    <a:cubicBezTo>
                      <a:pt x="113656" y="463222"/>
                      <a:pt x="276016" y="460107"/>
                      <a:pt x="409589" y="364960"/>
                    </a:cubicBezTo>
                    <a:cubicBezTo>
                      <a:pt x="367218" y="347781"/>
                      <a:pt x="308887" y="276893"/>
                      <a:pt x="264521" y="215821"/>
                    </a:cubicBezTo>
                    <a:lnTo>
                      <a:pt x="264521" y="215821"/>
                    </a:lnTo>
                    <a:cubicBezTo>
                      <a:pt x="219394" y="153617"/>
                      <a:pt x="176263" y="74894"/>
                      <a:pt x="173033" y="28359"/>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Freeform 46">
                <a:extLst>
                  <a:ext uri="{FF2B5EF4-FFF2-40B4-BE49-F238E27FC236}">
                    <a16:creationId xmlns:a16="http://schemas.microsoft.com/office/drawing/2014/main" id="{93C3B7A0-A228-BD50-2BAB-32E300BA3CC2}"/>
                  </a:ext>
                </a:extLst>
              </p:cNvPr>
              <p:cNvSpPr/>
              <p:nvPr/>
            </p:nvSpPr>
            <p:spPr>
              <a:xfrm>
                <a:off x="12272391" y="-675971"/>
                <a:ext cx="285116" cy="361763"/>
              </a:xfrm>
              <a:custGeom>
                <a:avLst/>
                <a:gdLst>
                  <a:gd name="connsiteX0" fmla="*/ 222415 w 285116"/>
                  <a:gd name="connsiteY0" fmla="*/ 361764 h 361763"/>
                  <a:gd name="connsiteX1" fmla="*/ 91691 w 285116"/>
                  <a:gd name="connsiteY1" fmla="*/ 226783 h 361763"/>
                  <a:gd name="connsiteX2" fmla="*/ 2769 w 285116"/>
                  <a:gd name="connsiteY2" fmla="*/ 16950 h 361763"/>
                  <a:gd name="connsiteX3" fmla="*/ 11889 w 285116"/>
                  <a:gd name="connsiteY3" fmla="*/ 4868 h 361763"/>
                  <a:gd name="connsiteX4" fmla="*/ 30225 w 285116"/>
                  <a:gd name="connsiteY4" fmla="*/ 54 h 361763"/>
                  <a:gd name="connsiteX5" fmla="*/ 198854 w 285116"/>
                  <a:gd name="connsiteY5" fmla="*/ 150043 h 361763"/>
                  <a:gd name="connsiteX6" fmla="*/ 263646 w 285116"/>
                  <a:gd name="connsiteY6" fmla="*/ 256139 h 361763"/>
                  <a:gd name="connsiteX7" fmla="*/ 285116 w 285116"/>
                  <a:gd name="connsiteY7" fmla="*/ 300315 h 361763"/>
                  <a:gd name="connsiteX8" fmla="*/ 251581 w 285116"/>
                  <a:gd name="connsiteY8" fmla="*/ 269920 h 361763"/>
                  <a:gd name="connsiteX9" fmla="*/ 183274 w 285116"/>
                  <a:gd name="connsiteY9" fmla="*/ 303713 h 361763"/>
                  <a:gd name="connsiteX10" fmla="*/ 232865 w 285116"/>
                  <a:gd name="connsiteY10" fmla="*/ 346000 h 361763"/>
                  <a:gd name="connsiteX11" fmla="*/ 222415 w 285116"/>
                  <a:gd name="connsiteY11" fmla="*/ 361764 h 361763"/>
                  <a:gd name="connsiteX12" fmla="*/ 162183 w 285116"/>
                  <a:gd name="connsiteY12" fmla="*/ 282946 h 361763"/>
                  <a:gd name="connsiteX13" fmla="*/ 241225 w 285116"/>
                  <a:gd name="connsiteY13" fmla="*/ 253874 h 361763"/>
                  <a:gd name="connsiteX14" fmla="*/ 183369 w 285116"/>
                  <a:gd name="connsiteY14" fmla="*/ 160992 h 361763"/>
                  <a:gd name="connsiteX15" fmla="*/ 29084 w 285116"/>
                  <a:gd name="connsiteY15" fmla="*/ 18838 h 361763"/>
                  <a:gd name="connsiteX16" fmla="*/ 22909 w 285116"/>
                  <a:gd name="connsiteY16" fmla="*/ 20065 h 361763"/>
                  <a:gd name="connsiteX17" fmla="*/ 20344 w 285116"/>
                  <a:gd name="connsiteY17" fmla="*/ 23746 h 361763"/>
                  <a:gd name="connsiteX18" fmla="*/ 106987 w 285116"/>
                  <a:gd name="connsiteY18" fmla="*/ 215645 h 361763"/>
                  <a:gd name="connsiteX19" fmla="*/ 161803 w 285116"/>
                  <a:gd name="connsiteY19" fmla="*/ 283041 h 361763"/>
                  <a:gd name="connsiteX20" fmla="*/ 162088 w 285116"/>
                  <a:gd name="connsiteY20" fmla="*/ 282758 h 361763"/>
                  <a:gd name="connsiteX21" fmla="*/ 162088 w 285116"/>
                  <a:gd name="connsiteY21" fmla="*/ 282758 h 36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116" h="361763">
                    <a:moveTo>
                      <a:pt x="222415" y="361764"/>
                    </a:moveTo>
                    <a:cubicBezTo>
                      <a:pt x="184604" y="337883"/>
                      <a:pt x="135772" y="287477"/>
                      <a:pt x="91691" y="226783"/>
                    </a:cubicBezTo>
                    <a:cubicBezTo>
                      <a:pt x="38110" y="153063"/>
                      <a:pt x="-12527" y="55934"/>
                      <a:pt x="2769" y="16950"/>
                    </a:cubicBezTo>
                    <a:cubicBezTo>
                      <a:pt x="4764" y="11759"/>
                      <a:pt x="7899" y="7700"/>
                      <a:pt x="11889" y="4868"/>
                    </a:cubicBezTo>
                    <a:cubicBezTo>
                      <a:pt x="16924" y="1281"/>
                      <a:pt x="23099" y="-324"/>
                      <a:pt x="30225" y="54"/>
                    </a:cubicBezTo>
                    <a:cubicBezTo>
                      <a:pt x="67465" y="2131"/>
                      <a:pt x="135202" y="62447"/>
                      <a:pt x="198854" y="150043"/>
                    </a:cubicBezTo>
                    <a:cubicBezTo>
                      <a:pt x="224980" y="186006"/>
                      <a:pt x="247400" y="222724"/>
                      <a:pt x="263646" y="256139"/>
                    </a:cubicBezTo>
                    <a:lnTo>
                      <a:pt x="285116" y="300315"/>
                    </a:lnTo>
                    <a:lnTo>
                      <a:pt x="251581" y="269920"/>
                    </a:lnTo>
                    <a:cubicBezTo>
                      <a:pt x="221655" y="292386"/>
                      <a:pt x="199329" y="301258"/>
                      <a:pt x="183274" y="303713"/>
                    </a:cubicBezTo>
                    <a:cubicBezTo>
                      <a:pt x="204269" y="324101"/>
                      <a:pt x="217380" y="335617"/>
                      <a:pt x="232865" y="346000"/>
                    </a:cubicBezTo>
                    <a:lnTo>
                      <a:pt x="222415" y="361764"/>
                    </a:lnTo>
                    <a:close/>
                    <a:moveTo>
                      <a:pt x="162183" y="282946"/>
                    </a:moveTo>
                    <a:cubicBezTo>
                      <a:pt x="162183" y="282946"/>
                      <a:pt x="182704" y="298332"/>
                      <a:pt x="241225" y="253874"/>
                    </a:cubicBezTo>
                    <a:cubicBezTo>
                      <a:pt x="226025" y="224235"/>
                      <a:pt x="206074" y="192425"/>
                      <a:pt x="183369" y="160992"/>
                    </a:cubicBezTo>
                    <a:cubicBezTo>
                      <a:pt x="117722" y="70565"/>
                      <a:pt x="54830" y="20254"/>
                      <a:pt x="29084" y="18838"/>
                    </a:cubicBezTo>
                    <a:cubicBezTo>
                      <a:pt x="26329" y="18649"/>
                      <a:pt x="24334" y="19121"/>
                      <a:pt x="22909" y="20065"/>
                    </a:cubicBezTo>
                    <a:cubicBezTo>
                      <a:pt x="21959" y="20820"/>
                      <a:pt x="21104" y="22047"/>
                      <a:pt x="20344" y="23746"/>
                    </a:cubicBezTo>
                    <a:cubicBezTo>
                      <a:pt x="11224" y="46967"/>
                      <a:pt x="41150" y="125029"/>
                      <a:pt x="106987" y="215645"/>
                    </a:cubicBezTo>
                    <a:cubicBezTo>
                      <a:pt x="124847" y="240281"/>
                      <a:pt x="143468" y="263124"/>
                      <a:pt x="161803" y="283041"/>
                    </a:cubicBezTo>
                    <a:lnTo>
                      <a:pt x="162088" y="282758"/>
                    </a:lnTo>
                    <a:cubicBezTo>
                      <a:pt x="162088" y="282758"/>
                      <a:pt x="162088" y="282758"/>
                      <a:pt x="162088" y="282758"/>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Freeform 48">
                <a:extLst>
                  <a:ext uri="{FF2B5EF4-FFF2-40B4-BE49-F238E27FC236}">
                    <a16:creationId xmlns:a16="http://schemas.microsoft.com/office/drawing/2014/main" id="{8A7A9E12-9FE9-16B3-2F43-2B6141B3F303}"/>
                  </a:ext>
                </a:extLst>
              </p:cNvPr>
              <p:cNvSpPr/>
              <p:nvPr/>
            </p:nvSpPr>
            <p:spPr>
              <a:xfrm>
                <a:off x="12318638" y="-430593"/>
                <a:ext cx="474999" cy="427972"/>
              </a:xfrm>
              <a:custGeom>
                <a:avLst/>
                <a:gdLst>
                  <a:gd name="connsiteX0" fmla="*/ 250175 w 474999"/>
                  <a:gd name="connsiteY0" fmla="*/ 427973 h 427972"/>
                  <a:gd name="connsiteX1" fmla="*/ 10198 w 474999"/>
                  <a:gd name="connsiteY1" fmla="*/ 382570 h 427972"/>
                  <a:gd name="connsiteX2" fmla="*/ 33 w 474999"/>
                  <a:gd name="connsiteY2" fmla="*/ 360294 h 427972"/>
                  <a:gd name="connsiteX3" fmla="*/ 267370 w 474999"/>
                  <a:gd name="connsiteY3" fmla="*/ 290066 h 427972"/>
                  <a:gd name="connsiteX4" fmla="*/ 203718 w 474999"/>
                  <a:gd name="connsiteY4" fmla="*/ 132715 h 427972"/>
                  <a:gd name="connsiteX5" fmla="*/ 175978 w 474999"/>
                  <a:gd name="connsiteY5" fmla="*/ 116196 h 427972"/>
                  <a:gd name="connsiteX6" fmla="*/ 102540 w 474999"/>
                  <a:gd name="connsiteY6" fmla="*/ 50877 h 427972"/>
                  <a:gd name="connsiteX7" fmla="*/ 102351 w 474999"/>
                  <a:gd name="connsiteY7" fmla="*/ 50688 h 427972"/>
                  <a:gd name="connsiteX8" fmla="*/ 115841 w 474999"/>
                  <a:gd name="connsiteY8" fmla="*/ 37474 h 427972"/>
                  <a:gd name="connsiteX9" fmla="*/ 115841 w 474999"/>
                  <a:gd name="connsiteY9" fmla="*/ 37474 h 427972"/>
                  <a:gd name="connsiteX10" fmla="*/ 199728 w 474999"/>
                  <a:gd name="connsiteY10" fmla="*/ 4720 h 427972"/>
                  <a:gd name="connsiteX11" fmla="*/ 205618 w 474999"/>
                  <a:gd name="connsiteY11" fmla="*/ 0 h 427972"/>
                  <a:gd name="connsiteX12" fmla="*/ 211508 w 474999"/>
                  <a:gd name="connsiteY12" fmla="*/ 4720 h 427972"/>
                  <a:gd name="connsiteX13" fmla="*/ 215023 w 474999"/>
                  <a:gd name="connsiteY13" fmla="*/ 7740 h 427972"/>
                  <a:gd name="connsiteX14" fmla="*/ 331687 w 474999"/>
                  <a:gd name="connsiteY14" fmla="*/ 287329 h 427972"/>
                  <a:gd name="connsiteX15" fmla="*/ 474666 w 474999"/>
                  <a:gd name="connsiteY15" fmla="*/ 343209 h 427972"/>
                  <a:gd name="connsiteX16" fmla="*/ 474666 w 474999"/>
                  <a:gd name="connsiteY16" fmla="*/ 343209 h 427972"/>
                  <a:gd name="connsiteX17" fmla="*/ 462315 w 474999"/>
                  <a:gd name="connsiteY17" fmla="*/ 383514 h 427972"/>
                  <a:gd name="connsiteX18" fmla="*/ 379283 w 474999"/>
                  <a:gd name="connsiteY18" fmla="*/ 420799 h 427972"/>
                  <a:gd name="connsiteX19" fmla="*/ 250079 w 474999"/>
                  <a:gd name="connsiteY19" fmla="*/ 427878 h 427972"/>
                  <a:gd name="connsiteX20" fmla="*/ 137026 w 474999"/>
                  <a:gd name="connsiteY20" fmla="*/ 58240 h 427972"/>
                  <a:gd name="connsiteX21" fmla="*/ 186618 w 474999"/>
                  <a:gd name="connsiteY21" fmla="*/ 100527 h 427972"/>
                  <a:gd name="connsiteX22" fmla="*/ 213789 w 474999"/>
                  <a:gd name="connsiteY22" fmla="*/ 116574 h 427972"/>
                  <a:gd name="connsiteX23" fmla="*/ 215878 w 474999"/>
                  <a:gd name="connsiteY23" fmla="*/ 118084 h 427972"/>
                  <a:gd name="connsiteX24" fmla="*/ 288081 w 474999"/>
                  <a:gd name="connsiteY24" fmla="*/ 296674 h 427972"/>
                  <a:gd name="connsiteX25" fmla="*/ 290076 w 474999"/>
                  <a:gd name="connsiteY25" fmla="*/ 306962 h 427972"/>
                  <a:gd name="connsiteX26" fmla="*/ 279625 w 474999"/>
                  <a:gd name="connsiteY26" fmla="*/ 307906 h 427972"/>
                  <a:gd name="connsiteX27" fmla="*/ 19033 w 474999"/>
                  <a:gd name="connsiteY27" fmla="*/ 361427 h 427972"/>
                  <a:gd name="connsiteX28" fmla="*/ 23308 w 474999"/>
                  <a:gd name="connsiteY28" fmla="*/ 368884 h 427972"/>
                  <a:gd name="connsiteX29" fmla="*/ 377288 w 474999"/>
                  <a:gd name="connsiteY29" fmla="*/ 402109 h 427972"/>
                  <a:gd name="connsiteX30" fmla="*/ 447590 w 474999"/>
                  <a:gd name="connsiteY30" fmla="*/ 371810 h 427972"/>
                  <a:gd name="connsiteX31" fmla="*/ 455950 w 474999"/>
                  <a:gd name="connsiteY31" fmla="*/ 345380 h 427972"/>
                  <a:gd name="connsiteX32" fmla="*/ 455950 w 474999"/>
                  <a:gd name="connsiteY32" fmla="*/ 345380 h 427972"/>
                  <a:gd name="connsiteX33" fmla="*/ 330642 w 474999"/>
                  <a:gd name="connsiteY33" fmla="*/ 306207 h 427972"/>
                  <a:gd name="connsiteX34" fmla="*/ 323612 w 474999"/>
                  <a:gd name="connsiteY34" fmla="*/ 306207 h 427972"/>
                  <a:gd name="connsiteX35" fmla="*/ 314871 w 474999"/>
                  <a:gd name="connsiteY35" fmla="*/ 306396 h 427972"/>
                  <a:gd name="connsiteX36" fmla="*/ 313921 w 474999"/>
                  <a:gd name="connsiteY36" fmla="*/ 297712 h 427972"/>
                  <a:gd name="connsiteX37" fmla="*/ 205333 w 474999"/>
                  <a:gd name="connsiteY37" fmla="*/ 24353 h 427972"/>
                  <a:gd name="connsiteX38" fmla="*/ 137026 w 474999"/>
                  <a:gd name="connsiteY38" fmla="*/ 58145 h 42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4999" h="427972">
                    <a:moveTo>
                      <a:pt x="250175" y="427973"/>
                    </a:moveTo>
                    <a:cubicBezTo>
                      <a:pt x="136931" y="427973"/>
                      <a:pt x="40314" y="411077"/>
                      <a:pt x="10198" y="382570"/>
                    </a:cubicBezTo>
                    <a:cubicBezTo>
                      <a:pt x="1173" y="374075"/>
                      <a:pt x="-252" y="365769"/>
                      <a:pt x="33" y="360294"/>
                    </a:cubicBezTo>
                    <a:cubicBezTo>
                      <a:pt x="1458" y="337357"/>
                      <a:pt x="34614" y="311210"/>
                      <a:pt x="267370" y="290066"/>
                    </a:cubicBezTo>
                    <a:cubicBezTo>
                      <a:pt x="250364" y="206718"/>
                      <a:pt x="231174" y="159239"/>
                      <a:pt x="203718" y="132715"/>
                    </a:cubicBezTo>
                    <a:cubicBezTo>
                      <a:pt x="192983" y="126957"/>
                      <a:pt x="184148" y="121671"/>
                      <a:pt x="175978" y="116196"/>
                    </a:cubicBezTo>
                    <a:cubicBezTo>
                      <a:pt x="153367" y="100999"/>
                      <a:pt x="135221" y="83348"/>
                      <a:pt x="102540" y="50877"/>
                    </a:cubicBezTo>
                    <a:cubicBezTo>
                      <a:pt x="102540" y="50877"/>
                      <a:pt x="102446" y="50783"/>
                      <a:pt x="102351" y="50688"/>
                    </a:cubicBezTo>
                    <a:lnTo>
                      <a:pt x="115841" y="37474"/>
                    </a:lnTo>
                    <a:cubicBezTo>
                      <a:pt x="115841" y="37474"/>
                      <a:pt x="115841" y="37474"/>
                      <a:pt x="115841" y="37474"/>
                    </a:cubicBezTo>
                    <a:cubicBezTo>
                      <a:pt x="116031" y="37568"/>
                      <a:pt x="137501" y="53615"/>
                      <a:pt x="199728" y="4720"/>
                    </a:cubicBezTo>
                    <a:lnTo>
                      <a:pt x="205618" y="0"/>
                    </a:lnTo>
                    <a:lnTo>
                      <a:pt x="211508" y="4720"/>
                    </a:lnTo>
                    <a:cubicBezTo>
                      <a:pt x="211508" y="4720"/>
                      <a:pt x="212744" y="5758"/>
                      <a:pt x="215023" y="7740"/>
                    </a:cubicBezTo>
                    <a:cubicBezTo>
                      <a:pt x="230889" y="22088"/>
                      <a:pt x="309836" y="102226"/>
                      <a:pt x="331687" y="287329"/>
                    </a:cubicBezTo>
                    <a:cubicBezTo>
                      <a:pt x="344227" y="288178"/>
                      <a:pt x="469631" y="298845"/>
                      <a:pt x="474666" y="343209"/>
                    </a:cubicBezTo>
                    <a:lnTo>
                      <a:pt x="474666" y="343209"/>
                    </a:lnTo>
                    <a:cubicBezTo>
                      <a:pt x="476281" y="357462"/>
                      <a:pt x="472006" y="371432"/>
                      <a:pt x="462315" y="383514"/>
                    </a:cubicBezTo>
                    <a:cubicBezTo>
                      <a:pt x="446355" y="403431"/>
                      <a:pt x="416809" y="416646"/>
                      <a:pt x="379283" y="420799"/>
                    </a:cubicBezTo>
                    <a:cubicBezTo>
                      <a:pt x="335582" y="425613"/>
                      <a:pt x="291691" y="427878"/>
                      <a:pt x="250079" y="427878"/>
                    </a:cubicBezTo>
                    <a:close/>
                    <a:moveTo>
                      <a:pt x="137026" y="58240"/>
                    </a:moveTo>
                    <a:cubicBezTo>
                      <a:pt x="158022" y="78628"/>
                      <a:pt x="171132" y="90144"/>
                      <a:pt x="186618" y="100527"/>
                    </a:cubicBezTo>
                    <a:cubicBezTo>
                      <a:pt x="194503" y="105813"/>
                      <a:pt x="203148" y="110910"/>
                      <a:pt x="213789" y="116574"/>
                    </a:cubicBezTo>
                    <a:lnTo>
                      <a:pt x="215878" y="118084"/>
                    </a:lnTo>
                    <a:cubicBezTo>
                      <a:pt x="247989" y="148384"/>
                      <a:pt x="269555" y="201810"/>
                      <a:pt x="288081" y="296674"/>
                    </a:cubicBezTo>
                    <a:lnTo>
                      <a:pt x="290076" y="306962"/>
                    </a:lnTo>
                    <a:lnTo>
                      <a:pt x="279625" y="307906"/>
                    </a:lnTo>
                    <a:cubicBezTo>
                      <a:pt x="33474" y="329522"/>
                      <a:pt x="19318" y="356329"/>
                      <a:pt x="19033" y="361427"/>
                    </a:cubicBezTo>
                    <a:cubicBezTo>
                      <a:pt x="18843" y="364070"/>
                      <a:pt x="21313" y="366996"/>
                      <a:pt x="23308" y="368884"/>
                    </a:cubicBezTo>
                    <a:cubicBezTo>
                      <a:pt x="55609" y="399467"/>
                      <a:pt x="208943" y="420705"/>
                      <a:pt x="377288" y="402109"/>
                    </a:cubicBezTo>
                    <a:cubicBezTo>
                      <a:pt x="409779" y="398523"/>
                      <a:pt x="434765" y="387762"/>
                      <a:pt x="447590" y="371810"/>
                    </a:cubicBezTo>
                    <a:cubicBezTo>
                      <a:pt x="454050" y="363692"/>
                      <a:pt x="456995" y="354630"/>
                      <a:pt x="455950" y="345380"/>
                    </a:cubicBezTo>
                    <a:lnTo>
                      <a:pt x="455950" y="345380"/>
                    </a:lnTo>
                    <a:cubicBezTo>
                      <a:pt x="453480" y="323481"/>
                      <a:pt x="360853" y="307529"/>
                      <a:pt x="330642" y="306207"/>
                    </a:cubicBezTo>
                    <a:cubicBezTo>
                      <a:pt x="328457" y="306207"/>
                      <a:pt x="325987" y="306207"/>
                      <a:pt x="323612" y="306207"/>
                    </a:cubicBezTo>
                    <a:lnTo>
                      <a:pt x="314871" y="306396"/>
                    </a:lnTo>
                    <a:lnTo>
                      <a:pt x="313921" y="297712"/>
                    </a:lnTo>
                    <a:cubicBezTo>
                      <a:pt x="295301" y="122993"/>
                      <a:pt x="225474" y="43798"/>
                      <a:pt x="205333" y="24353"/>
                    </a:cubicBezTo>
                    <a:cubicBezTo>
                      <a:pt x="175408" y="46818"/>
                      <a:pt x="153082" y="55691"/>
                      <a:pt x="137026" y="58145"/>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29" name="Rectangle 28">
            <a:extLst>
              <a:ext uri="{FF2B5EF4-FFF2-40B4-BE49-F238E27FC236}">
                <a16:creationId xmlns:a16="http://schemas.microsoft.com/office/drawing/2014/main" id="{B1174672-0D0F-2F46-09BB-8D4CF7C6AC1F}"/>
              </a:ext>
            </a:extLst>
          </p:cNvPr>
          <p:cNvSpPr/>
          <p:nvPr/>
        </p:nvSpPr>
        <p:spPr>
          <a:xfrm>
            <a:off x="7967114" y="1614132"/>
            <a:ext cx="3931919" cy="263499"/>
          </a:xfrm>
          <a:prstGeom prst="rect">
            <a:avLst/>
          </a:prstGeom>
          <a:solidFill>
            <a:srgbClr val="39506F"/>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0" rIns="0" bIns="0" rtlCol="0" anchor="ctr" anchorCtr="0"/>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usehold &amp; Personal Care</a:t>
            </a:r>
          </a:p>
        </p:txBody>
      </p:sp>
      <p:grpSp>
        <p:nvGrpSpPr>
          <p:cNvPr id="30" name="Group 29">
            <a:extLst>
              <a:ext uri="{FF2B5EF4-FFF2-40B4-BE49-F238E27FC236}">
                <a16:creationId xmlns:a16="http://schemas.microsoft.com/office/drawing/2014/main" id="{BC698DE3-C659-A2E2-C576-AABD1EC395AB}"/>
              </a:ext>
            </a:extLst>
          </p:cNvPr>
          <p:cNvGrpSpPr/>
          <p:nvPr/>
        </p:nvGrpSpPr>
        <p:grpSpPr>
          <a:xfrm>
            <a:off x="8026561" y="1462255"/>
            <a:ext cx="457200" cy="457200"/>
            <a:chOff x="5015057" y="-246215"/>
            <a:chExt cx="878442" cy="878442"/>
          </a:xfrm>
        </p:grpSpPr>
        <p:sp>
          <p:nvSpPr>
            <p:cNvPr id="51" name="Oval 50">
              <a:extLst>
                <a:ext uri="{FF2B5EF4-FFF2-40B4-BE49-F238E27FC236}">
                  <a16:creationId xmlns:a16="http://schemas.microsoft.com/office/drawing/2014/main" id="{F411A8CF-08E9-71E9-DCE0-5B79637DF78B}"/>
                </a:ext>
              </a:extLst>
            </p:cNvPr>
            <p:cNvSpPr/>
            <p:nvPr/>
          </p:nvSpPr>
          <p:spPr>
            <a:xfrm>
              <a:off x="5015057" y="-246215"/>
              <a:ext cx="878442" cy="878442"/>
            </a:xfrm>
            <a:prstGeom prst="ellipse">
              <a:avLst/>
            </a:prstGeom>
            <a:solidFill>
              <a:srgbClr val="39506F"/>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2" name="Graphic 15">
              <a:extLst>
                <a:ext uri="{FF2B5EF4-FFF2-40B4-BE49-F238E27FC236}">
                  <a16:creationId xmlns:a16="http://schemas.microsoft.com/office/drawing/2014/main" id="{904D5BF6-F81D-82A2-90AA-8B06F0A52010}"/>
                </a:ext>
              </a:extLst>
            </p:cNvPr>
            <p:cNvSpPr/>
            <p:nvPr/>
          </p:nvSpPr>
          <p:spPr>
            <a:xfrm>
              <a:off x="5115548" y="-164588"/>
              <a:ext cx="687723" cy="687456"/>
            </a:xfrm>
            <a:custGeom>
              <a:avLst/>
              <a:gdLst>
                <a:gd name="connsiteX0" fmla="*/ 578756 w 687723"/>
                <a:gd name="connsiteY0" fmla="*/ 687456 h 687456"/>
                <a:gd name="connsiteX1" fmla="*/ 399296 w 687723"/>
                <a:gd name="connsiteY1" fmla="*/ 687456 h 687456"/>
                <a:gd name="connsiteX2" fmla="*/ 399296 w 687723"/>
                <a:gd name="connsiteY2" fmla="*/ 527368 h 687456"/>
                <a:gd name="connsiteX3" fmla="*/ 288428 w 687723"/>
                <a:gd name="connsiteY3" fmla="*/ 527368 h 687456"/>
                <a:gd name="connsiteX4" fmla="*/ 288428 w 687723"/>
                <a:gd name="connsiteY4" fmla="*/ 687456 h 687456"/>
                <a:gd name="connsiteX5" fmla="*/ 108968 w 687723"/>
                <a:gd name="connsiteY5" fmla="*/ 687456 h 687456"/>
                <a:gd name="connsiteX6" fmla="*/ 108968 w 687723"/>
                <a:gd name="connsiteY6" fmla="*/ 326218 h 687456"/>
                <a:gd name="connsiteX7" fmla="*/ 0 w 687723"/>
                <a:gd name="connsiteY7" fmla="*/ 326218 h 687456"/>
                <a:gd name="connsiteX8" fmla="*/ 343909 w 687723"/>
                <a:gd name="connsiteY8" fmla="*/ 0 h 687456"/>
                <a:gd name="connsiteX9" fmla="*/ 687724 w 687723"/>
                <a:gd name="connsiteY9" fmla="*/ 326124 h 687456"/>
                <a:gd name="connsiteX10" fmla="*/ 578756 w 687723"/>
                <a:gd name="connsiteY10" fmla="*/ 326124 h 687456"/>
                <a:gd name="connsiteX11" fmla="*/ 578756 w 687723"/>
                <a:gd name="connsiteY11" fmla="*/ 687362 h 687456"/>
                <a:gd name="connsiteX12" fmla="*/ 418296 w 687723"/>
                <a:gd name="connsiteY12" fmla="*/ 668578 h 687456"/>
                <a:gd name="connsiteX13" fmla="*/ 559755 w 687723"/>
                <a:gd name="connsiteY13" fmla="*/ 668578 h 687456"/>
                <a:gd name="connsiteX14" fmla="*/ 559755 w 687723"/>
                <a:gd name="connsiteY14" fmla="*/ 307340 h 687456"/>
                <a:gd name="connsiteX15" fmla="*/ 640318 w 687723"/>
                <a:gd name="connsiteY15" fmla="*/ 307340 h 687456"/>
                <a:gd name="connsiteX16" fmla="*/ 343909 w 687723"/>
                <a:gd name="connsiteY16" fmla="*/ 26147 h 687456"/>
                <a:gd name="connsiteX17" fmla="*/ 47501 w 687723"/>
                <a:gd name="connsiteY17" fmla="*/ 307340 h 687456"/>
                <a:gd name="connsiteX18" fmla="*/ 128063 w 687723"/>
                <a:gd name="connsiteY18" fmla="*/ 307340 h 687456"/>
                <a:gd name="connsiteX19" fmla="*/ 128063 w 687723"/>
                <a:gd name="connsiteY19" fmla="*/ 668578 h 687456"/>
                <a:gd name="connsiteX20" fmla="*/ 269522 w 687723"/>
                <a:gd name="connsiteY20" fmla="*/ 668578 h 687456"/>
                <a:gd name="connsiteX21" fmla="*/ 269522 w 687723"/>
                <a:gd name="connsiteY21" fmla="*/ 508489 h 687456"/>
                <a:gd name="connsiteX22" fmla="*/ 418392 w 687723"/>
                <a:gd name="connsiteY22" fmla="*/ 508489 h 687456"/>
                <a:gd name="connsiteX23" fmla="*/ 418392 w 687723"/>
                <a:gd name="connsiteY23" fmla="*/ 668578 h 68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7723" h="687456">
                  <a:moveTo>
                    <a:pt x="578756" y="687456"/>
                  </a:moveTo>
                  <a:lnTo>
                    <a:pt x="399296" y="687456"/>
                  </a:lnTo>
                  <a:lnTo>
                    <a:pt x="399296" y="527368"/>
                  </a:lnTo>
                  <a:lnTo>
                    <a:pt x="288428" y="527368"/>
                  </a:lnTo>
                  <a:lnTo>
                    <a:pt x="288428" y="687456"/>
                  </a:lnTo>
                  <a:lnTo>
                    <a:pt x="108968" y="687456"/>
                  </a:lnTo>
                  <a:lnTo>
                    <a:pt x="108968" y="326218"/>
                  </a:lnTo>
                  <a:lnTo>
                    <a:pt x="0" y="326218"/>
                  </a:lnTo>
                  <a:lnTo>
                    <a:pt x="343909" y="0"/>
                  </a:lnTo>
                  <a:lnTo>
                    <a:pt x="687724" y="326124"/>
                  </a:lnTo>
                  <a:lnTo>
                    <a:pt x="578756" y="326124"/>
                  </a:lnTo>
                  <a:lnTo>
                    <a:pt x="578756" y="687362"/>
                  </a:lnTo>
                  <a:close/>
                  <a:moveTo>
                    <a:pt x="418296" y="668578"/>
                  </a:moveTo>
                  <a:lnTo>
                    <a:pt x="559755" y="668578"/>
                  </a:lnTo>
                  <a:lnTo>
                    <a:pt x="559755" y="307340"/>
                  </a:lnTo>
                  <a:lnTo>
                    <a:pt x="640318" y="307340"/>
                  </a:lnTo>
                  <a:lnTo>
                    <a:pt x="343909" y="26147"/>
                  </a:lnTo>
                  <a:lnTo>
                    <a:pt x="47501" y="307340"/>
                  </a:lnTo>
                  <a:lnTo>
                    <a:pt x="128063" y="307340"/>
                  </a:lnTo>
                  <a:lnTo>
                    <a:pt x="128063" y="668578"/>
                  </a:lnTo>
                  <a:lnTo>
                    <a:pt x="269522" y="668578"/>
                  </a:lnTo>
                  <a:lnTo>
                    <a:pt x="269522" y="508489"/>
                  </a:lnTo>
                  <a:lnTo>
                    <a:pt x="418392" y="508489"/>
                  </a:lnTo>
                  <a:lnTo>
                    <a:pt x="418392" y="668578"/>
                  </a:lnTo>
                  <a:close/>
                </a:path>
              </a:pathLst>
            </a:custGeom>
            <a:solidFill>
              <a:schemeClr val="bg1"/>
            </a:solid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1" name="Rectangle 20">
            <a:extLst>
              <a:ext uri="{FF2B5EF4-FFF2-40B4-BE49-F238E27FC236}">
                <a16:creationId xmlns:a16="http://schemas.microsoft.com/office/drawing/2014/main" id="{FD2D1473-FDF9-A6E3-4B90-BF0F114B52CD}"/>
              </a:ext>
            </a:extLst>
          </p:cNvPr>
          <p:cNvSpPr/>
          <p:nvPr/>
        </p:nvSpPr>
        <p:spPr>
          <a:xfrm>
            <a:off x="7967114" y="2779626"/>
            <a:ext cx="3931919" cy="263499"/>
          </a:xfrm>
          <a:prstGeom prst="rect">
            <a:avLst/>
          </a:prstGeom>
          <a:solidFill>
            <a:srgbClr val="39506F"/>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0" rIns="0" bIns="0" rtlCol="0" anchor="ctr" anchorCtr="0"/>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pecialty Additives</a:t>
            </a:r>
          </a:p>
        </p:txBody>
      </p:sp>
      <p:grpSp>
        <p:nvGrpSpPr>
          <p:cNvPr id="31" name="Group 30">
            <a:extLst>
              <a:ext uri="{FF2B5EF4-FFF2-40B4-BE49-F238E27FC236}">
                <a16:creationId xmlns:a16="http://schemas.microsoft.com/office/drawing/2014/main" id="{00A2DD4D-8D74-264E-A521-34AF036013D8}"/>
              </a:ext>
            </a:extLst>
          </p:cNvPr>
          <p:cNvGrpSpPr/>
          <p:nvPr/>
        </p:nvGrpSpPr>
        <p:grpSpPr>
          <a:xfrm>
            <a:off x="8026561" y="2634994"/>
            <a:ext cx="457200" cy="457200"/>
            <a:chOff x="909066" y="3867064"/>
            <a:chExt cx="457200" cy="457200"/>
          </a:xfrm>
        </p:grpSpPr>
        <p:sp>
          <p:nvSpPr>
            <p:cNvPr id="45" name="Oval 44">
              <a:extLst>
                <a:ext uri="{FF2B5EF4-FFF2-40B4-BE49-F238E27FC236}">
                  <a16:creationId xmlns:a16="http://schemas.microsoft.com/office/drawing/2014/main" id="{1DD9D7C5-8A53-89A2-E3A1-ABDD18592F64}"/>
                </a:ext>
              </a:extLst>
            </p:cNvPr>
            <p:cNvSpPr/>
            <p:nvPr/>
          </p:nvSpPr>
          <p:spPr>
            <a:xfrm>
              <a:off x="909066" y="3867064"/>
              <a:ext cx="457200" cy="457200"/>
            </a:xfrm>
            <a:prstGeom prst="ellipse">
              <a:avLst/>
            </a:prstGeom>
            <a:solidFill>
              <a:srgbClr val="39506F"/>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6" name="Group 45">
              <a:extLst>
                <a:ext uri="{FF2B5EF4-FFF2-40B4-BE49-F238E27FC236}">
                  <a16:creationId xmlns:a16="http://schemas.microsoft.com/office/drawing/2014/main" id="{B5795A70-63E0-5584-3D25-DF05F538E47E}"/>
                </a:ext>
              </a:extLst>
            </p:cNvPr>
            <p:cNvGrpSpPr/>
            <p:nvPr/>
          </p:nvGrpSpPr>
          <p:grpSpPr>
            <a:xfrm>
              <a:off x="1014695" y="3925889"/>
              <a:ext cx="262533" cy="327049"/>
              <a:chOff x="10740971" y="1032467"/>
              <a:chExt cx="276939" cy="344995"/>
            </a:xfrm>
            <a:solidFill>
              <a:schemeClr val="bg1"/>
            </a:solidFill>
          </p:grpSpPr>
          <p:sp>
            <p:nvSpPr>
              <p:cNvPr id="47" name="Freeform 119">
                <a:extLst>
                  <a:ext uri="{FF2B5EF4-FFF2-40B4-BE49-F238E27FC236}">
                    <a16:creationId xmlns:a16="http://schemas.microsoft.com/office/drawing/2014/main" id="{C5E25B2B-E086-99D8-E95C-8AF9FBAF4D7B}"/>
                  </a:ext>
                </a:extLst>
              </p:cNvPr>
              <p:cNvSpPr/>
              <p:nvPr/>
            </p:nvSpPr>
            <p:spPr>
              <a:xfrm>
                <a:off x="10740971" y="1032467"/>
                <a:ext cx="276939" cy="344995"/>
              </a:xfrm>
              <a:custGeom>
                <a:avLst/>
                <a:gdLst>
                  <a:gd name="connsiteX0" fmla="*/ 102477 w 276939"/>
                  <a:gd name="connsiteY0" fmla="*/ 11240 h 344995"/>
                  <a:gd name="connsiteX1" fmla="*/ 94204 w 276939"/>
                  <a:gd name="connsiteY1" fmla="*/ 19622 h 344995"/>
                  <a:gd name="connsiteX2" fmla="*/ 94204 w 276939"/>
                  <a:gd name="connsiteY2" fmla="*/ 33338 h 344995"/>
                  <a:gd name="connsiteX3" fmla="*/ 96677 w 276939"/>
                  <a:gd name="connsiteY3" fmla="*/ 39243 h 344995"/>
                  <a:gd name="connsiteX4" fmla="*/ 105140 w 276939"/>
                  <a:gd name="connsiteY4" fmla="*/ 47816 h 344995"/>
                  <a:gd name="connsiteX5" fmla="*/ 110845 w 276939"/>
                  <a:gd name="connsiteY5" fmla="*/ 61627 h 344995"/>
                  <a:gd name="connsiteX6" fmla="*/ 110845 w 276939"/>
                  <a:gd name="connsiteY6" fmla="*/ 150400 h 344995"/>
                  <a:gd name="connsiteX7" fmla="*/ 103048 w 276939"/>
                  <a:gd name="connsiteY7" fmla="*/ 173831 h 344995"/>
                  <a:gd name="connsiteX8" fmla="*/ 16799 w 276939"/>
                  <a:gd name="connsiteY8" fmla="*/ 288988 h 344995"/>
                  <a:gd name="connsiteX9" fmla="*/ 14137 w 276939"/>
                  <a:gd name="connsiteY9" fmla="*/ 318421 h 344995"/>
                  <a:gd name="connsiteX10" fmla="*/ 39241 w 276939"/>
                  <a:gd name="connsiteY10" fmla="*/ 333947 h 344995"/>
                  <a:gd name="connsiteX11" fmla="*/ 237793 w 276939"/>
                  <a:gd name="connsiteY11" fmla="*/ 333947 h 344995"/>
                  <a:gd name="connsiteX12" fmla="*/ 262897 w 276939"/>
                  <a:gd name="connsiteY12" fmla="*/ 318421 h 344995"/>
                  <a:gd name="connsiteX13" fmla="*/ 260235 w 276939"/>
                  <a:gd name="connsiteY13" fmla="*/ 288988 h 344995"/>
                  <a:gd name="connsiteX14" fmla="*/ 173986 w 276939"/>
                  <a:gd name="connsiteY14" fmla="*/ 173831 h 344995"/>
                  <a:gd name="connsiteX15" fmla="*/ 166189 w 276939"/>
                  <a:gd name="connsiteY15" fmla="*/ 150400 h 344995"/>
                  <a:gd name="connsiteX16" fmla="*/ 166189 w 276939"/>
                  <a:gd name="connsiteY16" fmla="*/ 61627 h 344995"/>
                  <a:gd name="connsiteX17" fmla="*/ 171894 w 276939"/>
                  <a:gd name="connsiteY17" fmla="*/ 47816 h 344995"/>
                  <a:gd name="connsiteX18" fmla="*/ 180357 w 276939"/>
                  <a:gd name="connsiteY18" fmla="*/ 39243 h 344995"/>
                  <a:gd name="connsiteX19" fmla="*/ 182830 w 276939"/>
                  <a:gd name="connsiteY19" fmla="*/ 33338 h 344995"/>
                  <a:gd name="connsiteX20" fmla="*/ 182830 w 276939"/>
                  <a:gd name="connsiteY20" fmla="*/ 19622 h 344995"/>
                  <a:gd name="connsiteX21" fmla="*/ 174557 w 276939"/>
                  <a:gd name="connsiteY21" fmla="*/ 11240 h 344995"/>
                  <a:gd name="connsiteX22" fmla="*/ 102572 w 276939"/>
                  <a:gd name="connsiteY22" fmla="*/ 11240 h 344995"/>
                  <a:gd name="connsiteX23" fmla="*/ 237698 w 276939"/>
                  <a:gd name="connsiteY23" fmla="*/ 344996 h 344995"/>
                  <a:gd name="connsiteX24" fmla="*/ 39146 w 276939"/>
                  <a:gd name="connsiteY24" fmla="*/ 344996 h 344995"/>
                  <a:gd name="connsiteX25" fmla="*/ 4152 w 276939"/>
                  <a:gd name="connsiteY25" fmla="*/ 323279 h 344995"/>
                  <a:gd name="connsiteX26" fmla="*/ 7861 w 276939"/>
                  <a:gd name="connsiteY26" fmla="*/ 282131 h 344995"/>
                  <a:gd name="connsiteX27" fmla="*/ 94109 w 276939"/>
                  <a:gd name="connsiteY27" fmla="*/ 166973 h 344995"/>
                  <a:gd name="connsiteX28" fmla="*/ 99720 w 276939"/>
                  <a:gd name="connsiteY28" fmla="*/ 150209 h 344995"/>
                  <a:gd name="connsiteX29" fmla="*/ 99720 w 276939"/>
                  <a:gd name="connsiteY29" fmla="*/ 61436 h 344995"/>
                  <a:gd name="connsiteX30" fmla="*/ 97247 w 276939"/>
                  <a:gd name="connsiteY30" fmla="*/ 55531 h 344995"/>
                  <a:gd name="connsiteX31" fmla="*/ 88784 w 276939"/>
                  <a:gd name="connsiteY31" fmla="*/ 46958 h 344995"/>
                  <a:gd name="connsiteX32" fmla="*/ 83079 w 276939"/>
                  <a:gd name="connsiteY32" fmla="*/ 33147 h 344995"/>
                  <a:gd name="connsiteX33" fmla="*/ 83079 w 276939"/>
                  <a:gd name="connsiteY33" fmla="*/ 19431 h 344995"/>
                  <a:gd name="connsiteX34" fmla="*/ 102477 w 276939"/>
                  <a:gd name="connsiteY34" fmla="*/ 0 h 344995"/>
                  <a:gd name="connsiteX35" fmla="*/ 174462 w 276939"/>
                  <a:gd name="connsiteY35" fmla="*/ 0 h 344995"/>
                  <a:gd name="connsiteX36" fmla="*/ 193861 w 276939"/>
                  <a:gd name="connsiteY36" fmla="*/ 19431 h 344995"/>
                  <a:gd name="connsiteX37" fmla="*/ 193861 w 276939"/>
                  <a:gd name="connsiteY37" fmla="*/ 33147 h 344995"/>
                  <a:gd name="connsiteX38" fmla="*/ 188155 w 276939"/>
                  <a:gd name="connsiteY38" fmla="*/ 46958 h 344995"/>
                  <a:gd name="connsiteX39" fmla="*/ 179692 w 276939"/>
                  <a:gd name="connsiteY39" fmla="*/ 55531 h 344995"/>
                  <a:gd name="connsiteX40" fmla="*/ 177220 w 276939"/>
                  <a:gd name="connsiteY40" fmla="*/ 61436 h 344995"/>
                  <a:gd name="connsiteX41" fmla="*/ 177220 w 276939"/>
                  <a:gd name="connsiteY41" fmla="*/ 150209 h 344995"/>
                  <a:gd name="connsiteX42" fmla="*/ 182830 w 276939"/>
                  <a:gd name="connsiteY42" fmla="*/ 166973 h 344995"/>
                  <a:gd name="connsiteX43" fmla="*/ 269079 w 276939"/>
                  <a:gd name="connsiteY43" fmla="*/ 282131 h 344995"/>
                  <a:gd name="connsiteX44" fmla="*/ 272787 w 276939"/>
                  <a:gd name="connsiteY44" fmla="*/ 323279 h 344995"/>
                  <a:gd name="connsiteX45" fmla="*/ 237793 w 276939"/>
                  <a:gd name="connsiteY45" fmla="*/ 344996 h 344995"/>
                  <a:gd name="connsiteX46" fmla="*/ 237793 w 276939"/>
                  <a:gd name="connsiteY46" fmla="*/ 344996 h 34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6939" h="344995">
                    <a:moveTo>
                      <a:pt x="102477" y="11240"/>
                    </a:moveTo>
                    <a:cubicBezTo>
                      <a:pt x="97913" y="11240"/>
                      <a:pt x="94204" y="14954"/>
                      <a:pt x="94204" y="19622"/>
                    </a:cubicBezTo>
                    <a:lnTo>
                      <a:pt x="94204" y="33338"/>
                    </a:lnTo>
                    <a:cubicBezTo>
                      <a:pt x="94204" y="35528"/>
                      <a:pt x="95060" y="37624"/>
                      <a:pt x="96677" y="39243"/>
                    </a:cubicBezTo>
                    <a:lnTo>
                      <a:pt x="105140" y="47816"/>
                    </a:lnTo>
                    <a:cubicBezTo>
                      <a:pt x="108848" y="51530"/>
                      <a:pt x="110845" y="56388"/>
                      <a:pt x="110845" y="61627"/>
                    </a:cubicBezTo>
                    <a:lnTo>
                      <a:pt x="110845" y="150400"/>
                    </a:lnTo>
                    <a:cubicBezTo>
                      <a:pt x="110845" y="158782"/>
                      <a:pt x="108087" y="167069"/>
                      <a:pt x="103048" y="173831"/>
                    </a:cubicBezTo>
                    <a:lnTo>
                      <a:pt x="16799" y="288988"/>
                    </a:lnTo>
                    <a:cubicBezTo>
                      <a:pt x="10428" y="297561"/>
                      <a:pt x="9382" y="308801"/>
                      <a:pt x="14137" y="318421"/>
                    </a:cubicBezTo>
                    <a:cubicBezTo>
                      <a:pt x="18891" y="328041"/>
                      <a:pt x="28495" y="333947"/>
                      <a:pt x="39241" y="333947"/>
                    </a:cubicBezTo>
                    <a:lnTo>
                      <a:pt x="237793" y="333947"/>
                    </a:lnTo>
                    <a:cubicBezTo>
                      <a:pt x="248539" y="333947"/>
                      <a:pt x="258143" y="327946"/>
                      <a:pt x="262897" y="318421"/>
                    </a:cubicBezTo>
                    <a:cubicBezTo>
                      <a:pt x="267652" y="308801"/>
                      <a:pt x="266701" y="297561"/>
                      <a:pt x="260235" y="288988"/>
                    </a:cubicBezTo>
                    <a:lnTo>
                      <a:pt x="173986" y="173831"/>
                    </a:lnTo>
                    <a:cubicBezTo>
                      <a:pt x="168947" y="167164"/>
                      <a:pt x="166189" y="158782"/>
                      <a:pt x="166189" y="150400"/>
                    </a:cubicBezTo>
                    <a:lnTo>
                      <a:pt x="166189" y="61627"/>
                    </a:lnTo>
                    <a:cubicBezTo>
                      <a:pt x="166189" y="56388"/>
                      <a:pt x="168186" y="51530"/>
                      <a:pt x="171894" y="47816"/>
                    </a:cubicBezTo>
                    <a:lnTo>
                      <a:pt x="180357" y="39243"/>
                    </a:lnTo>
                    <a:cubicBezTo>
                      <a:pt x="181974" y="37624"/>
                      <a:pt x="182830" y="35528"/>
                      <a:pt x="182830" y="33338"/>
                    </a:cubicBezTo>
                    <a:lnTo>
                      <a:pt x="182830" y="19622"/>
                    </a:lnTo>
                    <a:cubicBezTo>
                      <a:pt x="182830" y="15049"/>
                      <a:pt x="179121" y="11240"/>
                      <a:pt x="174557" y="11240"/>
                    </a:cubicBezTo>
                    <a:lnTo>
                      <a:pt x="102572" y="11240"/>
                    </a:lnTo>
                    <a:close/>
                    <a:moveTo>
                      <a:pt x="237698" y="344996"/>
                    </a:moveTo>
                    <a:lnTo>
                      <a:pt x="39146" y="344996"/>
                    </a:lnTo>
                    <a:cubicBezTo>
                      <a:pt x="24217" y="344996"/>
                      <a:pt x="10808" y="336709"/>
                      <a:pt x="4152" y="323279"/>
                    </a:cubicBezTo>
                    <a:cubicBezTo>
                      <a:pt x="-2504" y="309848"/>
                      <a:pt x="-1078" y="294132"/>
                      <a:pt x="7861" y="282131"/>
                    </a:cubicBezTo>
                    <a:lnTo>
                      <a:pt x="94109" y="166973"/>
                    </a:lnTo>
                    <a:cubicBezTo>
                      <a:pt x="97722" y="162211"/>
                      <a:pt x="99720" y="156210"/>
                      <a:pt x="99720" y="150209"/>
                    </a:cubicBezTo>
                    <a:lnTo>
                      <a:pt x="99720" y="61436"/>
                    </a:lnTo>
                    <a:cubicBezTo>
                      <a:pt x="99720" y="59246"/>
                      <a:pt x="98864" y="57150"/>
                      <a:pt x="97247" y="55531"/>
                    </a:cubicBezTo>
                    <a:lnTo>
                      <a:pt x="88784" y="46958"/>
                    </a:lnTo>
                    <a:cubicBezTo>
                      <a:pt x="85075" y="43244"/>
                      <a:pt x="83079" y="38386"/>
                      <a:pt x="83079" y="33147"/>
                    </a:cubicBezTo>
                    <a:lnTo>
                      <a:pt x="83079" y="19431"/>
                    </a:lnTo>
                    <a:cubicBezTo>
                      <a:pt x="83079" y="8668"/>
                      <a:pt x="91732" y="0"/>
                      <a:pt x="102477" y="0"/>
                    </a:cubicBezTo>
                    <a:lnTo>
                      <a:pt x="174462" y="0"/>
                    </a:lnTo>
                    <a:cubicBezTo>
                      <a:pt x="185112" y="0"/>
                      <a:pt x="193861" y="8763"/>
                      <a:pt x="193861" y="19431"/>
                    </a:cubicBezTo>
                    <a:lnTo>
                      <a:pt x="193861" y="33147"/>
                    </a:lnTo>
                    <a:cubicBezTo>
                      <a:pt x="193861" y="38386"/>
                      <a:pt x="191864" y="43244"/>
                      <a:pt x="188155" y="46958"/>
                    </a:cubicBezTo>
                    <a:lnTo>
                      <a:pt x="179692" y="55531"/>
                    </a:lnTo>
                    <a:cubicBezTo>
                      <a:pt x="178075" y="57150"/>
                      <a:pt x="177220" y="59246"/>
                      <a:pt x="177220" y="61436"/>
                    </a:cubicBezTo>
                    <a:lnTo>
                      <a:pt x="177220" y="150209"/>
                    </a:lnTo>
                    <a:cubicBezTo>
                      <a:pt x="177220" y="156210"/>
                      <a:pt x="179216" y="162116"/>
                      <a:pt x="182830" y="166973"/>
                    </a:cubicBezTo>
                    <a:lnTo>
                      <a:pt x="269079" y="282131"/>
                    </a:lnTo>
                    <a:cubicBezTo>
                      <a:pt x="278017" y="294132"/>
                      <a:pt x="279444" y="309848"/>
                      <a:pt x="272787" y="323279"/>
                    </a:cubicBezTo>
                    <a:cubicBezTo>
                      <a:pt x="266131" y="336613"/>
                      <a:pt x="252723" y="344996"/>
                      <a:pt x="237793" y="344996"/>
                    </a:cubicBezTo>
                    <a:lnTo>
                      <a:pt x="237793" y="34499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8" name="Freeform 121">
                <a:extLst>
                  <a:ext uri="{FF2B5EF4-FFF2-40B4-BE49-F238E27FC236}">
                    <a16:creationId xmlns:a16="http://schemas.microsoft.com/office/drawing/2014/main" id="{14ABE3B6-ED58-93E4-F623-D51A203D8764}"/>
                  </a:ext>
                </a:extLst>
              </p:cNvPr>
              <p:cNvSpPr/>
              <p:nvPr/>
            </p:nvSpPr>
            <p:spPr>
              <a:xfrm>
                <a:off x="10890532" y="1271852"/>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9" name="Freeform 121">
                <a:extLst>
                  <a:ext uri="{FF2B5EF4-FFF2-40B4-BE49-F238E27FC236}">
                    <a16:creationId xmlns:a16="http://schemas.microsoft.com/office/drawing/2014/main" id="{6376D871-B195-B79B-7A4F-0C9C9A898B6C}"/>
                  </a:ext>
                </a:extLst>
              </p:cNvPr>
              <p:cNvSpPr/>
              <p:nvPr/>
            </p:nvSpPr>
            <p:spPr>
              <a:xfrm>
                <a:off x="10835834" y="1207211"/>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0" name="Freeform 121">
                <a:extLst>
                  <a:ext uri="{FF2B5EF4-FFF2-40B4-BE49-F238E27FC236}">
                    <a16:creationId xmlns:a16="http://schemas.microsoft.com/office/drawing/2014/main" id="{3A60F93C-AD7A-4180-4BFB-DC154C51EA5D}"/>
                  </a:ext>
                </a:extLst>
              </p:cNvPr>
              <p:cNvSpPr/>
              <p:nvPr/>
            </p:nvSpPr>
            <p:spPr>
              <a:xfrm>
                <a:off x="10782381" y="1277163"/>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36" name="TextBox 35">
            <a:extLst>
              <a:ext uri="{FF2B5EF4-FFF2-40B4-BE49-F238E27FC236}">
                <a16:creationId xmlns:a16="http://schemas.microsoft.com/office/drawing/2014/main" id="{74A59EBD-B354-9BF0-45D2-89054BBC2B74}"/>
              </a:ext>
            </a:extLst>
          </p:cNvPr>
          <p:cNvSpPr txBox="1"/>
          <p:nvPr/>
        </p:nvSpPr>
        <p:spPr>
          <a:xfrm>
            <a:off x="8247348" y="1929799"/>
            <a:ext cx="3751953" cy="683777"/>
          </a:xfrm>
          <a:prstGeom prst="rect">
            <a:avLst/>
          </a:prstGeom>
          <a:noFill/>
        </p:spPr>
        <p:txBody>
          <a:bodyPr wrap="square" rtlCol="0">
            <a:spAutoFit/>
          </a:bodyPr>
          <a:lstStyle/>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Pet and animal health</a:t>
            </a:r>
          </a:p>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Natural personal care solutions</a:t>
            </a:r>
          </a:p>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Biofuels purification</a:t>
            </a:r>
          </a:p>
        </p:txBody>
      </p:sp>
      <p:sp>
        <p:nvSpPr>
          <p:cNvPr id="37" name="TextBox 36">
            <a:extLst>
              <a:ext uri="{FF2B5EF4-FFF2-40B4-BE49-F238E27FC236}">
                <a16:creationId xmlns:a16="http://schemas.microsoft.com/office/drawing/2014/main" id="{A144DB28-0B19-075A-B253-3A28B8AC2191}"/>
              </a:ext>
            </a:extLst>
          </p:cNvPr>
          <p:cNvSpPr txBox="1"/>
          <p:nvPr/>
        </p:nvSpPr>
        <p:spPr>
          <a:xfrm>
            <a:off x="8247348" y="3097072"/>
            <a:ext cx="3751953" cy="863826"/>
          </a:xfrm>
          <a:prstGeom prst="rect">
            <a:avLst/>
          </a:prstGeom>
          <a:noFill/>
        </p:spPr>
        <p:txBody>
          <a:bodyPr wrap="square" rtlCol="0">
            <a:spAutoFit/>
          </a:bodyPr>
          <a:lstStyle/>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Recycling solutions for paper and packaging</a:t>
            </a:r>
          </a:p>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Energy savings through mineral applications for packaging</a:t>
            </a:r>
          </a:p>
          <a:p>
            <a:pPr marL="285750" indent="-285750">
              <a:lnSpc>
                <a:spcPct val="90000"/>
              </a:lnSpc>
              <a:spcBef>
                <a:spcPts val="200"/>
              </a:spcBef>
              <a:buFont typeface="Wingdings" panose="05000000000000000000" pitchFamily="2" charset="2"/>
              <a:buChar char="§"/>
            </a:pPr>
            <a:endParaRPr lang="en-US" sz="1300" dirty="0">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360CDAD0-B1F3-8E94-7CBE-02BB1A84A155}"/>
              </a:ext>
            </a:extLst>
          </p:cNvPr>
          <p:cNvSpPr txBox="1"/>
          <p:nvPr/>
        </p:nvSpPr>
        <p:spPr>
          <a:xfrm>
            <a:off x="8247348" y="4361694"/>
            <a:ext cx="3751953" cy="478080"/>
          </a:xfrm>
          <a:prstGeom prst="rect">
            <a:avLst/>
          </a:prstGeom>
          <a:noFill/>
        </p:spPr>
        <p:txBody>
          <a:bodyPr wrap="square" rtlCol="0">
            <a:spAutoFit/>
          </a:bodyPr>
          <a:lstStyle/>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Emission reduction </a:t>
            </a:r>
          </a:p>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Automation and data analytics</a:t>
            </a:r>
          </a:p>
        </p:txBody>
      </p:sp>
      <p:sp>
        <p:nvSpPr>
          <p:cNvPr id="39" name="TextBox 38">
            <a:extLst>
              <a:ext uri="{FF2B5EF4-FFF2-40B4-BE49-F238E27FC236}">
                <a16:creationId xmlns:a16="http://schemas.microsoft.com/office/drawing/2014/main" id="{233D2EF4-3F4A-5DE8-59D7-8C17E9B5A0C7}"/>
              </a:ext>
            </a:extLst>
          </p:cNvPr>
          <p:cNvSpPr txBox="1"/>
          <p:nvPr/>
        </p:nvSpPr>
        <p:spPr>
          <a:xfrm>
            <a:off x="8247348" y="5366922"/>
            <a:ext cx="3751953" cy="1069524"/>
          </a:xfrm>
          <a:prstGeom prst="rect">
            <a:avLst/>
          </a:prstGeom>
          <a:noFill/>
        </p:spPr>
        <p:txBody>
          <a:bodyPr wrap="square" rtlCol="0">
            <a:spAutoFit/>
          </a:bodyPr>
          <a:lstStyle/>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Wastewater and drinking water remediation</a:t>
            </a:r>
          </a:p>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Drilling solutions for geothermal/</a:t>
            </a:r>
            <a:br>
              <a:rPr lang="en-US" sz="1300" dirty="0">
                <a:latin typeface="Arial" panose="020B0604020202020204" pitchFamily="34" charset="0"/>
                <a:cs typeface="Arial" panose="020B0604020202020204" pitchFamily="34" charset="0"/>
              </a:rPr>
            </a:br>
            <a:r>
              <a:rPr lang="en-US" sz="1300" dirty="0">
                <a:latin typeface="Arial" panose="020B0604020202020204" pitchFamily="34" charset="0"/>
                <a:cs typeface="Arial" panose="020B0604020202020204" pitchFamily="34" charset="0"/>
              </a:rPr>
              <a:t>sustainable energy</a:t>
            </a:r>
          </a:p>
          <a:p>
            <a:pPr marL="285750" indent="-285750">
              <a:lnSpc>
                <a:spcPct val="90000"/>
              </a:lnSpc>
              <a:spcBef>
                <a:spcPts val="200"/>
              </a:spcBef>
              <a:buFont typeface="Wingdings" panose="05000000000000000000" pitchFamily="2" charset="2"/>
              <a:buChar char="ü"/>
            </a:pPr>
            <a:r>
              <a:rPr lang="en-US" sz="1300" dirty="0">
                <a:latin typeface="Arial" panose="020B0604020202020204" pitchFamily="34" charset="0"/>
                <a:cs typeface="Arial" panose="020B0604020202020204" pitchFamily="34" charset="0"/>
              </a:rPr>
              <a:t>Hardening of grid</a:t>
            </a:r>
          </a:p>
          <a:p>
            <a:pPr marL="285750" indent="-285750">
              <a:lnSpc>
                <a:spcPct val="90000"/>
              </a:lnSpc>
              <a:spcBef>
                <a:spcPts val="200"/>
              </a:spcBef>
              <a:buFont typeface="Wingdings" panose="05000000000000000000" pitchFamily="2" charset="2"/>
              <a:buChar char="§"/>
            </a:pPr>
            <a:endParaRPr lang="en-US" sz="13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D57EDCE3-AB3C-D4A4-B775-F3E316C2AE01}"/>
              </a:ext>
            </a:extLst>
          </p:cNvPr>
          <p:cNvSpPr txBox="1"/>
          <p:nvPr/>
        </p:nvSpPr>
        <p:spPr>
          <a:xfrm>
            <a:off x="8171446" y="962304"/>
            <a:ext cx="3796937" cy="584775"/>
          </a:xfrm>
          <a:prstGeom prst="rect">
            <a:avLst/>
          </a:prstGeom>
          <a:noFill/>
        </p:spPr>
        <p:txBody>
          <a:bodyPr wrap="square" rtlCol="0">
            <a:spAutoFit/>
          </a:bodyPr>
          <a:lstStyle/>
          <a:p>
            <a:pPr algn="ctr"/>
            <a:r>
              <a:rPr lang="en-US" sz="1600" b="1" dirty="0">
                <a:solidFill>
                  <a:srgbClr val="122246"/>
                </a:solidFill>
                <a:latin typeface="Arial" panose="020B0604020202020204" pitchFamily="34" charset="0"/>
                <a:cs typeface="Arial" panose="020B0604020202020204" pitchFamily="34" charset="0"/>
              </a:rPr>
              <a:t>Products &amp; solutions aligned with key trends</a:t>
            </a:r>
          </a:p>
        </p:txBody>
      </p:sp>
      <p:sp>
        <p:nvSpPr>
          <p:cNvPr id="26" name="TextBox 25">
            <a:extLst>
              <a:ext uri="{FF2B5EF4-FFF2-40B4-BE49-F238E27FC236}">
                <a16:creationId xmlns:a16="http://schemas.microsoft.com/office/drawing/2014/main" id="{CA54BDB9-9622-45C1-F6FD-6C8FDACAB190}"/>
              </a:ext>
            </a:extLst>
          </p:cNvPr>
          <p:cNvSpPr txBox="1"/>
          <p:nvPr/>
        </p:nvSpPr>
        <p:spPr>
          <a:xfrm>
            <a:off x="4682376" y="5576300"/>
            <a:ext cx="2826343" cy="553998"/>
          </a:xfrm>
          <a:prstGeom prst="rect">
            <a:avLst/>
          </a:prstGeom>
          <a:noFill/>
        </p:spPr>
        <p:txBody>
          <a:bodyPr wrap="square" rtlCol="0">
            <a:spAutoFit/>
          </a:bodyPr>
          <a:lstStyle/>
          <a:p>
            <a:pPr algn="ctr"/>
            <a:r>
              <a:rPr lang="en-US" sz="2000" b="1" dirty="0">
                <a:solidFill>
                  <a:srgbClr val="003055"/>
                </a:solidFill>
                <a:latin typeface="Arial" panose="020B0604020202020204" pitchFamily="34" charset="0"/>
                <a:cs typeface="Arial" panose="020B0604020202020204" pitchFamily="34" charset="0"/>
              </a:rPr>
              <a:t>64</a:t>
            </a:r>
            <a:r>
              <a:rPr lang="en-US" sz="2000" b="1" dirty="0">
                <a:solidFill>
                  <a:srgbClr val="39506F"/>
                </a:solidFill>
                <a:latin typeface="Arial" panose="020B0604020202020204" pitchFamily="34" charset="0"/>
                <a:cs typeface="Arial" panose="020B0604020202020204" pitchFamily="34" charset="0"/>
              </a:rPr>
              <a:t>%</a:t>
            </a:r>
            <a:r>
              <a:rPr lang="en-US" b="1" dirty="0">
                <a:solidFill>
                  <a:srgbClr val="39506F"/>
                </a:solidFill>
                <a:latin typeface="Arial" panose="020B0604020202020204" pitchFamily="34" charset="0"/>
                <a:cs typeface="Arial" panose="020B0604020202020204" pitchFamily="34" charset="0"/>
              </a:rPr>
              <a:t> </a:t>
            </a:r>
          </a:p>
          <a:p>
            <a:pPr algn="ctr"/>
            <a:r>
              <a:rPr lang="en-US" sz="1000" dirty="0">
                <a:solidFill>
                  <a:srgbClr val="39506F"/>
                </a:solidFill>
                <a:latin typeface="Arial" panose="020B0604020202020204" pitchFamily="34" charset="0"/>
                <a:cs typeface="Arial" panose="020B0604020202020204" pitchFamily="34" charset="0"/>
              </a:rPr>
              <a:t>of new products have sustainable profile</a:t>
            </a:r>
            <a:endParaRPr lang="en-US" sz="1100" dirty="0">
              <a:solidFill>
                <a:srgbClr val="39506F"/>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A873756-DA17-F343-4CAD-B0439149C54B}"/>
              </a:ext>
            </a:extLst>
          </p:cNvPr>
          <p:cNvSpPr txBox="1"/>
          <p:nvPr/>
        </p:nvSpPr>
        <p:spPr>
          <a:xfrm>
            <a:off x="661190" y="1643230"/>
            <a:ext cx="3282066" cy="4810035"/>
          </a:xfrm>
          <a:prstGeom prst="rect">
            <a:avLst/>
          </a:prstGeom>
          <a:noFill/>
        </p:spPr>
        <p:txBody>
          <a:bodyPr wrap="square">
            <a:spAutoFit/>
          </a:bodyPr>
          <a:lstStyle/>
          <a:p>
            <a:pPr marL="342900" lvl="1">
              <a:lnSpc>
                <a:spcPct val="90000"/>
              </a:lnSpc>
              <a:spcBef>
                <a:spcPts val="1000"/>
              </a:spcBef>
              <a:buClr>
                <a:srgbClr val="132246"/>
              </a:buClr>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Odor elimination</a:t>
            </a:r>
          </a:p>
          <a:p>
            <a:pPr marL="342900" lvl="1">
              <a:lnSpc>
                <a:spcPct val="90000"/>
              </a:lnSpc>
              <a:spcBef>
                <a:spcPts val="1000"/>
              </a:spcBef>
              <a:buClr>
                <a:srgbClr val="132246"/>
              </a:buClr>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Ad/absorption</a:t>
            </a:r>
          </a:p>
          <a:p>
            <a:pPr marL="342900" lvl="1">
              <a:lnSpc>
                <a:spcPct val="90000"/>
              </a:lnSpc>
              <a:spcBef>
                <a:spcPts val="1000"/>
              </a:spcBef>
              <a:buClr>
                <a:srgbClr val="132246"/>
              </a:buClr>
              <a:tabLst>
                <a:tab pos="338138" algn="l"/>
              </a:tabLst>
              <a:defRPr/>
            </a:pPr>
            <a:endParaRPr lang="en-US" sz="1400" dirty="0">
              <a:solidFill>
                <a:srgbClr val="132246"/>
              </a:solidFill>
              <a:latin typeface="Arial" panose="020B0604020202020204" pitchFamily="34" charset="0"/>
              <a:ea typeface="MS PGothic" charset="0"/>
              <a:cs typeface="Arial" panose="020B0604020202020204" pitchFamily="34" charset="0"/>
            </a:endParaRP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Lightweighting</a:t>
            </a:r>
          </a:p>
          <a:p>
            <a:pPr marL="342900" lvl="1">
              <a:lnSpc>
                <a:spcPct val="90000"/>
              </a:lnSpc>
              <a:spcBef>
                <a:spcPts val="1000"/>
              </a:spcBef>
              <a:buClr>
                <a:srgbClr val="132246"/>
              </a:buClr>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Strengthening</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CO</a:t>
            </a:r>
            <a:r>
              <a:rPr lang="en-US" sz="1400" baseline="-25000" dirty="0">
                <a:solidFill>
                  <a:srgbClr val="132246"/>
                </a:solidFill>
                <a:latin typeface="Arial" panose="020B0604020202020204" pitchFamily="34" charset="0"/>
                <a:ea typeface="MS PGothic" charset="0"/>
                <a:cs typeface="Arial" panose="020B0604020202020204" pitchFamily="34" charset="0"/>
              </a:rPr>
              <a:t>2</a:t>
            </a:r>
            <a:r>
              <a:rPr lang="en-US" sz="1400" dirty="0">
                <a:solidFill>
                  <a:srgbClr val="132246"/>
                </a:solidFill>
                <a:latin typeface="Arial" panose="020B0604020202020204" pitchFamily="34" charset="0"/>
                <a:ea typeface="MS PGothic" charset="0"/>
                <a:cs typeface="Arial" panose="020B0604020202020204" pitchFamily="34" charset="0"/>
              </a:rPr>
              <a:t> sequestration</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Calcium fortification</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endParaRPr lang="en-US" sz="1400" dirty="0">
              <a:solidFill>
                <a:srgbClr val="132246"/>
              </a:solidFill>
              <a:latin typeface="Arial" panose="020B0604020202020204" pitchFamily="34" charset="0"/>
              <a:ea typeface="MS PGothic" charset="0"/>
              <a:cs typeface="Arial" panose="020B0604020202020204" pitchFamily="34" charset="0"/>
            </a:endParaRPr>
          </a:p>
          <a:p>
            <a:pPr marL="342900" lvl="1">
              <a:lnSpc>
                <a:spcPct val="90000"/>
              </a:lnSpc>
              <a:spcBef>
                <a:spcPts val="1000"/>
              </a:spcBef>
              <a:buClr>
                <a:srgbClr val="132246"/>
              </a:buClr>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Energy savings</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Recyclability</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Productivity improvement</a:t>
            </a:r>
          </a:p>
          <a:p>
            <a:pPr marL="342900" marR="0" lvl="1" algn="l" defTabSz="914400" rtl="0" eaLnBrk="1" fontAlgn="auto" latinLnBrk="0" hangingPunct="1">
              <a:lnSpc>
                <a:spcPct val="90000"/>
              </a:lnSpc>
              <a:spcBef>
                <a:spcPts val="1000"/>
              </a:spcBef>
              <a:spcAft>
                <a:spcPts val="0"/>
              </a:spcAft>
              <a:buClr>
                <a:srgbClr val="132246"/>
              </a:buClr>
              <a:buSzTx/>
              <a:tabLst>
                <a:tab pos="338138" algn="l"/>
              </a:tabLst>
              <a:defRPr/>
            </a:pPr>
            <a:endParaRPr lang="en-US" sz="1400" dirty="0">
              <a:solidFill>
                <a:srgbClr val="132246"/>
              </a:solidFill>
              <a:latin typeface="Arial" panose="020B0604020202020204" pitchFamily="34" charset="0"/>
              <a:ea typeface="MS PGothic" charset="0"/>
              <a:cs typeface="Arial" panose="020B0604020202020204" pitchFamily="34" charset="0"/>
            </a:endParaRPr>
          </a:p>
          <a:p>
            <a:pPr marL="342900" lvl="1">
              <a:lnSpc>
                <a:spcPct val="90000"/>
              </a:lnSpc>
              <a:spcBef>
                <a:spcPts val="1000"/>
              </a:spcBef>
              <a:buClr>
                <a:srgbClr val="132246"/>
              </a:buClr>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Rheology modification</a:t>
            </a:r>
          </a:p>
          <a:p>
            <a:pPr marL="342900" lvl="1">
              <a:lnSpc>
                <a:spcPct val="90000"/>
              </a:lnSpc>
              <a:spcBef>
                <a:spcPts val="1000"/>
              </a:spcBef>
              <a:buClr>
                <a:srgbClr val="132246"/>
              </a:buClr>
              <a:tabLst>
                <a:tab pos="338138" algn="l"/>
              </a:tabLst>
              <a:defRPr/>
            </a:pPr>
            <a:r>
              <a:rPr lang="en-US" sz="1400" dirty="0">
                <a:solidFill>
                  <a:srgbClr val="132246"/>
                </a:solidFill>
                <a:latin typeface="Arial" panose="020B0604020202020204" pitchFamily="34" charset="0"/>
                <a:ea typeface="MS PGothic" charset="0"/>
                <a:cs typeface="Arial" panose="020B0604020202020204" pitchFamily="34" charset="0"/>
              </a:rPr>
              <a:t>Water and Fluid filtration</a:t>
            </a:r>
          </a:p>
          <a:p>
            <a:pPr marL="12700" marR="0" lvl="1" algn="l" defTabSz="914400" rtl="0" eaLnBrk="1" fontAlgn="auto" latinLnBrk="0" hangingPunct="1">
              <a:lnSpc>
                <a:spcPct val="90000"/>
              </a:lnSpc>
              <a:spcBef>
                <a:spcPts val="1000"/>
              </a:spcBef>
              <a:spcAft>
                <a:spcPts val="0"/>
              </a:spcAft>
              <a:buClrTx/>
              <a:buSzTx/>
              <a:tabLst>
                <a:tab pos="338138" algn="l"/>
              </a:tabLst>
              <a:defRPr/>
            </a:pPr>
            <a:endParaRPr kumimoji="0" lang="en-US" sz="1500" b="0" i="0" u="none" strike="noStrike" kern="1200" cap="none" spc="0" normalizeH="0" baseline="0" noProof="0" dirty="0">
              <a:ln>
                <a:noFill/>
              </a:ln>
              <a:solidFill>
                <a:srgbClr val="00305D"/>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6BBB7E57-38D2-9F51-0BA6-4C3DF85BC36E}"/>
              </a:ext>
            </a:extLst>
          </p:cNvPr>
          <p:cNvSpPr txBox="1"/>
          <p:nvPr/>
        </p:nvSpPr>
        <p:spPr>
          <a:xfrm>
            <a:off x="314325" y="932698"/>
            <a:ext cx="3248103" cy="535531"/>
          </a:xfrm>
          <a:prstGeom prst="rect">
            <a:avLst/>
          </a:prstGeom>
          <a:noFill/>
          <a:ln>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600" b="1" dirty="0">
                <a:solidFill>
                  <a:srgbClr val="122246"/>
                </a:solidFill>
                <a:latin typeface="Arial" panose="020B0604020202020204" pitchFamily="34" charset="0"/>
                <a:cs typeface="Arial" panose="020B0604020202020204" pitchFamily="34" charset="0"/>
              </a:rPr>
              <a:t>Beneficial Attributes and Functionalities</a:t>
            </a:r>
          </a:p>
        </p:txBody>
      </p:sp>
      <p:grpSp>
        <p:nvGrpSpPr>
          <p:cNvPr id="16" name="Graphic 78">
            <a:extLst>
              <a:ext uri="{FF2B5EF4-FFF2-40B4-BE49-F238E27FC236}">
                <a16:creationId xmlns:a16="http://schemas.microsoft.com/office/drawing/2014/main" id="{5FBC60AF-54C3-4566-B641-DF206C6ABA3D}"/>
              </a:ext>
            </a:extLst>
          </p:cNvPr>
          <p:cNvGrpSpPr/>
          <p:nvPr/>
        </p:nvGrpSpPr>
        <p:grpSpPr>
          <a:xfrm>
            <a:off x="536971" y="2654044"/>
            <a:ext cx="357455" cy="349528"/>
            <a:chOff x="12205514" y="977865"/>
            <a:chExt cx="289589" cy="342358"/>
          </a:xfrm>
          <a:solidFill>
            <a:srgbClr val="003055"/>
          </a:solidFill>
        </p:grpSpPr>
        <p:sp>
          <p:nvSpPr>
            <p:cNvPr id="117" name="Freeform 27">
              <a:extLst>
                <a:ext uri="{FF2B5EF4-FFF2-40B4-BE49-F238E27FC236}">
                  <a16:creationId xmlns:a16="http://schemas.microsoft.com/office/drawing/2014/main" id="{9DC195EA-9C9E-763C-4663-5C9AF2E84F86}"/>
                </a:ext>
              </a:extLst>
            </p:cNvPr>
            <p:cNvSpPr/>
            <p:nvPr/>
          </p:nvSpPr>
          <p:spPr>
            <a:xfrm>
              <a:off x="12206944" y="979632"/>
              <a:ext cx="153790" cy="338972"/>
            </a:xfrm>
            <a:custGeom>
              <a:avLst/>
              <a:gdLst>
                <a:gd name="connsiteX0" fmla="*/ 150799 w 153790"/>
                <a:gd name="connsiteY0" fmla="*/ 338973 h 338972"/>
                <a:gd name="connsiteX1" fmla="*/ 147756 w 153790"/>
                <a:gd name="connsiteY1" fmla="*/ 336401 h 338972"/>
                <a:gd name="connsiteX2" fmla="*/ 111431 w 153790"/>
                <a:gd name="connsiteY2" fmla="*/ 115231 h 338972"/>
                <a:gd name="connsiteX3" fmla="*/ 61032 w 153790"/>
                <a:gd name="connsiteY3" fmla="*/ 134852 h 338972"/>
                <a:gd name="connsiteX4" fmla="*/ 59320 w 153790"/>
                <a:gd name="connsiteY4" fmla="*/ 135043 h 338972"/>
                <a:gd name="connsiteX5" fmla="*/ 2455 w 153790"/>
                <a:gd name="connsiteY5" fmla="*/ 123041 h 338972"/>
                <a:gd name="connsiteX6" fmla="*/ 78 w 153790"/>
                <a:gd name="connsiteY6" fmla="*/ 119422 h 338972"/>
                <a:gd name="connsiteX7" fmla="*/ 3691 w 153790"/>
                <a:gd name="connsiteY7" fmla="*/ 117040 h 338972"/>
                <a:gd name="connsiteX8" fmla="*/ 59701 w 153790"/>
                <a:gd name="connsiteY8" fmla="*/ 128851 h 338972"/>
                <a:gd name="connsiteX9" fmla="*/ 109624 w 153790"/>
                <a:gd name="connsiteY9" fmla="*/ 109420 h 338972"/>
                <a:gd name="connsiteX10" fmla="*/ 58179 w 153790"/>
                <a:gd name="connsiteY10" fmla="*/ 4455 h 338972"/>
                <a:gd name="connsiteX11" fmla="*/ 58940 w 153790"/>
                <a:gd name="connsiteY11" fmla="*/ 740 h 338972"/>
                <a:gd name="connsiteX12" fmla="*/ 62744 w 153790"/>
                <a:gd name="connsiteY12" fmla="*/ 550 h 338972"/>
                <a:gd name="connsiteX13" fmla="*/ 145093 w 153790"/>
                <a:gd name="connsiteY13" fmla="*/ 59033 h 338972"/>
                <a:gd name="connsiteX14" fmla="*/ 145949 w 153790"/>
                <a:gd name="connsiteY14" fmla="*/ 63129 h 338972"/>
                <a:gd name="connsiteX15" fmla="*/ 117041 w 153790"/>
                <a:gd name="connsiteY15" fmla="*/ 111611 h 338972"/>
                <a:gd name="connsiteX16" fmla="*/ 153747 w 153790"/>
                <a:gd name="connsiteY16" fmla="*/ 335449 h 338972"/>
                <a:gd name="connsiteX17" fmla="*/ 151179 w 153790"/>
                <a:gd name="connsiteY17" fmla="*/ 338973 h 338972"/>
                <a:gd name="connsiteX18" fmla="*/ 150704 w 153790"/>
                <a:gd name="connsiteY18" fmla="*/ 338973 h 338972"/>
                <a:gd name="connsiteX19" fmla="*/ 69115 w 153790"/>
                <a:gd name="connsiteY19" fmla="*/ 12456 h 338972"/>
                <a:gd name="connsiteX20" fmla="*/ 114188 w 153790"/>
                <a:gd name="connsiteY20" fmla="*/ 104467 h 338972"/>
                <a:gd name="connsiteX21" fmla="*/ 139293 w 153790"/>
                <a:gd name="connsiteY21" fmla="*/ 62272 h 338972"/>
                <a:gd name="connsiteX22" fmla="*/ 69115 w 153790"/>
                <a:gd name="connsiteY22" fmla="*/ 12456 h 3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3790" h="338972">
                  <a:moveTo>
                    <a:pt x="150799" y="338973"/>
                  </a:moveTo>
                  <a:cubicBezTo>
                    <a:pt x="149277" y="338973"/>
                    <a:pt x="148041" y="337925"/>
                    <a:pt x="147756" y="336401"/>
                  </a:cubicBezTo>
                  <a:lnTo>
                    <a:pt x="111431" y="115231"/>
                  </a:lnTo>
                  <a:lnTo>
                    <a:pt x="61032" y="134852"/>
                  </a:lnTo>
                  <a:cubicBezTo>
                    <a:pt x="60461" y="135043"/>
                    <a:pt x="59891" y="135138"/>
                    <a:pt x="59320" y="135043"/>
                  </a:cubicBezTo>
                  <a:lnTo>
                    <a:pt x="2455" y="123041"/>
                  </a:lnTo>
                  <a:cubicBezTo>
                    <a:pt x="744" y="122660"/>
                    <a:pt x="-302" y="121041"/>
                    <a:pt x="78" y="119422"/>
                  </a:cubicBezTo>
                  <a:cubicBezTo>
                    <a:pt x="458" y="117707"/>
                    <a:pt x="2075" y="116659"/>
                    <a:pt x="3691" y="117040"/>
                  </a:cubicBezTo>
                  <a:lnTo>
                    <a:pt x="59701" y="128851"/>
                  </a:lnTo>
                  <a:lnTo>
                    <a:pt x="109624" y="109420"/>
                  </a:lnTo>
                  <a:lnTo>
                    <a:pt x="58179" y="4455"/>
                  </a:lnTo>
                  <a:cubicBezTo>
                    <a:pt x="57514" y="3217"/>
                    <a:pt x="57894" y="1693"/>
                    <a:pt x="58940" y="740"/>
                  </a:cubicBezTo>
                  <a:cubicBezTo>
                    <a:pt x="59986" y="-212"/>
                    <a:pt x="61602" y="-212"/>
                    <a:pt x="62744" y="550"/>
                  </a:cubicBezTo>
                  <a:lnTo>
                    <a:pt x="145093" y="59033"/>
                  </a:lnTo>
                  <a:cubicBezTo>
                    <a:pt x="146425" y="59986"/>
                    <a:pt x="146805" y="61700"/>
                    <a:pt x="145949" y="63129"/>
                  </a:cubicBezTo>
                  <a:lnTo>
                    <a:pt x="117041" y="111611"/>
                  </a:lnTo>
                  <a:lnTo>
                    <a:pt x="153747" y="335449"/>
                  </a:lnTo>
                  <a:cubicBezTo>
                    <a:pt x="154032" y="337163"/>
                    <a:pt x="152891" y="338687"/>
                    <a:pt x="151179" y="338973"/>
                  </a:cubicBezTo>
                  <a:cubicBezTo>
                    <a:pt x="150989" y="338973"/>
                    <a:pt x="150799" y="338973"/>
                    <a:pt x="150704" y="338973"/>
                  </a:cubicBezTo>
                  <a:close/>
                  <a:moveTo>
                    <a:pt x="69115" y="12456"/>
                  </a:moveTo>
                  <a:lnTo>
                    <a:pt x="114188" y="104467"/>
                  </a:lnTo>
                  <a:lnTo>
                    <a:pt x="139293" y="62272"/>
                  </a:lnTo>
                  <a:lnTo>
                    <a:pt x="69115" y="12456"/>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8" name="Freeform 28">
              <a:extLst>
                <a:ext uri="{FF2B5EF4-FFF2-40B4-BE49-F238E27FC236}">
                  <a16:creationId xmlns:a16="http://schemas.microsoft.com/office/drawing/2014/main" id="{AA9887B7-1DE2-8BC2-F786-132624A76598}"/>
                </a:ext>
              </a:extLst>
            </p:cNvPr>
            <p:cNvSpPr/>
            <p:nvPr/>
          </p:nvSpPr>
          <p:spPr>
            <a:xfrm>
              <a:off x="12205514" y="977865"/>
              <a:ext cx="156659" cy="342167"/>
            </a:xfrm>
            <a:custGeom>
              <a:avLst/>
              <a:gdLst>
                <a:gd name="connsiteX0" fmla="*/ 152217 w 156659"/>
                <a:gd name="connsiteY0" fmla="*/ 342167 h 342167"/>
                <a:gd name="connsiteX1" fmla="*/ 147748 w 156659"/>
                <a:gd name="connsiteY1" fmla="*/ 338357 h 342167"/>
                <a:gd name="connsiteX2" fmla="*/ 111708 w 156659"/>
                <a:gd name="connsiteY2" fmla="*/ 118901 h 342167"/>
                <a:gd name="connsiteX3" fmla="*/ 63021 w 156659"/>
                <a:gd name="connsiteY3" fmla="*/ 137856 h 342167"/>
                <a:gd name="connsiteX4" fmla="*/ 60453 w 156659"/>
                <a:gd name="connsiteY4" fmla="*/ 138047 h 342167"/>
                <a:gd name="connsiteX5" fmla="*/ 3588 w 156659"/>
                <a:gd name="connsiteY5" fmla="*/ 126045 h 342167"/>
                <a:gd name="connsiteX6" fmla="*/ 736 w 156659"/>
                <a:gd name="connsiteY6" fmla="*/ 124045 h 342167"/>
                <a:gd name="connsiteX7" fmla="*/ 70 w 156659"/>
                <a:gd name="connsiteY7" fmla="*/ 120616 h 342167"/>
                <a:gd name="connsiteX8" fmla="*/ 5395 w 156659"/>
                <a:gd name="connsiteY8" fmla="*/ 117092 h 342167"/>
                <a:gd name="connsiteX9" fmla="*/ 60929 w 156659"/>
                <a:gd name="connsiteY9" fmla="*/ 128807 h 342167"/>
                <a:gd name="connsiteX10" fmla="*/ 108950 w 156659"/>
                <a:gd name="connsiteY10" fmla="*/ 110043 h 342167"/>
                <a:gd name="connsiteX11" fmla="*/ 58266 w 156659"/>
                <a:gd name="connsiteY11" fmla="*/ 6506 h 342167"/>
                <a:gd name="connsiteX12" fmla="*/ 59407 w 156659"/>
                <a:gd name="connsiteY12" fmla="*/ 1077 h 342167"/>
                <a:gd name="connsiteX13" fmla="*/ 64923 w 156659"/>
                <a:gd name="connsiteY13" fmla="*/ 791 h 342167"/>
                <a:gd name="connsiteX14" fmla="*/ 147272 w 156659"/>
                <a:gd name="connsiteY14" fmla="*/ 59275 h 342167"/>
                <a:gd name="connsiteX15" fmla="*/ 148509 w 156659"/>
                <a:gd name="connsiteY15" fmla="*/ 65276 h 342167"/>
                <a:gd name="connsiteX16" fmla="*/ 119886 w 156659"/>
                <a:gd name="connsiteY16" fmla="*/ 113377 h 342167"/>
                <a:gd name="connsiteX17" fmla="*/ 156591 w 156659"/>
                <a:gd name="connsiteY17" fmla="*/ 336738 h 342167"/>
                <a:gd name="connsiteX18" fmla="*/ 155831 w 156659"/>
                <a:gd name="connsiteY18" fmla="*/ 340072 h 342167"/>
                <a:gd name="connsiteX19" fmla="*/ 152883 w 156659"/>
                <a:gd name="connsiteY19" fmla="*/ 341882 h 342167"/>
                <a:gd name="connsiteX20" fmla="*/ 152122 w 156659"/>
                <a:gd name="connsiteY20" fmla="*/ 341882 h 342167"/>
                <a:gd name="connsiteX21" fmla="*/ 113990 w 156659"/>
                <a:gd name="connsiteY21" fmla="*/ 114996 h 342167"/>
                <a:gd name="connsiteX22" fmla="*/ 114275 w 156659"/>
                <a:gd name="connsiteY22" fmla="*/ 116711 h 342167"/>
                <a:gd name="connsiteX23" fmla="*/ 150601 w 156659"/>
                <a:gd name="connsiteY23" fmla="*/ 337881 h 342167"/>
                <a:gd name="connsiteX24" fmla="*/ 152502 w 156659"/>
                <a:gd name="connsiteY24" fmla="*/ 339215 h 342167"/>
                <a:gd name="connsiteX25" fmla="*/ 153549 w 156659"/>
                <a:gd name="connsiteY25" fmla="*/ 338548 h 342167"/>
                <a:gd name="connsiteX26" fmla="*/ 153834 w 156659"/>
                <a:gd name="connsiteY26" fmla="*/ 337310 h 342167"/>
                <a:gd name="connsiteX27" fmla="*/ 117033 w 156659"/>
                <a:gd name="connsiteY27" fmla="*/ 112996 h 342167"/>
                <a:gd name="connsiteX28" fmla="*/ 117319 w 156659"/>
                <a:gd name="connsiteY28" fmla="*/ 112520 h 342167"/>
                <a:gd name="connsiteX29" fmla="*/ 146226 w 156659"/>
                <a:gd name="connsiteY29" fmla="*/ 64037 h 342167"/>
                <a:gd name="connsiteX30" fmla="*/ 145751 w 156659"/>
                <a:gd name="connsiteY30" fmla="*/ 61847 h 342167"/>
                <a:gd name="connsiteX31" fmla="*/ 63401 w 156659"/>
                <a:gd name="connsiteY31" fmla="*/ 3363 h 342167"/>
                <a:gd name="connsiteX32" fmla="*/ 61404 w 156659"/>
                <a:gd name="connsiteY32" fmla="*/ 3363 h 342167"/>
                <a:gd name="connsiteX33" fmla="*/ 61024 w 156659"/>
                <a:gd name="connsiteY33" fmla="*/ 5363 h 342167"/>
                <a:gd name="connsiteX34" fmla="*/ 113134 w 156659"/>
                <a:gd name="connsiteY34" fmla="*/ 111758 h 342167"/>
                <a:gd name="connsiteX35" fmla="*/ 61404 w 156659"/>
                <a:gd name="connsiteY35" fmla="*/ 131951 h 342167"/>
                <a:gd name="connsiteX36" fmla="*/ 61024 w 156659"/>
                <a:gd name="connsiteY36" fmla="*/ 131951 h 342167"/>
                <a:gd name="connsiteX37" fmla="*/ 5015 w 156659"/>
                <a:gd name="connsiteY37" fmla="*/ 120044 h 342167"/>
                <a:gd name="connsiteX38" fmla="*/ 3018 w 156659"/>
                <a:gd name="connsiteY38" fmla="*/ 121283 h 342167"/>
                <a:gd name="connsiteX39" fmla="*/ 3208 w 156659"/>
                <a:gd name="connsiteY39" fmla="*/ 122521 h 342167"/>
                <a:gd name="connsiteX40" fmla="*/ 4254 w 156659"/>
                <a:gd name="connsiteY40" fmla="*/ 123188 h 342167"/>
                <a:gd name="connsiteX41" fmla="*/ 61119 w 156659"/>
                <a:gd name="connsiteY41" fmla="*/ 135189 h 342167"/>
                <a:gd name="connsiteX42" fmla="*/ 62070 w 156659"/>
                <a:gd name="connsiteY42" fmla="*/ 135189 h 342167"/>
                <a:gd name="connsiteX43" fmla="*/ 114085 w 156659"/>
                <a:gd name="connsiteY43" fmla="*/ 114901 h 342167"/>
                <a:gd name="connsiteX44" fmla="*/ 115417 w 156659"/>
                <a:gd name="connsiteY44" fmla="*/ 109281 h 342167"/>
                <a:gd name="connsiteX45" fmla="*/ 66729 w 156659"/>
                <a:gd name="connsiteY45" fmla="*/ 9935 h 342167"/>
                <a:gd name="connsiteX46" fmla="*/ 142518 w 156659"/>
                <a:gd name="connsiteY46" fmla="*/ 63752 h 342167"/>
                <a:gd name="connsiteX47" fmla="*/ 115417 w 156659"/>
                <a:gd name="connsiteY47" fmla="*/ 109281 h 342167"/>
                <a:gd name="connsiteX48" fmla="*/ 74242 w 156659"/>
                <a:gd name="connsiteY48" fmla="*/ 18698 h 342167"/>
                <a:gd name="connsiteX49" fmla="*/ 115702 w 156659"/>
                <a:gd name="connsiteY49" fmla="*/ 103280 h 342167"/>
                <a:gd name="connsiteX50" fmla="*/ 138714 w 156659"/>
                <a:gd name="connsiteY50" fmla="*/ 64514 h 342167"/>
                <a:gd name="connsiteX51" fmla="*/ 74242 w 156659"/>
                <a:gd name="connsiteY51" fmla="*/ 18698 h 3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6659" h="342167">
                  <a:moveTo>
                    <a:pt x="152217" y="342167"/>
                  </a:moveTo>
                  <a:cubicBezTo>
                    <a:pt x="150030" y="342167"/>
                    <a:pt x="148128" y="340548"/>
                    <a:pt x="147748" y="338357"/>
                  </a:cubicBezTo>
                  <a:lnTo>
                    <a:pt x="111708" y="118901"/>
                  </a:lnTo>
                  <a:lnTo>
                    <a:pt x="63021" y="137856"/>
                  </a:lnTo>
                  <a:cubicBezTo>
                    <a:pt x="62260" y="138142"/>
                    <a:pt x="61309" y="138237"/>
                    <a:pt x="60453" y="138047"/>
                  </a:cubicBezTo>
                  <a:lnTo>
                    <a:pt x="3588" y="126045"/>
                  </a:lnTo>
                  <a:cubicBezTo>
                    <a:pt x="2447" y="125759"/>
                    <a:pt x="1401" y="125093"/>
                    <a:pt x="736" y="124045"/>
                  </a:cubicBezTo>
                  <a:cubicBezTo>
                    <a:pt x="70" y="122997"/>
                    <a:pt x="-120" y="121854"/>
                    <a:pt x="70" y="120616"/>
                  </a:cubicBezTo>
                  <a:cubicBezTo>
                    <a:pt x="545" y="118235"/>
                    <a:pt x="2922" y="116615"/>
                    <a:pt x="5395" y="117092"/>
                  </a:cubicBezTo>
                  <a:lnTo>
                    <a:pt x="60929" y="128807"/>
                  </a:lnTo>
                  <a:lnTo>
                    <a:pt x="108950" y="110043"/>
                  </a:lnTo>
                  <a:lnTo>
                    <a:pt x="58266" y="6506"/>
                  </a:lnTo>
                  <a:cubicBezTo>
                    <a:pt x="57315" y="4697"/>
                    <a:pt x="57791" y="2411"/>
                    <a:pt x="59407" y="1077"/>
                  </a:cubicBezTo>
                  <a:cubicBezTo>
                    <a:pt x="61024" y="-256"/>
                    <a:pt x="63211" y="-352"/>
                    <a:pt x="64923" y="791"/>
                  </a:cubicBezTo>
                  <a:lnTo>
                    <a:pt x="147272" y="59275"/>
                  </a:lnTo>
                  <a:cubicBezTo>
                    <a:pt x="149174" y="60608"/>
                    <a:pt x="149745" y="63275"/>
                    <a:pt x="148509" y="65276"/>
                  </a:cubicBezTo>
                  <a:lnTo>
                    <a:pt x="119886" y="113377"/>
                  </a:lnTo>
                  <a:lnTo>
                    <a:pt x="156591" y="336738"/>
                  </a:lnTo>
                  <a:cubicBezTo>
                    <a:pt x="156782" y="337881"/>
                    <a:pt x="156591" y="339119"/>
                    <a:pt x="155831" y="340072"/>
                  </a:cubicBezTo>
                  <a:cubicBezTo>
                    <a:pt x="155070" y="341024"/>
                    <a:pt x="154119" y="341691"/>
                    <a:pt x="152883" y="341882"/>
                  </a:cubicBezTo>
                  <a:cubicBezTo>
                    <a:pt x="152598" y="341882"/>
                    <a:pt x="152407" y="341882"/>
                    <a:pt x="152122" y="341882"/>
                  </a:cubicBezTo>
                  <a:close/>
                  <a:moveTo>
                    <a:pt x="113990" y="114996"/>
                  </a:moveTo>
                  <a:lnTo>
                    <a:pt x="114275" y="116711"/>
                  </a:lnTo>
                  <a:lnTo>
                    <a:pt x="150601" y="337881"/>
                  </a:lnTo>
                  <a:cubicBezTo>
                    <a:pt x="150791" y="338738"/>
                    <a:pt x="151647" y="339405"/>
                    <a:pt x="152502" y="339215"/>
                  </a:cubicBezTo>
                  <a:cubicBezTo>
                    <a:pt x="152978" y="339215"/>
                    <a:pt x="153358" y="338929"/>
                    <a:pt x="153549" y="338548"/>
                  </a:cubicBezTo>
                  <a:cubicBezTo>
                    <a:pt x="153834" y="338167"/>
                    <a:pt x="153929" y="337786"/>
                    <a:pt x="153834" y="337310"/>
                  </a:cubicBezTo>
                  <a:lnTo>
                    <a:pt x="117033" y="112996"/>
                  </a:lnTo>
                  <a:lnTo>
                    <a:pt x="117319" y="112520"/>
                  </a:lnTo>
                  <a:lnTo>
                    <a:pt x="146226" y="64037"/>
                  </a:lnTo>
                  <a:cubicBezTo>
                    <a:pt x="146702" y="63275"/>
                    <a:pt x="146417" y="62323"/>
                    <a:pt x="145751" y="61847"/>
                  </a:cubicBezTo>
                  <a:lnTo>
                    <a:pt x="63401" y="3363"/>
                  </a:lnTo>
                  <a:cubicBezTo>
                    <a:pt x="62831" y="2887"/>
                    <a:pt x="61975" y="2982"/>
                    <a:pt x="61404" y="3363"/>
                  </a:cubicBezTo>
                  <a:cubicBezTo>
                    <a:pt x="60834" y="3839"/>
                    <a:pt x="60643" y="4697"/>
                    <a:pt x="61024" y="5363"/>
                  </a:cubicBezTo>
                  <a:lnTo>
                    <a:pt x="113134" y="111758"/>
                  </a:lnTo>
                  <a:lnTo>
                    <a:pt x="61404" y="131951"/>
                  </a:lnTo>
                  <a:lnTo>
                    <a:pt x="61024" y="131951"/>
                  </a:lnTo>
                  <a:cubicBezTo>
                    <a:pt x="61024" y="131951"/>
                    <a:pt x="5015" y="120044"/>
                    <a:pt x="5015" y="120044"/>
                  </a:cubicBezTo>
                  <a:cubicBezTo>
                    <a:pt x="4159" y="119854"/>
                    <a:pt x="3208" y="120425"/>
                    <a:pt x="3018" y="121283"/>
                  </a:cubicBezTo>
                  <a:cubicBezTo>
                    <a:pt x="3018" y="121664"/>
                    <a:pt x="3018" y="122140"/>
                    <a:pt x="3208" y="122521"/>
                  </a:cubicBezTo>
                  <a:cubicBezTo>
                    <a:pt x="3493" y="122902"/>
                    <a:pt x="3779" y="123188"/>
                    <a:pt x="4254" y="123188"/>
                  </a:cubicBezTo>
                  <a:lnTo>
                    <a:pt x="61119" y="135189"/>
                  </a:lnTo>
                  <a:cubicBezTo>
                    <a:pt x="61119" y="135189"/>
                    <a:pt x="61784" y="135189"/>
                    <a:pt x="62070" y="135189"/>
                  </a:cubicBezTo>
                  <a:lnTo>
                    <a:pt x="114085" y="114901"/>
                  </a:lnTo>
                  <a:close/>
                  <a:moveTo>
                    <a:pt x="115417" y="109281"/>
                  </a:moveTo>
                  <a:lnTo>
                    <a:pt x="66729" y="9935"/>
                  </a:lnTo>
                  <a:lnTo>
                    <a:pt x="142518" y="63752"/>
                  </a:lnTo>
                  <a:lnTo>
                    <a:pt x="115417" y="109281"/>
                  </a:lnTo>
                  <a:close/>
                  <a:moveTo>
                    <a:pt x="74242" y="18698"/>
                  </a:moveTo>
                  <a:lnTo>
                    <a:pt x="115702" y="103280"/>
                  </a:lnTo>
                  <a:lnTo>
                    <a:pt x="138714" y="64514"/>
                  </a:lnTo>
                  <a:lnTo>
                    <a:pt x="74242" y="18698"/>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9" name="Freeform 30">
              <a:extLst>
                <a:ext uri="{FF2B5EF4-FFF2-40B4-BE49-F238E27FC236}">
                  <a16:creationId xmlns:a16="http://schemas.microsoft.com/office/drawing/2014/main" id="{690993A7-8F1E-40EA-399B-DDAD0F4E2E1B}"/>
                </a:ext>
              </a:extLst>
            </p:cNvPr>
            <p:cNvSpPr/>
            <p:nvPr/>
          </p:nvSpPr>
          <p:spPr>
            <a:xfrm>
              <a:off x="12392606" y="1062442"/>
              <a:ext cx="72913" cy="110621"/>
            </a:xfrm>
            <a:custGeom>
              <a:avLst/>
              <a:gdLst>
                <a:gd name="connsiteX0" fmla="*/ 34934 w 72913"/>
                <a:gd name="connsiteY0" fmla="*/ 110621 h 110621"/>
                <a:gd name="connsiteX1" fmla="*/ 34934 w 72913"/>
                <a:gd name="connsiteY1" fmla="*/ 110621 h 110621"/>
                <a:gd name="connsiteX2" fmla="*/ 32082 w 72913"/>
                <a:gd name="connsiteY2" fmla="*/ 108430 h 110621"/>
                <a:gd name="connsiteX3" fmla="*/ 131 w 72913"/>
                <a:gd name="connsiteY3" fmla="*/ 3941 h 110621"/>
                <a:gd name="connsiteX4" fmla="*/ 2128 w 72913"/>
                <a:gd name="connsiteY4" fmla="*/ 131 h 110621"/>
                <a:gd name="connsiteX5" fmla="*/ 5932 w 72913"/>
                <a:gd name="connsiteY5" fmla="*/ 2131 h 110621"/>
                <a:gd name="connsiteX6" fmla="*/ 35220 w 72913"/>
                <a:gd name="connsiteY6" fmla="*/ 97762 h 110621"/>
                <a:gd name="connsiteX7" fmla="*/ 66980 w 72913"/>
                <a:gd name="connsiteY7" fmla="*/ 9942 h 110621"/>
                <a:gd name="connsiteX8" fmla="*/ 70879 w 72913"/>
                <a:gd name="connsiteY8" fmla="*/ 8132 h 110621"/>
                <a:gd name="connsiteX9" fmla="*/ 72686 w 72913"/>
                <a:gd name="connsiteY9" fmla="*/ 12037 h 110621"/>
                <a:gd name="connsiteX10" fmla="*/ 37787 w 72913"/>
                <a:gd name="connsiteY10" fmla="*/ 108526 h 110621"/>
                <a:gd name="connsiteX11" fmla="*/ 34934 w 72913"/>
                <a:gd name="connsiteY11" fmla="*/ 110526 h 11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913" h="110621">
                  <a:moveTo>
                    <a:pt x="34934" y="110621"/>
                  </a:moveTo>
                  <a:cubicBezTo>
                    <a:pt x="34934" y="110621"/>
                    <a:pt x="34934" y="110621"/>
                    <a:pt x="34934" y="110621"/>
                  </a:cubicBezTo>
                  <a:cubicBezTo>
                    <a:pt x="33603" y="110621"/>
                    <a:pt x="32462" y="109669"/>
                    <a:pt x="32082" y="108430"/>
                  </a:cubicBezTo>
                  <a:lnTo>
                    <a:pt x="131" y="3941"/>
                  </a:lnTo>
                  <a:cubicBezTo>
                    <a:pt x="-345" y="2322"/>
                    <a:pt x="511" y="607"/>
                    <a:pt x="2128" y="131"/>
                  </a:cubicBezTo>
                  <a:cubicBezTo>
                    <a:pt x="3744" y="-345"/>
                    <a:pt x="5456" y="512"/>
                    <a:pt x="5932" y="2131"/>
                  </a:cubicBezTo>
                  <a:lnTo>
                    <a:pt x="35220" y="97762"/>
                  </a:lnTo>
                  <a:lnTo>
                    <a:pt x="66980" y="9942"/>
                  </a:lnTo>
                  <a:cubicBezTo>
                    <a:pt x="67551" y="8323"/>
                    <a:pt x="69358" y="7561"/>
                    <a:pt x="70879" y="8132"/>
                  </a:cubicBezTo>
                  <a:cubicBezTo>
                    <a:pt x="72496" y="8704"/>
                    <a:pt x="73352" y="10513"/>
                    <a:pt x="72686" y="12037"/>
                  </a:cubicBezTo>
                  <a:lnTo>
                    <a:pt x="37787" y="108526"/>
                  </a:lnTo>
                  <a:cubicBezTo>
                    <a:pt x="37312" y="109764"/>
                    <a:pt x="36171" y="110526"/>
                    <a:pt x="34934" y="11052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 name="Freeform 62">
              <a:extLst>
                <a:ext uri="{FF2B5EF4-FFF2-40B4-BE49-F238E27FC236}">
                  <a16:creationId xmlns:a16="http://schemas.microsoft.com/office/drawing/2014/main" id="{6BE46105-1974-5F4A-5B26-A4ABB57248BB}"/>
                </a:ext>
              </a:extLst>
            </p:cNvPr>
            <p:cNvSpPr/>
            <p:nvPr/>
          </p:nvSpPr>
          <p:spPr>
            <a:xfrm>
              <a:off x="12391096" y="1061025"/>
              <a:ext cx="75856" cy="113466"/>
            </a:xfrm>
            <a:custGeom>
              <a:avLst/>
              <a:gdLst>
                <a:gd name="connsiteX0" fmla="*/ 36444 w 75856"/>
                <a:gd name="connsiteY0" fmla="*/ 113467 h 113466"/>
                <a:gd name="connsiteX1" fmla="*/ 36444 w 75856"/>
                <a:gd name="connsiteY1" fmla="*/ 113467 h 113466"/>
                <a:gd name="connsiteX2" fmla="*/ 32165 w 75856"/>
                <a:gd name="connsiteY2" fmla="*/ 110324 h 113466"/>
                <a:gd name="connsiteX3" fmla="*/ 214 w 75856"/>
                <a:gd name="connsiteY3" fmla="*/ 5834 h 113466"/>
                <a:gd name="connsiteX4" fmla="*/ 3162 w 75856"/>
                <a:gd name="connsiteY4" fmla="*/ 215 h 113466"/>
                <a:gd name="connsiteX5" fmla="*/ 8772 w 75856"/>
                <a:gd name="connsiteY5" fmla="*/ 3167 h 113466"/>
                <a:gd name="connsiteX6" fmla="*/ 36729 w 75856"/>
                <a:gd name="connsiteY6" fmla="*/ 94703 h 113466"/>
                <a:gd name="connsiteX7" fmla="*/ 67064 w 75856"/>
                <a:gd name="connsiteY7" fmla="*/ 10883 h 113466"/>
                <a:gd name="connsiteX8" fmla="*/ 72865 w 75856"/>
                <a:gd name="connsiteY8" fmla="*/ 8216 h 113466"/>
                <a:gd name="connsiteX9" fmla="*/ 75622 w 75856"/>
                <a:gd name="connsiteY9" fmla="*/ 14026 h 113466"/>
                <a:gd name="connsiteX10" fmla="*/ 40723 w 75856"/>
                <a:gd name="connsiteY10" fmla="*/ 110514 h 113466"/>
                <a:gd name="connsiteX11" fmla="*/ 36444 w 75856"/>
                <a:gd name="connsiteY11" fmla="*/ 113467 h 113466"/>
                <a:gd name="connsiteX12" fmla="*/ 4493 w 75856"/>
                <a:gd name="connsiteY12" fmla="*/ 2786 h 113466"/>
                <a:gd name="connsiteX13" fmla="*/ 4018 w 75856"/>
                <a:gd name="connsiteY13" fmla="*/ 2786 h 113466"/>
                <a:gd name="connsiteX14" fmla="*/ 2877 w 75856"/>
                <a:gd name="connsiteY14" fmla="*/ 4882 h 113466"/>
                <a:gd name="connsiteX15" fmla="*/ 34828 w 75856"/>
                <a:gd name="connsiteY15" fmla="*/ 109371 h 113466"/>
                <a:gd name="connsiteX16" fmla="*/ 36349 w 75856"/>
                <a:gd name="connsiteY16" fmla="*/ 110514 h 113466"/>
                <a:gd name="connsiteX17" fmla="*/ 36349 w 75856"/>
                <a:gd name="connsiteY17" fmla="*/ 111943 h 113466"/>
                <a:gd name="connsiteX18" fmla="*/ 36349 w 75856"/>
                <a:gd name="connsiteY18" fmla="*/ 110514 h 113466"/>
                <a:gd name="connsiteX19" fmla="*/ 37871 w 75856"/>
                <a:gd name="connsiteY19" fmla="*/ 109466 h 113466"/>
                <a:gd name="connsiteX20" fmla="*/ 72769 w 75856"/>
                <a:gd name="connsiteY20" fmla="*/ 12978 h 113466"/>
                <a:gd name="connsiteX21" fmla="*/ 71818 w 75856"/>
                <a:gd name="connsiteY21" fmla="*/ 10883 h 113466"/>
                <a:gd name="connsiteX22" fmla="*/ 69726 w 75856"/>
                <a:gd name="connsiteY22" fmla="*/ 11835 h 113466"/>
                <a:gd name="connsiteX23" fmla="*/ 36444 w 75856"/>
                <a:gd name="connsiteY23" fmla="*/ 103656 h 113466"/>
                <a:gd name="connsiteX24" fmla="*/ 5920 w 75856"/>
                <a:gd name="connsiteY24" fmla="*/ 3929 h 113466"/>
                <a:gd name="connsiteX25" fmla="*/ 4303 w 75856"/>
                <a:gd name="connsiteY25" fmla="*/ 2786 h 11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5856" h="113466">
                  <a:moveTo>
                    <a:pt x="36444" y="113467"/>
                  </a:moveTo>
                  <a:lnTo>
                    <a:pt x="36444" y="113467"/>
                  </a:lnTo>
                  <a:cubicBezTo>
                    <a:pt x="34447" y="113467"/>
                    <a:pt x="32831" y="112133"/>
                    <a:pt x="32165" y="110324"/>
                  </a:cubicBezTo>
                  <a:lnTo>
                    <a:pt x="214" y="5834"/>
                  </a:lnTo>
                  <a:cubicBezTo>
                    <a:pt x="-546" y="3453"/>
                    <a:pt x="785" y="881"/>
                    <a:pt x="3162" y="215"/>
                  </a:cubicBezTo>
                  <a:cubicBezTo>
                    <a:pt x="5539" y="-547"/>
                    <a:pt x="8012" y="786"/>
                    <a:pt x="8772" y="3167"/>
                  </a:cubicBezTo>
                  <a:lnTo>
                    <a:pt x="36729" y="94703"/>
                  </a:lnTo>
                  <a:lnTo>
                    <a:pt x="67064" y="10883"/>
                  </a:lnTo>
                  <a:cubicBezTo>
                    <a:pt x="67920" y="8501"/>
                    <a:pt x="70487" y="7358"/>
                    <a:pt x="72865" y="8216"/>
                  </a:cubicBezTo>
                  <a:cubicBezTo>
                    <a:pt x="75242" y="9073"/>
                    <a:pt x="76383" y="11645"/>
                    <a:pt x="75622" y="14026"/>
                  </a:cubicBezTo>
                  <a:lnTo>
                    <a:pt x="40723" y="110514"/>
                  </a:lnTo>
                  <a:cubicBezTo>
                    <a:pt x="40058" y="112324"/>
                    <a:pt x="38346" y="113467"/>
                    <a:pt x="36444" y="113467"/>
                  </a:cubicBezTo>
                  <a:close/>
                  <a:moveTo>
                    <a:pt x="4493" y="2786"/>
                  </a:moveTo>
                  <a:cubicBezTo>
                    <a:pt x="4493" y="2786"/>
                    <a:pt x="4208" y="2786"/>
                    <a:pt x="4018" y="2786"/>
                  </a:cubicBezTo>
                  <a:cubicBezTo>
                    <a:pt x="3162" y="3072"/>
                    <a:pt x="2687" y="4025"/>
                    <a:pt x="2877" y="4882"/>
                  </a:cubicBezTo>
                  <a:lnTo>
                    <a:pt x="34828" y="109371"/>
                  </a:lnTo>
                  <a:cubicBezTo>
                    <a:pt x="35018" y="110038"/>
                    <a:pt x="35684" y="110514"/>
                    <a:pt x="36349" y="110514"/>
                  </a:cubicBezTo>
                  <a:lnTo>
                    <a:pt x="36349" y="111943"/>
                  </a:lnTo>
                  <a:cubicBezTo>
                    <a:pt x="36349" y="111943"/>
                    <a:pt x="36349" y="110514"/>
                    <a:pt x="36349" y="110514"/>
                  </a:cubicBezTo>
                  <a:cubicBezTo>
                    <a:pt x="37015" y="110514"/>
                    <a:pt x="37680" y="110038"/>
                    <a:pt x="37871" y="109466"/>
                  </a:cubicBezTo>
                  <a:lnTo>
                    <a:pt x="72769" y="12978"/>
                  </a:lnTo>
                  <a:cubicBezTo>
                    <a:pt x="73055" y="12121"/>
                    <a:pt x="72674" y="11168"/>
                    <a:pt x="71818" y="10883"/>
                  </a:cubicBezTo>
                  <a:cubicBezTo>
                    <a:pt x="70963" y="10502"/>
                    <a:pt x="70012" y="10978"/>
                    <a:pt x="69726" y="11835"/>
                  </a:cubicBezTo>
                  <a:lnTo>
                    <a:pt x="36444" y="103656"/>
                  </a:lnTo>
                  <a:lnTo>
                    <a:pt x="5920" y="3929"/>
                  </a:lnTo>
                  <a:cubicBezTo>
                    <a:pt x="5730" y="3263"/>
                    <a:pt x="5064" y="2786"/>
                    <a:pt x="4303" y="278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 name="Freeform 63">
              <a:extLst>
                <a:ext uri="{FF2B5EF4-FFF2-40B4-BE49-F238E27FC236}">
                  <a16:creationId xmlns:a16="http://schemas.microsoft.com/office/drawing/2014/main" id="{A83956D0-16A2-66EA-B439-5A86EB07DD5C}"/>
                </a:ext>
              </a:extLst>
            </p:cNvPr>
            <p:cNvSpPr/>
            <p:nvPr/>
          </p:nvSpPr>
          <p:spPr>
            <a:xfrm>
              <a:off x="12206897" y="979504"/>
              <a:ext cx="286708" cy="339196"/>
            </a:xfrm>
            <a:custGeom>
              <a:avLst/>
              <a:gdLst>
                <a:gd name="connsiteX0" fmla="*/ 113855 w 286708"/>
                <a:gd name="connsiteY0" fmla="*/ 339101 h 339196"/>
                <a:gd name="connsiteX1" fmla="*/ 113855 w 286708"/>
                <a:gd name="connsiteY1" fmla="*/ 339101 h 339196"/>
                <a:gd name="connsiteX2" fmla="*/ 66499 w 286708"/>
                <a:gd name="connsiteY2" fmla="*/ 339101 h 339196"/>
                <a:gd name="connsiteX3" fmla="*/ 63551 w 286708"/>
                <a:gd name="connsiteY3" fmla="*/ 336910 h 339196"/>
                <a:gd name="connsiteX4" fmla="*/ 125 w 286708"/>
                <a:gd name="connsiteY4" fmla="*/ 120979 h 339196"/>
                <a:gd name="connsiteX5" fmla="*/ 315 w 286708"/>
                <a:gd name="connsiteY5" fmla="*/ 118693 h 339196"/>
                <a:gd name="connsiteX6" fmla="*/ 58226 w 286708"/>
                <a:gd name="connsiteY6" fmla="*/ 1726 h 339196"/>
                <a:gd name="connsiteX7" fmla="*/ 61745 w 286708"/>
                <a:gd name="connsiteY7" fmla="*/ 106 h 339196"/>
                <a:gd name="connsiteX8" fmla="*/ 64122 w 286708"/>
                <a:gd name="connsiteY8" fmla="*/ 3154 h 339196"/>
                <a:gd name="connsiteX9" fmla="*/ 63171 w 286708"/>
                <a:gd name="connsiteY9" fmla="*/ 131742 h 339196"/>
                <a:gd name="connsiteX10" fmla="*/ 116327 w 286708"/>
                <a:gd name="connsiteY10" fmla="*/ 333005 h 339196"/>
                <a:gd name="connsiteX11" fmla="*/ 231674 w 286708"/>
                <a:gd name="connsiteY11" fmla="*/ 333005 h 339196"/>
                <a:gd name="connsiteX12" fmla="*/ 279600 w 286708"/>
                <a:gd name="connsiteY12" fmla="*/ 214895 h 339196"/>
                <a:gd name="connsiteX13" fmla="*/ 220168 w 286708"/>
                <a:gd name="connsiteY13" fmla="*/ 193654 h 339196"/>
                <a:gd name="connsiteX14" fmla="*/ 157692 w 286708"/>
                <a:gd name="connsiteY14" fmla="*/ 190225 h 339196"/>
                <a:gd name="connsiteX15" fmla="*/ 155315 w 286708"/>
                <a:gd name="connsiteY15" fmla="*/ 188892 h 339196"/>
                <a:gd name="connsiteX16" fmla="*/ 154935 w 286708"/>
                <a:gd name="connsiteY16" fmla="*/ 186225 h 339196"/>
                <a:gd name="connsiteX17" fmla="*/ 185840 w 286708"/>
                <a:gd name="connsiteY17" fmla="*/ 85260 h 339196"/>
                <a:gd name="connsiteX18" fmla="*/ 189168 w 286708"/>
                <a:gd name="connsiteY18" fmla="*/ 83069 h 339196"/>
                <a:gd name="connsiteX19" fmla="*/ 256018 w 286708"/>
                <a:gd name="connsiteY19" fmla="*/ 91070 h 339196"/>
                <a:gd name="connsiteX20" fmla="*/ 258680 w 286708"/>
                <a:gd name="connsiteY20" fmla="*/ 93451 h 339196"/>
                <a:gd name="connsiteX21" fmla="*/ 286637 w 286708"/>
                <a:gd name="connsiteY21" fmla="*/ 212419 h 339196"/>
                <a:gd name="connsiteX22" fmla="*/ 286637 w 286708"/>
                <a:gd name="connsiteY22" fmla="*/ 214133 h 339196"/>
                <a:gd name="connsiteX23" fmla="*/ 286637 w 286708"/>
                <a:gd name="connsiteY23" fmla="*/ 214324 h 339196"/>
                <a:gd name="connsiteX24" fmla="*/ 286637 w 286708"/>
                <a:gd name="connsiteY24" fmla="*/ 214324 h 339196"/>
                <a:gd name="connsiteX25" fmla="*/ 236714 w 286708"/>
                <a:gd name="connsiteY25" fmla="*/ 337291 h 339196"/>
                <a:gd name="connsiteX26" fmla="*/ 233861 w 286708"/>
                <a:gd name="connsiteY26" fmla="*/ 339196 h 339196"/>
                <a:gd name="connsiteX27" fmla="*/ 114140 w 286708"/>
                <a:gd name="connsiteY27" fmla="*/ 339196 h 339196"/>
                <a:gd name="connsiteX28" fmla="*/ 114140 w 286708"/>
                <a:gd name="connsiteY28" fmla="*/ 339196 h 339196"/>
                <a:gd name="connsiteX29" fmla="*/ 68781 w 286708"/>
                <a:gd name="connsiteY29" fmla="*/ 332910 h 339196"/>
                <a:gd name="connsiteX30" fmla="*/ 109861 w 286708"/>
                <a:gd name="connsiteY30" fmla="*/ 332910 h 339196"/>
                <a:gd name="connsiteX31" fmla="*/ 56990 w 286708"/>
                <a:gd name="connsiteY31" fmla="*/ 132790 h 339196"/>
                <a:gd name="connsiteX32" fmla="*/ 56895 w 286708"/>
                <a:gd name="connsiteY32" fmla="*/ 131932 h 339196"/>
                <a:gd name="connsiteX33" fmla="*/ 57751 w 286708"/>
                <a:gd name="connsiteY33" fmla="*/ 16394 h 339196"/>
                <a:gd name="connsiteX34" fmla="*/ 6306 w 286708"/>
                <a:gd name="connsiteY34" fmla="*/ 120312 h 339196"/>
                <a:gd name="connsiteX35" fmla="*/ 68686 w 286708"/>
                <a:gd name="connsiteY35" fmla="*/ 332910 h 339196"/>
                <a:gd name="connsiteX36" fmla="*/ 161876 w 286708"/>
                <a:gd name="connsiteY36" fmla="*/ 184129 h 339196"/>
                <a:gd name="connsiteX37" fmla="*/ 220834 w 286708"/>
                <a:gd name="connsiteY37" fmla="*/ 187368 h 339196"/>
                <a:gd name="connsiteX38" fmla="*/ 221689 w 286708"/>
                <a:gd name="connsiteY38" fmla="*/ 187558 h 339196"/>
                <a:gd name="connsiteX39" fmla="*/ 279220 w 286708"/>
                <a:gd name="connsiteY39" fmla="*/ 208132 h 339196"/>
                <a:gd name="connsiteX40" fmla="*/ 253070 w 286708"/>
                <a:gd name="connsiteY40" fmla="*/ 96785 h 339196"/>
                <a:gd name="connsiteX41" fmla="*/ 190879 w 286708"/>
                <a:gd name="connsiteY41" fmla="*/ 89356 h 339196"/>
                <a:gd name="connsiteX42" fmla="*/ 161876 w 286708"/>
                <a:gd name="connsiteY42" fmla="*/ 184129 h 33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86708" h="339196">
                  <a:moveTo>
                    <a:pt x="113855" y="339101"/>
                  </a:moveTo>
                  <a:cubicBezTo>
                    <a:pt x="113855" y="339101"/>
                    <a:pt x="113855" y="339101"/>
                    <a:pt x="113855" y="339101"/>
                  </a:cubicBezTo>
                  <a:lnTo>
                    <a:pt x="66499" y="339101"/>
                  </a:lnTo>
                  <a:cubicBezTo>
                    <a:pt x="65168" y="339101"/>
                    <a:pt x="63932" y="338244"/>
                    <a:pt x="63551" y="336910"/>
                  </a:cubicBezTo>
                  <a:lnTo>
                    <a:pt x="125" y="120979"/>
                  </a:lnTo>
                  <a:cubicBezTo>
                    <a:pt x="-65" y="120217"/>
                    <a:pt x="-65" y="119455"/>
                    <a:pt x="315" y="118693"/>
                  </a:cubicBezTo>
                  <a:lnTo>
                    <a:pt x="58226" y="1726"/>
                  </a:lnTo>
                  <a:cubicBezTo>
                    <a:pt x="58892" y="392"/>
                    <a:pt x="60318" y="-275"/>
                    <a:pt x="61745" y="106"/>
                  </a:cubicBezTo>
                  <a:cubicBezTo>
                    <a:pt x="63171" y="392"/>
                    <a:pt x="64122" y="1726"/>
                    <a:pt x="64122" y="3154"/>
                  </a:cubicBezTo>
                  <a:lnTo>
                    <a:pt x="63171" y="131742"/>
                  </a:lnTo>
                  <a:lnTo>
                    <a:pt x="116327" y="333005"/>
                  </a:lnTo>
                  <a:lnTo>
                    <a:pt x="231674" y="333005"/>
                  </a:lnTo>
                  <a:lnTo>
                    <a:pt x="279600" y="214895"/>
                  </a:lnTo>
                  <a:lnTo>
                    <a:pt x="220168" y="193654"/>
                  </a:lnTo>
                  <a:lnTo>
                    <a:pt x="157692" y="190225"/>
                  </a:lnTo>
                  <a:cubicBezTo>
                    <a:pt x="156741" y="190225"/>
                    <a:pt x="155886" y="189654"/>
                    <a:pt x="155315" y="188892"/>
                  </a:cubicBezTo>
                  <a:cubicBezTo>
                    <a:pt x="154745" y="188130"/>
                    <a:pt x="154649" y="187082"/>
                    <a:pt x="154935" y="186225"/>
                  </a:cubicBezTo>
                  <a:lnTo>
                    <a:pt x="185840" y="85260"/>
                  </a:lnTo>
                  <a:cubicBezTo>
                    <a:pt x="186315" y="83831"/>
                    <a:pt x="187646" y="82879"/>
                    <a:pt x="189168" y="83069"/>
                  </a:cubicBezTo>
                  <a:lnTo>
                    <a:pt x="256018" y="91070"/>
                  </a:lnTo>
                  <a:cubicBezTo>
                    <a:pt x="257349" y="91261"/>
                    <a:pt x="258395" y="92118"/>
                    <a:pt x="258680" y="93451"/>
                  </a:cubicBezTo>
                  <a:lnTo>
                    <a:pt x="286637" y="212419"/>
                  </a:lnTo>
                  <a:cubicBezTo>
                    <a:pt x="286732" y="212990"/>
                    <a:pt x="286732" y="213562"/>
                    <a:pt x="286637" y="214133"/>
                  </a:cubicBezTo>
                  <a:cubicBezTo>
                    <a:pt x="286637" y="214133"/>
                    <a:pt x="286637" y="214228"/>
                    <a:pt x="286637" y="214324"/>
                  </a:cubicBezTo>
                  <a:cubicBezTo>
                    <a:pt x="286637" y="214324"/>
                    <a:pt x="286637" y="214324"/>
                    <a:pt x="286637" y="214324"/>
                  </a:cubicBezTo>
                  <a:lnTo>
                    <a:pt x="236714" y="337291"/>
                  </a:lnTo>
                  <a:cubicBezTo>
                    <a:pt x="236239" y="338434"/>
                    <a:pt x="235097" y="339196"/>
                    <a:pt x="233861" y="339196"/>
                  </a:cubicBezTo>
                  <a:lnTo>
                    <a:pt x="114140" y="339196"/>
                  </a:lnTo>
                  <a:cubicBezTo>
                    <a:pt x="114140" y="339196"/>
                    <a:pt x="114140" y="339196"/>
                    <a:pt x="114140" y="339196"/>
                  </a:cubicBezTo>
                  <a:close/>
                  <a:moveTo>
                    <a:pt x="68781" y="332910"/>
                  </a:moveTo>
                  <a:lnTo>
                    <a:pt x="109861" y="332910"/>
                  </a:lnTo>
                  <a:lnTo>
                    <a:pt x="56990" y="132790"/>
                  </a:lnTo>
                  <a:cubicBezTo>
                    <a:pt x="56990" y="132790"/>
                    <a:pt x="56895" y="132218"/>
                    <a:pt x="56895" y="131932"/>
                  </a:cubicBezTo>
                  <a:lnTo>
                    <a:pt x="57751" y="16394"/>
                  </a:lnTo>
                  <a:lnTo>
                    <a:pt x="6306" y="120312"/>
                  </a:lnTo>
                  <a:lnTo>
                    <a:pt x="68686" y="332910"/>
                  </a:lnTo>
                  <a:close/>
                  <a:moveTo>
                    <a:pt x="161876" y="184129"/>
                  </a:moveTo>
                  <a:lnTo>
                    <a:pt x="220834" y="187368"/>
                  </a:lnTo>
                  <a:cubicBezTo>
                    <a:pt x="220834" y="187368"/>
                    <a:pt x="221404" y="187368"/>
                    <a:pt x="221689" y="187558"/>
                  </a:cubicBezTo>
                  <a:lnTo>
                    <a:pt x="279220" y="208132"/>
                  </a:lnTo>
                  <a:lnTo>
                    <a:pt x="253070" y="96785"/>
                  </a:lnTo>
                  <a:lnTo>
                    <a:pt x="190879" y="89356"/>
                  </a:lnTo>
                  <a:lnTo>
                    <a:pt x="161876" y="184129"/>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 name="Freeform 64">
              <a:extLst>
                <a:ext uri="{FF2B5EF4-FFF2-40B4-BE49-F238E27FC236}">
                  <a16:creationId xmlns:a16="http://schemas.microsoft.com/office/drawing/2014/main" id="{7E70DCAF-75BE-50B8-4300-99A0703CCC03}"/>
                </a:ext>
              </a:extLst>
            </p:cNvPr>
            <p:cNvSpPr/>
            <p:nvPr/>
          </p:nvSpPr>
          <p:spPr>
            <a:xfrm>
              <a:off x="12205530" y="978155"/>
              <a:ext cx="289573" cy="342068"/>
            </a:xfrm>
            <a:custGeom>
              <a:avLst/>
              <a:gdLst>
                <a:gd name="connsiteX0" fmla="*/ 235038 w 289573"/>
                <a:gd name="connsiteY0" fmla="*/ 341878 h 342068"/>
                <a:gd name="connsiteX1" fmla="*/ 67866 w 289573"/>
                <a:gd name="connsiteY1" fmla="*/ 341878 h 342068"/>
                <a:gd name="connsiteX2" fmla="*/ 63587 w 289573"/>
                <a:gd name="connsiteY2" fmla="*/ 338640 h 342068"/>
                <a:gd name="connsiteX3" fmla="*/ 161 w 289573"/>
                <a:gd name="connsiteY3" fmla="*/ 122708 h 342068"/>
                <a:gd name="connsiteX4" fmla="*/ 446 w 289573"/>
                <a:gd name="connsiteY4" fmla="*/ 119470 h 342068"/>
                <a:gd name="connsiteX5" fmla="*/ 58357 w 289573"/>
                <a:gd name="connsiteY5" fmla="*/ 2503 h 342068"/>
                <a:gd name="connsiteX6" fmla="*/ 63397 w 289573"/>
                <a:gd name="connsiteY6" fmla="*/ 121 h 342068"/>
                <a:gd name="connsiteX7" fmla="*/ 66915 w 289573"/>
                <a:gd name="connsiteY7" fmla="*/ 4503 h 342068"/>
                <a:gd name="connsiteX8" fmla="*/ 65964 w 289573"/>
                <a:gd name="connsiteY8" fmla="*/ 132900 h 342068"/>
                <a:gd name="connsiteX9" fmla="*/ 118835 w 289573"/>
                <a:gd name="connsiteY9" fmla="*/ 332925 h 342068"/>
                <a:gd name="connsiteX10" fmla="*/ 232090 w 289573"/>
                <a:gd name="connsiteY10" fmla="*/ 332925 h 342068"/>
                <a:gd name="connsiteX11" fmla="*/ 279065 w 289573"/>
                <a:gd name="connsiteY11" fmla="*/ 217101 h 342068"/>
                <a:gd name="connsiteX12" fmla="*/ 221250 w 289573"/>
                <a:gd name="connsiteY12" fmla="*/ 196432 h 342068"/>
                <a:gd name="connsiteX13" fmla="*/ 159059 w 289573"/>
                <a:gd name="connsiteY13" fmla="*/ 193003 h 342068"/>
                <a:gd name="connsiteX14" fmla="*/ 155636 w 289573"/>
                <a:gd name="connsiteY14" fmla="*/ 191098 h 342068"/>
                <a:gd name="connsiteX15" fmla="*/ 155065 w 289573"/>
                <a:gd name="connsiteY15" fmla="*/ 187192 h 342068"/>
                <a:gd name="connsiteX16" fmla="*/ 185970 w 289573"/>
                <a:gd name="connsiteY16" fmla="*/ 86227 h 342068"/>
                <a:gd name="connsiteX17" fmla="*/ 190820 w 289573"/>
                <a:gd name="connsiteY17" fmla="*/ 83084 h 342068"/>
                <a:gd name="connsiteX18" fmla="*/ 257670 w 289573"/>
                <a:gd name="connsiteY18" fmla="*/ 91085 h 342068"/>
                <a:gd name="connsiteX19" fmla="*/ 261473 w 289573"/>
                <a:gd name="connsiteY19" fmla="*/ 94514 h 342068"/>
                <a:gd name="connsiteX20" fmla="*/ 289430 w 289573"/>
                <a:gd name="connsiteY20" fmla="*/ 213481 h 342068"/>
                <a:gd name="connsiteX21" fmla="*/ 289430 w 289573"/>
                <a:gd name="connsiteY21" fmla="*/ 215958 h 342068"/>
                <a:gd name="connsiteX22" fmla="*/ 289145 w 289573"/>
                <a:gd name="connsiteY22" fmla="*/ 216529 h 342068"/>
                <a:gd name="connsiteX23" fmla="*/ 239412 w 289573"/>
                <a:gd name="connsiteY23" fmla="*/ 339211 h 342068"/>
                <a:gd name="connsiteX24" fmla="*/ 235228 w 289573"/>
                <a:gd name="connsiteY24" fmla="*/ 342069 h 342068"/>
                <a:gd name="connsiteX25" fmla="*/ 62350 w 289573"/>
                <a:gd name="connsiteY25" fmla="*/ 2788 h 342068"/>
                <a:gd name="connsiteX26" fmla="*/ 60829 w 289573"/>
                <a:gd name="connsiteY26" fmla="*/ 3741 h 342068"/>
                <a:gd name="connsiteX27" fmla="*/ 2918 w 289573"/>
                <a:gd name="connsiteY27" fmla="*/ 120708 h 342068"/>
                <a:gd name="connsiteX28" fmla="*/ 2823 w 289573"/>
                <a:gd name="connsiteY28" fmla="*/ 121946 h 342068"/>
                <a:gd name="connsiteX29" fmla="*/ 66154 w 289573"/>
                <a:gd name="connsiteY29" fmla="*/ 337878 h 342068"/>
                <a:gd name="connsiteX30" fmla="*/ 67771 w 289573"/>
                <a:gd name="connsiteY30" fmla="*/ 339116 h 342068"/>
                <a:gd name="connsiteX31" fmla="*/ 234943 w 289573"/>
                <a:gd name="connsiteY31" fmla="*/ 339116 h 342068"/>
                <a:gd name="connsiteX32" fmla="*/ 236464 w 289573"/>
                <a:gd name="connsiteY32" fmla="*/ 338068 h 342068"/>
                <a:gd name="connsiteX33" fmla="*/ 286388 w 289573"/>
                <a:gd name="connsiteY33" fmla="*/ 215005 h 342068"/>
                <a:gd name="connsiteX34" fmla="*/ 286388 w 289573"/>
                <a:gd name="connsiteY34" fmla="*/ 214053 h 342068"/>
                <a:gd name="connsiteX35" fmla="*/ 258431 w 289573"/>
                <a:gd name="connsiteY35" fmla="*/ 95086 h 342068"/>
                <a:gd name="connsiteX36" fmla="*/ 257004 w 289573"/>
                <a:gd name="connsiteY36" fmla="*/ 93847 h 342068"/>
                <a:gd name="connsiteX37" fmla="*/ 190154 w 289573"/>
                <a:gd name="connsiteY37" fmla="*/ 85846 h 342068"/>
                <a:gd name="connsiteX38" fmla="*/ 188347 w 289573"/>
                <a:gd name="connsiteY38" fmla="*/ 86989 h 342068"/>
                <a:gd name="connsiteX39" fmla="*/ 157443 w 289573"/>
                <a:gd name="connsiteY39" fmla="*/ 187954 h 342068"/>
                <a:gd name="connsiteX40" fmla="*/ 157633 w 289573"/>
                <a:gd name="connsiteY40" fmla="*/ 189383 h 342068"/>
                <a:gd name="connsiteX41" fmla="*/ 158869 w 289573"/>
                <a:gd name="connsiteY41" fmla="*/ 190050 h 342068"/>
                <a:gd name="connsiteX42" fmla="*/ 221725 w 289573"/>
                <a:gd name="connsiteY42" fmla="*/ 193574 h 342068"/>
                <a:gd name="connsiteX43" fmla="*/ 282584 w 289573"/>
                <a:gd name="connsiteY43" fmla="*/ 215386 h 342068"/>
                <a:gd name="connsiteX44" fmla="*/ 282013 w 289573"/>
                <a:gd name="connsiteY44" fmla="*/ 216815 h 342068"/>
                <a:gd name="connsiteX45" fmla="*/ 233707 w 289573"/>
                <a:gd name="connsiteY45" fmla="*/ 335782 h 342068"/>
                <a:gd name="connsiteX46" fmla="*/ 116363 w 289573"/>
                <a:gd name="connsiteY46" fmla="*/ 335782 h 342068"/>
                <a:gd name="connsiteX47" fmla="*/ 116078 w 289573"/>
                <a:gd name="connsiteY47" fmla="*/ 334735 h 342068"/>
                <a:gd name="connsiteX48" fmla="*/ 62826 w 289573"/>
                <a:gd name="connsiteY48" fmla="*/ 133090 h 342068"/>
                <a:gd name="connsiteX49" fmla="*/ 63777 w 289573"/>
                <a:gd name="connsiteY49" fmla="*/ 4503 h 342068"/>
                <a:gd name="connsiteX50" fmla="*/ 62541 w 289573"/>
                <a:gd name="connsiteY50" fmla="*/ 2884 h 342068"/>
                <a:gd name="connsiteX51" fmla="*/ 62160 w 289573"/>
                <a:gd name="connsiteY51" fmla="*/ 2884 h 342068"/>
                <a:gd name="connsiteX52" fmla="*/ 113130 w 289573"/>
                <a:gd name="connsiteY52" fmla="*/ 335687 h 342068"/>
                <a:gd name="connsiteX53" fmla="*/ 69102 w 289573"/>
                <a:gd name="connsiteY53" fmla="*/ 335687 h 342068"/>
                <a:gd name="connsiteX54" fmla="*/ 68817 w 289573"/>
                <a:gd name="connsiteY54" fmla="*/ 334639 h 342068"/>
                <a:gd name="connsiteX55" fmla="*/ 6246 w 289573"/>
                <a:gd name="connsiteY55" fmla="*/ 121565 h 342068"/>
                <a:gd name="connsiteX56" fmla="*/ 6532 w 289573"/>
                <a:gd name="connsiteY56" fmla="*/ 121089 h 342068"/>
                <a:gd name="connsiteX57" fmla="*/ 60734 w 289573"/>
                <a:gd name="connsiteY57" fmla="*/ 11647 h 342068"/>
                <a:gd name="connsiteX58" fmla="*/ 59783 w 289573"/>
                <a:gd name="connsiteY58" fmla="*/ 133376 h 342068"/>
                <a:gd name="connsiteX59" fmla="*/ 59783 w 289573"/>
                <a:gd name="connsiteY59" fmla="*/ 133852 h 342068"/>
                <a:gd name="connsiteX60" fmla="*/ 113130 w 289573"/>
                <a:gd name="connsiteY60" fmla="*/ 335687 h 342068"/>
                <a:gd name="connsiteX61" fmla="*/ 71194 w 289573"/>
                <a:gd name="connsiteY61" fmla="*/ 332830 h 342068"/>
                <a:gd name="connsiteX62" fmla="*/ 109326 w 289573"/>
                <a:gd name="connsiteY62" fmla="*/ 332830 h 342068"/>
                <a:gd name="connsiteX63" fmla="*/ 56930 w 289573"/>
                <a:gd name="connsiteY63" fmla="*/ 134519 h 342068"/>
                <a:gd name="connsiteX64" fmla="*/ 56740 w 289573"/>
                <a:gd name="connsiteY64" fmla="*/ 133376 h 342068"/>
                <a:gd name="connsiteX65" fmla="*/ 57596 w 289573"/>
                <a:gd name="connsiteY65" fmla="*/ 24029 h 342068"/>
                <a:gd name="connsiteX66" fmla="*/ 9194 w 289573"/>
                <a:gd name="connsiteY66" fmla="*/ 121851 h 342068"/>
                <a:gd name="connsiteX67" fmla="*/ 71099 w 289573"/>
                <a:gd name="connsiteY67" fmla="*/ 332830 h 342068"/>
                <a:gd name="connsiteX68" fmla="*/ 282584 w 289573"/>
                <a:gd name="connsiteY68" fmla="*/ 211767 h 342068"/>
                <a:gd name="connsiteX69" fmla="*/ 222581 w 289573"/>
                <a:gd name="connsiteY69" fmla="*/ 190336 h 342068"/>
                <a:gd name="connsiteX70" fmla="*/ 222105 w 289573"/>
                <a:gd name="connsiteY70" fmla="*/ 190336 h 342068"/>
                <a:gd name="connsiteX71" fmla="*/ 161341 w 289573"/>
                <a:gd name="connsiteY71" fmla="*/ 187002 h 342068"/>
                <a:gd name="connsiteX72" fmla="*/ 161912 w 289573"/>
                <a:gd name="connsiteY72" fmla="*/ 185287 h 342068"/>
                <a:gd name="connsiteX73" fmla="*/ 191296 w 289573"/>
                <a:gd name="connsiteY73" fmla="*/ 89371 h 342068"/>
                <a:gd name="connsiteX74" fmla="*/ 255673 w 289573"/>
                <a:gd name="connsiteY74" fmla="*/ 97086 h 342068"/>
                <a:gd name="connsiteX75" fmla="*/ 255863 w 289573"/>
                <a:gd name="connsiteY75" fmla="*/ 98038 h 342068"/>
                <a:gd name="connsiteX76" fmla="*/ 282584 w 289573"/>
                <a:gd name="connsiteY76" fmla="*/ 211957 h 342068"/>
                <a:gd name="connsiteX77" fmla="*/ 165145 w 289573"/>
                <a:gd name="connsiteY77" fmla="*/ 184144 h 342068"/>
                <a:gd name="connsiteX78" fmla="*/ 222295 w 289573"/>
                <a:gd name="connsiteY78" fmla="*/ 187288 h 342068"/>
                <a:gd name="connsiteX79" fmla="*/ 223532 w 289573"/>
                <a:gd name="connsiteY79" fmla="*/ 187573 h 342068"/>
                <a:gd name="connsiteX80" fmla="*/ 278590 w 289573"/>
                <a:gd name="connsiteY80" fmla="*/ 207290 h 342068"/>
                <a:gd name="connsiteX81" fmla="*/ 253295 w 289573"/>
                <a:gd name="connsiteY81" fmla="*/ 99467 h 342068"/>
                <a:gd name="connsiteX82" fmla="*/ 193292 w 289573"/>
                <a:gd name="connsiteY82" fmla="*/ 92323 h 342068"/>
                <a:gd name="connsiteX83" fmla="*/ 165145 w 289573"/>
                <a:gd name="connsiteY83" fmla="*/ 184144 h 34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89573" h="342068">
                  <a:moveTo>
                    <a:pt x="235038" y="341878"/>
                  </a:moveTo>
                  <a:lnTo>
                    <a:pt x="67866" y="341878"/>
                  </a:lnTo>
                  <a:cubicBezTo>
                    <a:pt x="65869" y="341878"/>
                    <a:pt x="64157" y="340545"/>
                    <a:pt x="63587" y="338640"/>
                  </a:cubicBezTo>
                  <a:lnTo>
                    <a:pt x="161" y="122708"/>
                  </a:lnTo>
                  <a:cubicBezTo>
                    <a:pt x="-125" y="121565"/>
                    <a:pt x="-30" y="120422"/>
                    <a:pt x="446" y="119470"/>
                  </a:cubicBezTo>
                  <a:lnTo>
                    <a:pt x="58357" y="2503"/>
                  </a:lnTo>
                  <a:cubicBezTo>
                    <a:pt x="59308" y="598"/>
                    <a:pt x="61495" y="-355"/>
                    <a:pt x="63397" y="121"/>
                  </a:cubicBezTo>
                  <a:cubicBezTo>
                    <a:pt x="65489" y="598"/>
                    <a:pt x="66915" y="2407"/>
                    <a:pt x="66915" y="4503"/>
                  </a:cubicBezTo>
                  <a:lnTo>
                    <a:pt x="65964" y="132900"/>
                  </a:lnTo>
                  <a:lnTo>
                    <a:pt x="118835" y="332925"/>
                  </a:lnTo>
                  <a:lnTo>
                    <a:pt x="232090" y="332925"/>
                  </a:lnTo>
                  <a:lnTo>
                    <a:pt x="279065" y="217101"/>
                  </a:lnTo>
                  <a:lnTo>
                    <a:pt x="221250" y="196432"/>
                  </a:lnTo>
                  <a:lnTo>
                    <a:pt x="159059" y="193003"/>
                  </a:lnTo>
                  <a:cubicBezTo>
                    <a:pt x="157728" y="193003"/>
                    <a:pt x="156397" y="192241"/>
                    <a:pt x="155636" y="191098"/>
                  </a:cubicBezTo>
                  <a:cubicBezTo>
                    <a:pt x="154875" y="189955"/>
                    <a:pt x="154590" y="188526"/>
                    <a:pt x="155065" y="187192"/>
                  </a:cubicBezTo>
                  <a:lnTo>
                    <a:pt x="185970" y="86227"/>
                  </a:lnTo>
                  <a:cubicBezTo>
                    <a:pt x="186636" y="84132"/>
                    <a:pt x="188633" y="82798"/>
                    <a:pt x="190820" y="83084"/>
                  </a:cubicBezTo>
                  <a:lnTo>
                    <a:pt x="257670" y="91085"/>
                  </a:lnTo>
                  <a:cubicBezTo>
                    <a:pt x="259572" y="91276"/>
                    <a:pt x="261093" y="92704"/>
                    <a:pt x="261473" y="94514"/>
                  </a:cubicBezTo>
                  <a:lnTo>
                    <a:pt x="289430" y="213481"/>
                  </a:lnTo>
                  <a:cubicBezTo>
                    <a:pt x="289621" y="214243"/>
                    <a:pt x="289621" y="215101"/>
                    <a:pt x="289430" y="215958"/>
                  </a:cubicBezTo>
                  <a:lnTo>
                    <a:pt x="289145" y="216529"/>
                  </a:lnTo>
                  <a:lnTo>
                    <a:pt x="239412" y="339211"/>
                  </a:lnTo>
                  <a:cubicBezTo>
                    <a:pt x="238746" y="340926"/>
                    <a:pt x="237035" y="342069"/>
                    <a:pt x="235228" y="342069"/>
                  </a:cubicBezTo>
                  <a:close/>
                  <a:moveTo>
                    <a:pt x="62350" y="2788"/>
                  </a:moveTo>
                  <a:cubicBezTo>
                    <a:pt x="61780" y="2788"/>
                    <a:pt x="61115" y="3169"/>
                    <a:pt x="60829" y="3741"/>
                  </a:cubicBezTo>
                  <a:lnTo>
                    <a:pt x="2918" y="120708"/>
                  </a:lnTo>
                  <a:cubicBezTo>
                    <a:pt x="2918" y="120708"/>
                    <a:pt x="2728" y="121470"/>
                    <a:pt x="2823" y="121946"/>
                  </a:cubicBezTo>
                  <a:lnTo>
                    <a:pt x="66154" y="337878"/>
                  </a:lnTo>
                  <a:cubicBezTo>
                    <a:pt x="66344" y="338545"/>
                    <a:pt x="67010" y="339116"/>
                    <a:pt x="67771" y="339116"/>
                  </a:cubicBezTo>
                  <a:lnTo>
                    <a:pt x="234943" y="339116"/>
                  </a:lnTo>
                  <a:cubicBezTo>
                    <a:pt x="235608" y="339116"/>
                    <a:pt x="236179" y="338735"/>
                    <a:pt x="236464" y="338068"/>
                  </a:cubicBezTo>
                  <a:lnTo>
                    <a:pt x="286388" y="215005"/>
                  </a:lnTo>
                  <a:cubicBezTo>
                    <a:pt x="286388" y="215005"/>
                    <a:pt x="286483" y="214339"/>
                    <a:pt x="286388" y="214053"/>
                  </a:cubicBezTo>
                  <a:lnTo>
                    <a:pt x="258431" y="95086"/>
                  </a:lnTo>
                  <a:cubicBezTo>
                    <a:pt x="258240" y="94419"/>
                    <a:pt x="257670" y="93943"/>
                    <a:pt x="257004" y="93847"/>
                  </a:cubicBezTo>
                  <a:lnTo>
                    <a:pt x="190154" y="85846"/>
                  </a:lnTo>
                  <a:cubicBezTo>
                    <a:pt x="189394" y="85751"/>
                    <a:pt x="188633" y="86227"/>
                    <a:pt x="188347" y="86989"/>
                  </a:cubicBezTo>
                  <a:lnTo>
                    <a:pt x="157443" y="187954"/>
                  </a:lnTo>
                  <a:cubicBezTo>
                    <a:pt x="157252" y="188431"/>
                    <a:pt x="157443" y="189002"/>
                    <a:pt x="157633" y="189383"/>
                  </a:cubicBezTo>
                  <a:cubicBezTo>
                    <a:pt x="157918" y="189764"/>
                    <a:pt x="158394" y="190050"/>
                    <a:pt x="158869" y="190050"/>
                  </a:cubicBezTo>
                  <a:lnTo>
                    <a:pt x="221725" y="193574"/>
                  </a:lnTo>
                  <a:lnTo>
                    <a:pt x="282584" y="215386"/>
                  </a:lnTo>
                  <a:lnTo>
                    <a:pt x="282013" y="216815"/>
                  </a:lnTo>
                  <a:lnTo>
                    <a:pt x="233707" y="335782"/>
                  </a:lnTo>
                  <a:lnTo>
                    <a:pt x="116363" y="335782"/>
                  </a:lnTo>
                  <a:lnTo>
                    <a:pt x="116078" y="334735"/>
                  </a:lnTo>
                  <a:lnTo>
                    <a:pt x="62826" y="133090"/>
                  </a:lnTo>
                  <a:lnTo>
                    <a:pt x="63777" y="4503"/>
                  </a:lnTo>
                  <a:cubicBezTo>
                    <a:pt x="63777" y="3741"/>
                    <a:pt x="63301" y="3074"/>
                    <a:pt x="62541" y="2884"/>
                  </a:cubicBezTo>
                  <a:cubicBezTo>
                    <a:pt x="62446" y="2884"/>
                    <a:pt x="62256" y="2884"/>
                    <a:pt x="62160" y="2884"/>
                  </a:cubicBezTo>
                  <a:close/>
                  <a:moveTo>
                    <a:pt x="113130" y="335687"/>
                  </a:moveTo>
                  <a:lnTo>
                    <a:pt x="69102" y="335687"/>
                  </a:lnTo>
                  <a:lnTo>
                    <a:pt x="68817" y="334639"/>
                  </a:lnTo>
                  <a:lnTo>
                    <a:pt x="6246" y="121565"/>
                  </a:lnTo>
                  <a:lnTo>
                    <a:pt x="6532" y="121089"/>
                  </a:lnTo>
                  <a:lnTo>
                    <a:pt x="60734" y="11647"/>
                  </a:lnTo>
                  <a:lnTo>
                    <a:pt x="59783" y="133376"/>
                  </a:lnTo>
                  <a:cubicBezTo>
                    <a:pt x="59783" y="133376"/>
                    <a:pt x="59783" y="133662"/>
                    <a:pt x="59783" y="133852"/>
                  </a:cubicBezTo>
                  <a:lnTo>
                    <a:pt x="113130" y="335687"/>
                  </a:lnTo>
                  <a:close/>
                  <a:moveTo>
                    <a:pt x="71194" y="332830"/>
                  </a:moveTo>
                  <a:lnTo>
                    <a:pt x="109326" y="332830"/>
                  </a:lnTo>
                  <a:lnTo>
                    <a:pt x="56930" y="134519"/>
                  </a:lnTo>
                  <a:cubicBezTo>
                    <a:pt x="56930" y="134519"/>
                    <a:pt x="56740" y="133757"/>
                    <a:pt x="56740" y="133376"/>
                  </a:cubicBezTo>
                  <a:lnTo>
                    <a:pt x="57596" y="24029"/>
                  </a:lnTo>
                  <a:lnTo>
                    <a:pt x="9194" y="121851"/>
                  </a:lnTo>
                  <a:lnTo>
                    <a:pt x="71099" y="332830"/>
                  </a:lnTo>
                  <a:close/>
                  <a:moveTo>
                    <a:pt x="282584" y="211767"/>
                  </a:moveTo>
                  <a:lnTo>
                    <a:pt x="222581" y="190336"/>
                  </a:lnTo>
                  <a:cubicBezTo>
                    <a:pt x="222581" y="190336"/>
                    <a:pt x="222295" y="190336"/>
                    <a:pt x="222105" y="190336"/>
                  </a:cubicBezTo>
                  <a:lnTo>
                    <a:pt x="161341" y="187002"/>
                  </a:lnTo>
                  <a:lnTo>
                    <a:pt x="161912" y="185287"/>
                  </a:lnTo>
                  <a:lnTo>
                    <a:pt x="191296" y="89371"/>
                  </a:lnTo>
                  <a:lnTo>
                    <a:pt x="255673" y="97086"/>
                  </a:lnTo>
                  <a:lnTo>
                    <a:pt x="255863" y="98038"/>
                  </a:lnTo>
                  <a:lnTo>
                    <a:pt x="282584" y="211957"/>
                  </a:lnTo>
                  <a:close/>
                  <a:moveTo>
                    <a:pt x="165145" y="184144"/>
                  </a:moveTo>
                  <a:lnTo>
                    <a:pt x="222295" y="187288"/>
                  </a:lnTo>
                  <a:cubicBezTo>
                    <a:pt x="222295" y="187288"/>
                    <a:pt x="223151" y="187383"/>
                    <a:pt x="223532" y="187573"/>
                  </a:cubicBezTo>
                  <a:lnTo>
                    <a:pt x="278590" y="207290"/>
                  </a:lnTo>
                  <a:lnTo>
                    <a:pt x="253295" y="99467"/>
                  </a:lnTo>
                  <a:lnTo>
                    <a:pt x="193292" y="92323"/>
                  </a:lnTo>
                  <a:lnTo>
                    <a:pt x="165145" y="184144"/>
                  </a:ln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4" name="Freeform 65">
              <a:extLst>
                <a:ext uri="{FF2B5EF4-FFF2-40B4-BE49-F238E27FC236}">
                  <a16:creationId xmlns:a16="http://schemas.microsoft.com/office/drawing/2014/main" id="{1EE02A41-9928-BA9E-9173-1AB3986C5E35}"/>
                </a:ext>
              </a:extLst>
            </p:cNvPr>
            <p:cNvSpPr/>
            <p:nvPr/>
          </p:nvSpPr>
          <p:spPr>
            <a:xfrm>
              <a:off x="12347168" y="1037979"/>
              <a:ext cx="38075" cy="280625"/>
            </a:xfrm>
            <a:custGeom>
              <a:avLst/>
              <a:gdLst>
                <a:gd name="connsiteX0" fmla="*/ 35013 w 38075"/>
                <a:gd name="connsiteY0" fmla="*/ 280626 h 280625"/>
                <a:gd name="connsiteX1" fmla="*/ 31970 w 38075"/>
                <a:gd name="connsiteY1" fmla="*/ 277864 h 280625"/>
                <a:gd name="connsiteX2" fmla="*/ 19 w 38075"/>
                <a:gd name="connsiteY2" fmla="*/ 3448 h 280625"/>
                <a:gd name="connsiteX3" fmla="*/ 2682 w 38075"/>
                <a:gd name="connsiteY3" fmla="*/ 19 h 280625"/>
                <a:gd name="connsiteX4" fmla="*/ 6105 w 38075"/>
                <a:gd name="connsiteY4" fmla="*/ 2686 h 280625"/>
                <a:gd name="connsiteX5" fmla="*/ 38056 w 38075"/>
                <a:gd name="connsiteY5" fmla="*/ 277102 h 280625"/>
                <a:gd name="connsiteX6" fmla="*/ 35394 w 38075"/>
                <a:gd name="connsiteY6" fmla="*/ 280531 h 280625"/>
                <a:gd name="connsiteX7" fmla="*/ 35013 w 38075"/>
                <a:gd name="connsiteY7" fmla="*/ 280531 h 28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75" h="280625">
                  <a:moveTo>
                    <a:pt x="35013" y="280626"/>
                  </a:moveTo>
                  <a:cubicBezTo>
                    <a:pt x="33492" y="280626"/>
                    <a:pt x="32160" y="279483"/>
                    <a:pt x="31970" y="277864"/>
                  </a:cubicBezTo>
                  <a:lnTo>
                    <a:pt x="19" y="3448"/>
                  </a:lnTo>
                  <a:cubicBezTo>
                    <a:pt x="-171" y="1734"/>
                    <a:pt x="1065" y="210"/>
                    <a:pt x="2682" y="19"/>
                  </a:cubicBezTo>
                  <a:cubicBezTo>
                    <a:pt x="4394" y="-171"/>
                    <a:pt x="5915" y="1067"/>
                    <a:pt x="6105" y="2686"/>
                  </a:cubicBezTo>
                  <a:lnTo>
                    <a:pt x="38056" y="277102"/>
                  </a:lnTo>
                  <a:cubicBezTo>
                    <a:pt x="38246" y="278816"/>
                    <a:pt x="37010" y="280340"/>
                    <a:pt x="35394" y="280531"/>
                  </a:cubicBezTo>
                  <a:cubicBezTo>
                    <a:pt x="35298" y="280531"/>
                    <a:pt x="35108" y="280531"/>
                    <a:pt x="35013" y="280531"/>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6" name="Freeform 66">
              <a:extLst>
                <a:ext uri="{FF2B5EF4-FFF2-40B4-BE49-F238E27FC236}">
                  <a16:creationId xmlns:a16="http://schemas.microsoft.com/office/drawing/2014/main" id="{CD7A0583-1421-E40A-04BC-25888BDF1D89}"/>
                </a:ext>
              </a:extLst>
            </p:cNvPr>
            <p:cNvSpPr/>
            <p:nvPr/>
          </p:nvSpPr>
          <p:spPr>
            <a:xfrm>
              <a:off x="12345744" y="1036521"/>
              <a:ext cx="41019" cy="283512"/>
            </a:xfrm>
            <a:custGeom>
              <a:avLst/>
              <a:gdLst>
                <a:gd name="connsiteX0" fmla="*/ 36438 w 41019"/>
                <a:gd name="connsiteY0" fmla="*/ 283513 h 283512"/>
                <a:gd name="connsiteX1" fmla="*/ 31969 w 41019"/>
                <a:gd name="connsiteY1" fmla="*/ 279512 h 283512"/>
                <a:gd name="connsiteX2" fmla="*/ 18 w 41019"/>
                <a:gd name="connsiteY2" fmla="*/ 5097 h 283512"/>
                <a:gd name="connsiteX3" fmla="*/ 969 w 41019"/>
                <a:gd name="connsiteY3" fmla="*/ 1763 h 283512"/>
                <a:gd name="connsiteX4" fmla="*/ 4012 w 41019"/>
                <a:gd name="connsiteY4" fmla="*/ 49 h 283512"/>
                <a:gd name="connsiteX5" fmla="*/ 7340 w 41019"/>
                <a:gd name="connsiteY5" fmla="*/ 1001 h 283512"/>
                <a:gd name="connsiteX6" fmla="*/ 9051 w 41019"/>
                <a:gd name="connsiteY6" fmla="*/ 4049 h 283512"/>
                <a:gd name="connsiteX7" fmla="*/ 41002 w 41019"/>
                <a:gd name="connsiteY7" fmla="*/ 278464 h 283512"/>
                <a:gd name="connsiteX8" fmla="*/ 40052 w 41019"/>
                <a:gd name="connsiteY8" fmla="*/ 281798 h 283512"/>
                <a:gd name="connsiteX9" fmla="*/ 37009 w 41019"/>
                <a:gd name="connsiteY9" fmla="*/ 283513 h 283512"/>
                <a:gd name="connsiteX10" fmla="*/ 36438 w 41019"/>
                <a:gd name="connsiteY10" fmla="*/ 283513 h 283512"/>
                <a:gd name="connsiteX11" fmla="*/ 4487 w 41019"/>
                <a:gd name="connsiteY11" fmla="*/ 2906 h 283512"/>
                <a:gd name="connsiteX12" fmla="*/ 4297 w 41019"/>
                <a:gd name="connsiteY12" fmla="*/ 2906 h 283512"/>
                <a:gd name="connsiteX13" fmla="*/ 3156 w 41019"/>
                <a:gd name="connsiteY13" fmla="*/ 3478 h 283512"/>
                <a:gd name="connsiteX14" fmla="*/ 2775 w 41019"/>
                <a:gd name="connsiteY14" fmla="*/ 4716 h 283512"/>
                <a:gd name="connsiteX15" fmla="*/ 34726 w 41019"/>
                <a:gd name="connsiteY15" fmla="*/ 279131 h 283512"/>
                <a:gd name="connsiteX16" fmla="*/ 36343 w 41019"/>
                <a:gd name="connsiteY16" fmla="*/ 280560 h 283512"/>
                <a:gd name="connsiteX17" fmla="*/ 36533 w 41019"/>
                <a:gd name="connsiteY17" fmla="*/ 280560 h 283512"/>
                <a:gd name="connsiteX18" fmla="*/ 37674 w 41019"/>
                <a:gd name="connsiteY18" fmla="*/ 279893 h 283512"/>
                <a:gd name="connsiteX19" fmla="*/ 38054 w 41019"/>
                <a:gd name="connsiteY19" fmla="*/ 278655 h 283512"/>
                <a:gd name="connsiteX20" fmla="*/ 6104 w 41019"/>
                <a:gd name="connsiteY20" fmla="*/ 4240 h 283512"/>
                <a:gd name="connsiteX21" fmla="*/ 5533 w 41019"/>
                <a:gd name="connsiteY21" fmla="*/ 3097 h 283512"/>
                <a:gd name="connsiteX22" fmla="*/ 4487 w 41019"/>
                <a:gd name="connsiteY22" fmla="*/ 271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019" h="283512">
                  <a:moveTo>
                    <a:pt x="36438" y="283513"/>
                  </a:moveTo>
                  <a:cubicBezTo>
                    <a:pt x="34156" y="283513"/>
                    <a:pt x="32254" y="281798"/>
                    <a:pt x="31969" y="279512"/>
                  </a:cubicBezTo>
                  <a:lnTo>
                    <a:pt x="18" y="5097"/>
                  </a:lnTo>
                  <a:cubicBezTo>
                    <a:pt x="-77" y="3859"/>
                    <a:pt x="208" y="2716"/>
                    <a:pt x="969" y="1763"/>
                  </a:cubicBezTo>
                  <a:cubicBezTo>
                    <a:pt x="1729" y="811"/>
                    <a:pt x="2775" y="239"/>
                    <a:pt x="4012" y="49"/>
                  </a:cubicBezTo>
                  <a:cubicBezTo>
                    <a:pt x="5248" y="-142"/>
                    <a:pt x="6389" y="239"/>
                    <a:pt x="7340" y="1001"/>
                  </a:cubicBezTo>
                  <a:cubicBezTo>
                    <a:pt x="8291" y="1763"/>
                    <a:pt x="8861" y="2811"/>
                    <a:pt x="9051" y="4049"/>
                  </a:cubicBezTo>
                  <a:lnTo>
                    <a:pt x="41002" y="278464"/>
                  </a:lnTo>
                  <a:cubicBezTo>
                    <a:pt x="41097" y="279607"/>
                    <a:pt x="40812" y="280846"/>
                    <a:pt x="40052" y="281798"/>
                  </a:cubicBezTo>
                  <a:cubicBezTo>
                    <a:pt x="39291" y="282751"/>
                    <a:pt x="38245" y="283322"/>
                    <a:pt x="37009" y="283513"/>
                  </a:cubicBezTo>
                  <a:cubicBezTo>
                    <a:pt x="36818" y="283513"/>
                    <a:pt x="36628" y="283513"/>
                    <a:pt x="36438" y="283513"/>
                  </a:cubicBezTo>
                  <a:close/>
                  <a:moveTo>
                    <a:pt x="4487" y="2906"/>
                  </a:moveTo>
                  <a:cubicBezTo>
                    <a:pt x="4487" y="2906"/>
                    <a:pt x="4392" y="2906"/>
                    <a:pt x="4297" y="2906"/>
                  </a:cubicBezTo>
                  <a:cubicBezTo>
                    <a:pt x="3821" y="2906"/>
                    <a:pt x="3441" y="3192"/>
                    <a:pt x="3156" y="3478"/>
                  </a:cubicBezTo>
                  <a:cubicBezTo>
                    <a:pt x="2871" y="3859"/>
                    <a:pt x="2775" y="4240"/>
                    <a:pt x="2775" y="4716"/>
                  </a:cubicBezTo>
                  <a:lnTo>
                    <a:pt x="34726" y="279131"/>
                  </a:lnTo>
                  <a:cubicBezTo>
                    <a:pt x="34726" y="279988"/>
                    <a:pt x="35487" y="280560"/>
                    <a:pt x="36343" y="280560"/>
                  </a:cubicBezTo>
                  <a:lnTo>
                    <a:pt x="36533" y="280560"/>
                  </a:lnTo>
                  <a:cubicBezTo>
                    <a:pt x="36533" y="280560"/>
                    <a:pt x="37389" y="280274"/>
                    <a:pt x="37674" y="279893"/>
                  </a:cubicBezTo>
                  <a:cubicBezTo>
                    <a:pt x="37960" y="279512"/>
                    <a:pt x="38054" y="279131"/>
                    <a:pt x="38054" y="278655"/>
                  </a:cubicBezTo>
                  <a:lnTo>
                    <a:pt x="6104" y="4240"/>
                  </a:lnTo>
                  <a:cubicBezTo>
                    <a:pt x="6104" y="4240"/>
                    <a:pt x="5818" y="3382"/>
                    <a:pt x="5533" y="3097"/>
                  </a:cubicBezTo>
                  <a:cubicBezTo>
                    <a:pt x="5248" y="2906"/>
                    <a:pt x="4867" y="2716"/>
                    <a:pt x="4487" y="2716"/>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7" name="Freeform 81">
              <a:extLst>
                <a:ext uri="{FF2B5EF4-FFF2-40B4-BE49-F238E27FC236}">
                  <a16:creationId xmlns:a16="http://schemas.microsoft.com/office/drawing/2014/main" id="{81AC60CA-836C-3904-67D7-AB16D40F362D}"/>
                </a:ext>
              </a:extLst>
            </p:cNvPr>
            <p:cNvSpPr/>
            <p:nvPr/>
          </p:nvSpPr>
          <p:spPr>
            <a:xfrm>
              <a:off x="12396589" y="1167015"/>
              <a:ext cx="34136" cy="151589"/>
            </a:xfrm>
            <a:custGeom>
              <a:avLst/>
              <a:gdLst>
                <a:gd name="connsiteX0" fmla="*/ 3090 w 34136"/>
                <a:gd name="connsiteY0" fmla="*/ 151590 h 151589"/>
                <a:gd name="connsiteX1" fmla="*/ 2519 w 34136"/>
                <a:gd name="connsiteY1" fmla="*/ 151590 h 151589"/>
                <a:gd name="connsiteX2" fmla="*/ 47 w 34136"/>
                <a:gd name="connsiteY2" fmla="*/ 147970 h 151589"/>
                <a:gd name="connsiteX3" fmla="*/ 28004 w 34136"/>
                <a:gd name="connsiteY3" fmla="*/ 2523 h 151589"/>
                <a:gd name="connsiteX4" fmla="*/ 31617 w 34136"/>
                <a:gd name="connsiteY4" fmla="*/ 47 h 151589"/>
                <a:gd name="connsiteX5" fmla="*/ 34090 w 34136"/>
                <a:gd name="connsiteY5" fmla="*/ 3666 h 151589"/>
                <a:gd name="connsiteX6" fmla="*/ 6133 w 34136"/>
                <a:gd name="connsiteY6" fmla="*/ 149113 h 151589"/>
                <a:gd name="connsiteX7" fmla="*/ 3090 w 34136"/>
                <a:gd name="connsiteY7" fmla="*/ 151590 h 15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36" h="151589">
                  <a:moveTo>
                    <a:pt x="3090" y="151590"/>
                  </a:moveTo>
                  <a:cubicBezTo>
                    <a:pt x="3090" y="151590"/>
                    <a:pt x="2709" y="151590"/>
                    <a:pt x="2519" y="151590"/>
                  </a:cubicBezTo>
                  <a:cubicBezTo>
                    <a:pt x="808" y="151304"/>
                    <a:pt x="-239" y="149685"/>
                    <a:pt x="47" y="147970"/>
                  </a:cubicBezTo>
                  <a:lnTo>
                    <a:pt x="28004" y="2523"/>
                  </a:lnTo>
                  <a:cubicBezTo>
                    <a:pt x="28289" y="809"/>
                    <a:pt x="29906" y="-239"/>
                    <a:pt x="31617" y="47"/>
                  </a:cubicBezTo>
                  <a:cubicBezTo>
                    <a:pt x="33329" y="333"/>
                    <a:pt x="34375" y="1952"/>
                    <a:pt x="34090" y="3666"/>
                  </a:cubicBezTo>
                  <a:lnTo>
                    <a:pt x="6133" y="149113"/>
                  </a:lnTo>
                  <a:cubicBezTo>
                    <a:pt x="5847" y="150542"/>
                    <a:pt x="4516" y="151590"/>
                    <a:pt x="3090" y="151590"/>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82">
              <a:extLst>
                <a:ext uri="{FF2B5EF4-FFF2-40B4-BE49-F238E27FC236}">
                  <a16:creationId xmlns:a16="http://schemas.microsoft.com/office/drawing/2014/main" id="{1F4502F1-9C2F-9925-42A4-57287D961670}"/>
                </a:ext>
              </a:extLst>
            </p:cNvPr>
            <p:cNvSpPr/>
            <p:nvPr/>
          </p:nvSpPr>
          <p:spPr>
            <a:xfrm>
              <a:off x="12395151" y="1165714"/>
              <a:ext cx="36968" cy="154415"/>
            </a:xfrm>
            <a:custGeom>
              <a:avLst/>
              <a:gdLst>
                <a:gd name="connsiteX0" fmla="*/ 4527 w 36968"/>
                <a:gd name="connsiteY0" fmla="*/ 154320 h 154415"/>
                <a:gd name="connsiteX1" fmla="*/ 3672 w 36968"/>
                <a:gd name="connsiteY1" fmla="*/ 154320 h 154415"/>
                <a:gd name="connsiteX2" fmla="*/ 58 w 36968"/>
                <a:gd name="connsiteY2" fmla="*/ 149081 h 154415"/>
                <a:gd name="connsiteX3" fmla="*/ 28015 w 36968"/>
                <a:gd name="connsiteY3" fmla="*/ 3635 h 154415"/>
                <a:gd name="connsiteX4" fmla="*/ 29917 w 36968"/>
                <a:gd name="connsiteY4" fmla="*/ 777 h 154415"/>
                <a:gd name="connsiteX5" fmla="*/ 33340 w 36968"/>
                <a:gd name="connsiteY5" fmla="*/ 110 h 154415"/>
                <a:gd name="connsiteX6" fmla="*/ 36193 w 36968"/>
                <a:gd name="connsiteY6" fmla="*/ 2015 h 154415"/>
                <a:gd name="connsiteX7" fmla="*/ 36859 w 36968"/>
                <a:gd name="connsiteY7" fmla="*/ 5349 h 154415"/>
                <a:gd name="connsiteX8" fmla="*/ 8902 w 36968"/>
                <a:gd name="connsiteY8" fmla="*/ 150796 h 154415"/>
                <a:gd name="connsiteX9" fmla="*/ 4527 w 36968"/>
                <a:gd name="connsiteY9" fmla="*/ 154415 h 154415"/>
                <a:gd name="connsiteX10" fmla="*/ 32484 w 36968"/>
                <a:gd name="connsiteY10" fmla="*/ 2682 h 154415"/>
                <a:gd name="connsiteX11" fmla="*/ 31534 w 36968"/>
                <a:gd name="connsiteY11" fmla="*/ 2968 h 154415"/>
                <a:gd name="connsiteX12" fmla="*/ 30868 w 36968"/>
                <a:gd name="connsiteY12" fmla="*/ 4016 h 154415"/>
                <a:gd name="connsiteX13" fmla="*/ 2911 w 36968"/>
                <a:gd name="connsiteY13" fmla="*/ 149462 h 154415"/>
                <a:gd name="connsiteX14" fmla="*/ 4242 w 36968"/>
                <a:gd name="connsiteY14" fmla="*/ 151367 h 154415"/>
                <a:gd name="connsiteX15" fmla="*/ 4527 w 36968"/>
                <a:gd name="connsiteY15" fmla="*/ 151367 h 154415"/>
                <a:gd name="connsiteX16" fmla="*/ 6144 w 36968"/>
                <a:gd name="connsiteY16" fmla="*/ 150034 h 154415"/>
                <a:gd name="connsiteX17" fmla="*/ 34101 w 36968"/>
                <a:gd name="connsiteY17" fmla="*/ 4587 h 154415"/>
                <a:gd name="connsiteX18" fmla="*/ 33816 w 36968"/>
                <a:gd name="connsiteY18" fmla="*/ 3349 h 154415"/>
                <a:gd name="connsiteX19" fmla="*/ 32770 w 36968"/>
                <a:gd name="connsiteY19" fmla="*/ 2682 h 154415"/>
                <a:gd name="connsiteX20" fmla="*/ 32484 w 36968"/>
                <a:gd name="connsiteY20" fmla="*/ 2682 h 1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968" h="154415">
                  <a:moveTo>
                    <a:pt x="4527" y="154320"/>
                  </a:moveTo>
                  <a:cubicBezTo>
                    <a:pt x="4527" y="154320"/>
                    <a:pt x="3957" y="154320"/>
                    <a:pt x="3672" y="154320"/>
                  </a:cubicBezTo>
                  <a:cubicBezTo>
                    <a:pt x="1199" y="153844"/>
                    <a:pt x="-322" y="151463"/>
                    <a:pt x="58" y="149081"/>
                  </a:cubicBezTo>
                  <a:lnTo>
                    <a:pt x="28015" y="3635"/>
                  </a:lnTo>
                  <a:cubicBezTo>
                    <a:pt x="28205" y="2492"/>
                    <a:pt x="28871" y="1444"/>
                    <a:pt x="29917" y="777"/>
                  </a:cubicBezTo>
                  <a:cubicBezTo>
                    <a:pt x="30963" y="110"/>
                    <a:pt x="32104" y="-175"/>
                    <a:pt x="33340" y="110"/>
                  </a:cubicBezTo>
                  <a:cubicBezTo>
                    <a:pt x="34481" y="301"/>
                    <a:pt x="35528" y="968"/>
                    <a:pt x="36193" y="2015"/>
                  </a:cubicBezTo>
                  <a:cubicBezTo>
                    <a:pt x="36859" y="2968"/>
                    <a:pt x="37144" y="4206"/>
                    <a:pt x="36859" y="5349"/>
                  </a:cubicBezTo>
                  <a:lnTo>
                    <a:pt x="8902" y="150796"/>
                  </a:lnTo>
                  <a:cubicBezTo>
                    <a:pt x="8521" y="152891"/>
                    <a:pt x="6619" y="154415"/>
                    <a:pt x="4527" y="154415"/>
                  </a:cubicBezTo>
                  <a:close/>
                  <a:moveTo>
                    <a:pt x="32484" y="2682"/>
                  </a:moveTo>
                  <a:cubicBezTo>
                    <a:pt x="32484" y="2682"/>
                    <a:pt x="31819" y="2682"/>
                    <a:pt x="31534" y="2968"/>
                  </a:cubicBezTo>
                  <a:cubicBezTo>
                    <a:pt x="31153" y="3254"/>
                    <a:pt x="30963" y="3635"/>
                    <a:pt x="30868" y="4016"/>
                  </a:cubicBezTo>
                  <a:lnTo>
                    <a:pt x="2911" y="149462"/>
                  </a:lnTo>
                  <a:cubicBezTo>
                    <a:pt x="2721" y="150320"/>
                    <a:pt x="3291" y="151272"/>
                    <a:pt x="4242" y="151367"/>
                  </a:cubicBezTo>
                  <a:lnTo>
                    <a:pt x="4527" y="151367"/>
                  </a:lnTo>
                  <a:cubicBezTo>
                    <a:pt x="5288" y="151367"/>
                    <a:pt x="5954" y="150796"/>
                    <a:pt x="6144" y="150034"/>
                  </a:cubicBezTo>
                  <a:lnTo>
                    <a:pt x="34101" y="4587"/>
                  </a:lnTo>
                  <a:cubicBezTo>
                    <a:pt x="34101" y="4587"/>
                    <a:pt x="34101" y="3730"/>
                    <a:pt x="33816" y="3349"/>
                  </a:cubicBezTo>
                  <a:cubicBezTo>
                    <a:pt x="33530" y="2968"/>
                    <a:pt x="33150" y="2777"/>
                    <a:pt x="32770" y="2682"/>
                  </a:cubicBezTo>
                  <a:cubicBezTo>
                    <a:pt x="32675" y="2682"/>
                    <a:pt x="32580" y="2682"/>
                    <a:pt x="32484" y="2682"/>
                  </a:cubicBezTo>
                  <a:close/>
                </a:path>
              </a:pathLst>
            </a:custGeom>
            <a:grpFill/>
            <a:ln w="3175"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62" name="Group 161">
            <a:extLst>
              <a:ext uri="{FF2B5EF4-FFF2-40B4-BE49-F238E27FC236}">
                <a16:creationId xmlns:a16="http://schemas.microsoft.com/office/drawing/2014/main" id="{838BF180-35B9-CFD0-6590-552446D2C4E6}"/>
              </a:ext>
            </a:extLst>
          </p:cNvPr>
          <p:cNvGrpSpPr/>
          <p:nvPr/>
        </p:nvGrpSpPr>
        <p:grpSpPr>
          <a:xfrm>
            <a:off x="507674" y="1680780"/>
            <a:ext cx="437395" cy="365897"/>
            <a:chOff x="9134089" y="2485813"/>
            <a:chExt cx="762743" cy="630198"/>
          </a:xfrm>
          <a:solidFill>
            <a:srgbClr val="003055"/>
          </a:solidFill>
        </p:grpSpPr>
        <p:grpSp>
          <p:nvGrpSpPr>
            <p:cNvPr id="170" name="Group 169">
              <a:extLst>
                <a:ext uri="{FF2B5EF4-FFF2-40B4-BE49-F238E27FC236}">
                  <a16:creationId xmlns:a16="http://schemas.microsoft.com/office/drawing/2014/main" id="{1D8F1185-A019-2820-B314-1477AB57C3C7}"/>
                </a:ext>
              </a:extLst>
            </p:cNvPr>
            <p:cNvGrpSpPr/>
            <p:nvPr/>
          </p:nvGrpSpPr>
          <p:grpSpPr>
            <a:xfrm>
              <a:off x="9134089" y="2485813"/>
              <a:ext cx="762743" cy="630198"/>
              <a:chOff x="8720447" y="2280551"/>
              <a:chExt cx="1432280" cy="1277803"/>
            </a:xfrm>
            <a:grpFill/>
          </p:grpSpPr>
          <p:sp>
            <p:nvSpPr>
              <p:cNvPr id="172" name="Freeform 42">
                <a:extLst>
                  <a:ext uri="{FF2B5EF4-FFF2-40B4-BE49-F238E27FC236}">
                    <a16:creationId xmlns:a16="http://schemas.microsoft.com/office/drawing/2014/main" id="{6320857F-900F-6A3A-B802-56FF0AADAAE0}"/>
                  </a:ext>
                </a:extLst>
              </p:cNvPr>
              <p:cNvSpPr/>
              <p:nvPr/>
            </p:nvSpPr>
            <p:spPr>
              <a:xfrm>
                <a:off x="9049777" y="2486523"/>
                <a:ext cx="814450" cy="622394"/>
              </a:xfrm>
              <a:custGeom>
                <a:avLst/>
                <a:gdLst>
                  <a:gd name="connsiteX0" fmla="*/ 4784 w 219904"/>
                  <a:gd name="connsiteY0" fmla="*/ 168048 h 168048"/>
                  <a:gd name="connsiteX1" fmla="*/ 790 w 219904"/>
                  <a:gd name="connsiteY1" fmla="*/ 165954 h 168048"/>
                  <a:gd name="connsiteX2" fmla="*/ 1075 w 219904"/>
                  <a:gd name="connsiteY2" fmla="*/ 160244 h 168048"/>
                  <a:gd name="connsiteX3" fmla="*/ 54420 w 219904"/>
                  <a:gd name="connsiteY3" fmla="*/ 96952 h 168048"/>
                  <a:gd name="connsiteX4" fmla="*/ 55276 w 219904"/>
                  <a:gd name="connsiteY4" fmla="*/ 96191 h 168048"/>
                  <a:gd name="connsiteX5" fmla="*/ 185357 w 219904"/>
                  <a:gd name="connsiteY5" fmla="*/ 920 h 168048"/>
                  <a:gd name="connsiteX6" fmla="*/ 192014 w 219904"/>
                  <a:gd name="connsiteY6" fmla="*/ 1967 h 168048"/>
                  <a:gd name="connsiteX7" fmla="*/ 190968 w 219904"/>
                  <a:gd name="connsiteY7" fmla="*/ 8629 h 168048"/>
                  <a:gd name="connsiteX8" fmla="*/ 61361 w 219904"/>
                  <a:gd name="connsiteY8" fmla="*/ 103614 h 168048"/>
                  <a:gd name="connsiteX9" fmla="*/ 19047 w 219904"/>
                  <a:gd name="connsiteY9" fmla="*/ 153772 h 168048"/>
                  <a:gd name="connsiteX10" fmla="*/ 82186 w 219904"/>
                  <a:gd name="connsiteY10" fmla="*/ 133499 h 168048"/>
                  <a:gd name="connsiteX11" fmla="*/ 212363 w 219904"/>
                  <a:gd name="connsiteY11" fmla="*/ 40037 h 168048"/>
                  <a:gd name="connsiteX12" fmla="*/ 219019 w 219904"/>
                  <a:gd name="connsiteY12" fmla="*/ 41084 h 168048"/>
                  <a:gd name="connsiteX13" fmla="*/ 217878 w 219904"/>
                  <a:gd name="connsiteY13" fmla="*/ 47746 h 168048"/>
                  <a:gd name="connsiteX14" fmla="*/ 87131 w 219904"/>
                  <a:gd name="connsiteY14" fmla="*/ 141589 h 168048"/>
                  <a:gd name="connsiteX15" fmla="*/ 85799 w 219904"/>
                  <a:gd name="connsiteY15" fmla="*/ 142256 h 168048"/>
                  <a:gd name="connsiteX16" fmla="*/ 6210 w 219904"/>
                  <a:gd name="connsiteY16" fmla="*/ 167858 h 168048"/>
                  <a:gd name="connsiteX17" fmla="*/ 4784 w 219904"/>
                  <a:gd name="connsiteY17" fmla="*/ 168048 h 16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9904" h="168048">
                    <a:moveTo>
                      <a:pt x="4784" y="168048"/>
                    </a:moveTo>
                    <a:cubicBezTo>
                      <a:pt x="3262" y="168048"/>
                      <a:pt x="1741" y="167287"/>
                      <a:pt x="790" y="165954"/>
                    </a:cubicBezTo>
                    <a:cubicBezTo>
                      <a:pt x="-351" y="164146"/>
                      <a:pt x="-256" y="161862"/>
                      <a:pt x="1075" y="160244"/>
                    </a:cubicBezTo>
                    <a:lnTo>
                      <a:pt x="54420" y="96952"/>
                    </a:lnTo>
                    <a:cubicBezTo>
                      <a:pt x="54420" y="96952"/>
                      <a:pt x="54991" y="96381"/>
                      <a:pt x="55276" y="96191"/>
                    </a:cubicBezTo>
                    <a:lnTo>
                      <a:pt x="185357" y="920"/>
                    </a:lnTo>
                    <a:cubicBezTo>
                      <a:pt x="187449" y="-603"/>
                      <a:pt x="190492" y="-222"/>
                      <a:pt x="192014" y="1967"/>
                    </a:cubicBezTo>
                    <a:cubicBezTo>
                      <a:pt x="193535" y="4061"/>
                      <a:pt x="193155" y="7106"/>
                      <a:pt x="190968" y="8629"/>
                    </a:cubicBezTo>
                    <a:lnTo>
                      <a:pt x="61361" y="103614"/>
                    </a:lnTo>
                    <a:lnTo>
                      <a:pt x="19047" y="153772"/>
                    </a:lnTo>
                    <a:lnTo>
                      <a:pt x="82186" y="133499"/>
                    </a:lnTo>
                    <a:lnTo>
                      <a:pt x="212363" y="40037"/>
                    </a:lnTo>
                    <a:cubicBezTo>
                      <a:pt x="214455" y="38514"/>
                      <a:pt x="217497" y="38990"/>
                      <a:pt x="219019" y="41084"/>
                    </a:cubicBezTo>
                    <a:cubicBezTo>
                      <a:pt x="220540" y="43178"/>
                      <a:pt x="220065" y="46224"/>
                      <a:pt x="217878" y="47746"/>
                    </a:cubicBezTo>
                    <a:lnTo>
                      <a:pt x="87131" y="141589"/>
                    </a:lnTo>
                    <a:cubicBezTo>
                      <a:pt x="87131" y="141589"/>
                      <a:pt x="86275" y="142065"/>
                      <a:pt x="85799" y="142256"/>
                    </a:cubicBezTo>
                    <a:lnTo>
                      <a:pt x="6210" y="167858"/>
                    </a:lnTo>
                    <a:cubicBezTo>
                      <a:pt x="5735" y="168048"/>
                      <a:pt x="5259" y="168048"/>
                      <a:pt x="4784" y="168048"/>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4" name="Freeform 43">
                <a:extLst>
                  <a:ext uri="{FF2B5EF4-FFF2-40B4-BE49-F238E27FC236}">
                    <a16:creationId xmlns:a16="http://schemas.microsoft.com/office/drawing/2014/main" id="{41E219D2-F1CD-477A-F45D-4FEA52842E14}"/>
                  </a:ext>
                </a:extLst>
              </p:cNvPr>
              <p:cNvSpPr/>
              <p:nvPr/>
            </p:nvSpPr>
            <p:spPr>
              <a:xfrm>
                <a:off x="9718302" y="2280551"/>
                <a:ext cx="434425" cy="394089"/>
              </a:xfrm>
              <a:custGeom>
                <a:avLst/>
                <a:gdLst>
                  <a:gd name="connsiteX0" fmla="*/ 40321 w 117296"/>
                  <a:gd name="connsiteY0" fmla="*/ 106310 h 106405"/>
                  <a:gd name="connsiteX1" fmla="*/ 36423 w 117296"/>
                  <a:gd name="connsiteY1" fmla="*/ 104311 h 106405"/>
                  <a:gd name="connsiteX2" fmla="*/ 37564 w 117296"/>
                  <a:gd name="connsiteY2" fmla="*/ 97649 h 106405"/>
                  <a:gd name="connsiteX3" fmla="*/ 103175 w 117296"/>
                  <a:gd name="connsiteY3" fmla="*/ 50823 h 106405"/>
                  <a:gd name="connsiteX4" fmla="*/ 103936 w 117296"/>
                  <a:gd name="connsiteY4" fmla="*/ 16940 h 106405"/>
                  <a:gd name="connsiteX5" fmla="*/ 73412 w 117296"/>
                  <a:gd name="connsiteY5" fmla="*/ 10087 h 106405"/>
                  <a:gd name="connsiteX6" fmla="*/ 7516 w 117296"/>
                  <a:gd name="connsiteY6" fmla="*/ 56438 h 106405"/>
                  <a:gd name="connsiteX7" fmla="*/ 860 w 117296"/>
                  <a:gd name="connsiteY7" fmla="*/ 55296 h 106405"/>
                  <a:gd name="connsiteX8" fmla="*/ 2001 w 117296"/>
                  <a:gd name="connsiteY8" fmla="*/ 48634 h 106405"/>
                  <a:gd name="connsiteX9" fmla="*/ 68753 w 117296"/>
                  <a:gd name="connsiteY9" fmla="*/ 1712 h 106405"/>
                  <a:gd name="connsiteX10" fmla="*/ 70560 w 117296"/>
                  <a:gd name="connsiteY10" fmla="*/ 951 h 106405"/>
                  <a:gd name="connsiteX11" fmla="*/ 111162 w 117296"/>
                  <a:gd name="connsiteY11" fmla="*/ 10944 h 106405"/>
                  <a:gd name="connsiteX12" fmla="*/ 111448 w 117296"/>
                  <a:gd name="connsiteY12" fmla="*/ 55772 h 106405"/>
                  <a:gd name="connsiteX13" fmla="*/ 109736 w 117296"/>
                  <a:gd name="connsiteY13" fmla="*/ 57866 h 106405"/>
                  <a:gd name="connsiteX14" fmla="*/ 42984 w 117296"/>
                  <a:gd name="connsiteY14" fmla="*/ 105549 h 106405"/>
                  <a:gd name="connsiteX15" fmla="*/ 40226 w 117296"/>
                  <a:gd name="connsiteY15" fmla="*/ 106405 h 10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296" h="106405">
                    <a:moveTo>
                      <a:pt x="40321" y="106310"/>
                    </a:moveTo>
                    <a:cubicBezTo>
                      <a:pt x="38800" y="106310"/>
                      <a:pt x="37374" y="105644"/>
                      <a:pt x="36423" y="104311"/>
                    </a:cubicBezTo>
                    <a:cubicBezTo>
                      <a:pt x="34901" y="102217"/>
                      <a:pt x="35377" y="99172"/>
                      <a:pt x="37564" y="97649"/>
                    </a:cubicBezTo>
                    <a:lnTo>
                      <a:pt x="103175" y="50823"/>
                    </a:lnTo>
                    <a:cubicBezTo>
                      <a:pt x="107454" y="39592"/>
                      <a:pt x="110687" y="25030"/>
                      <a:pt x="103936" y="16940"/>
                    </a:cubicBezTo>
                    <a:cubicBezTo>
                      <a:pt x="96804" y="8279"/>
                      <a:pt x="80354" y="8945"/>
                      <a:pt x="73412" y="10087"/>
                    </a:cubicBezTo>
                    <a:lnTo>
                      <a:pt x="7516" y="56438"/>
                    </a:lnTo>
                    <a:cubicBezTo>
                      <a:pt x="5424" y="57961"/>
                      <a:pt x="2381" y="57390"/>
                      <a:pt x="860" y="55296"/>
                    </a:cubicBezTo>
                    <a:cubicBezTo>
                      <a:pt x="-662" y="53107"/>
                      <a:pt x="-91" y="50156"/>
                      <a:pt x="2001" y="48634"/>
                    </a:cubicBezTo>
                    <a:lnTo>
                      <a:pt x="68753" y="1712"/>
                    </a:lnTo>
                    <a:cubicBezTo>
                      <a:pt x="69323" y="1331"/>
                      <a:pt x="69894" y="1046"/>
                      <a:pt x="70560" y="951"/>
                    </a:cubicBezTo>
                    <a:cubicBezTo>
                      <a:pt x="71701" y="760"/>
                      <a:pt x="98516" y="-4284"/>
                      <a:pt x="111162" y="10944"/>
                    </a:cubicBezTo>
                    <a:cubicBezTo>
                      <a:pt x="119245" y="20652"/>
                      <a:pt x="119340" y="35690"/>
                      <a:pt x="111448" y="55772"/>
                    </a:cubicBezTo>
                    <a:cubicBezTo>
                      <a:pt x="111068" y="56628"/>
                      <a:pt x="110497" y="57390"/>
                      <a:pt x="109736" y="57866"/>
                    </a:cubicBezTo>
                    <a:lnTo>
                      <a:pt x="42984" y="105549"/>
                    </a:lnTo>
                    <a:cubicBezTo>
                      <a:pt x="42128" y="106120"/>
                      <a:pt x="41177" y="106405"/>
                      <a:pt x="40226" y="10640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Freeform 44">
                <a:extLst>
                  <a:ext uri="{FF2B5EF4-FFF2-40B4-BE49-F238E27FC236}">
                    <a16:creationId xmlns:a16="http://schemas.microsoft.com/office/drawing/2014/main" id="{782E3047-D668-73F4-4A66-30B6F2742FDF}"/>
                  </a:ext>
                </a:extLst>
              </p:cNvPr>
              <p:cNvSpPr/>
              <p:nvPr/>
            </p:nvSpPr>
            <p:spPr>
              <a:xfrm>
                <a:off x="8720447" y="3144169"/>
                <a:ext cx="732855" cy="414185"/>
              </a:xfrm>
              <a:custGeom>
                <a:avLst/>
                <a:gdLst>
                  <a:gd name="connsiteX0" fmla="*/ 178999 w 197873"/>
                  <a:gd name="connsiteY0" fmla="*/ 111831 h 111831"/>
                  <a:gd name="connsiteX1" fmla="*/ 16207 w 197873"/>
                  <a:gd name="connsiteY1" fmla="*/ 111831 h 111831"/>
                  <a:gd name="connsiteX2" fmla="*/ 11452 w 197873"/>
                  <a:gd name="connsiteY2" fmla="*/ 107644 h 111831"/>
                  <a:gd name="connsiteX3" fmla="*/ 42 w 197873"/>
                  <a:gd name="connsiteY3" fmla="*/ 5330 h 111831"/>
                  <a:gd name="connsiteX4" fmla="*/ 1183 w 197873"/>
                  <a:gd name="connsiteY4" fmla="*/ 1618 h 111831"/>
                  <a:gd name="connsiteX5" fmla="*/ 4701 w 197873"/>
                  <a:gd name="connsiteY5" fmla="*/ 0 h 111831"/>
                  <a:gd name="connsiteX6" fmla="*/ 193072 w 197873"/>
                  <a:gd name="connsiteY6" fmla="*/ 0 h 111831"/>
                  <a:gd name="connsiteX7" fmla="*/ 196685 w 197873"/>
                  <a:gd name="connsiteY7" fmla="*/ 1618 h 111831"/>
                  <a:gd name="connsiteX8" fmla="*/ 197826 w 197873"/>
                  <a:gd name="connsiteY8" fmla="*/ 5425 h 111831"/>
                  <a:gd name="connsiteX9" fmla="*/ 183658 w 197873"/>
                  <a:gd name="connsiteY9" fmla="*/ 107739 h 111831"/>
                  <a:gd name="connsiteX10" fmla="*/ 178904 w 197873"/>
                  <a:gd name="connsiteY10" fmla="*/ 111831 h 111831"/>
                  <a:gd name="connsiteX11" fmla="*/ 20486 w 197873"/>
                  <a:gd name="connsiteY11" fmla="*/ 102314 h 111831"/>
                  <a:gd name="connsiteX12" fmla="*/ 174910 w 197873"/>
                  <a:gd name="connsiteY12" fmla="*/ 102314 h 111831"/>
                  <a:gd name="connsiteX13" fmla="*/ 187747 w 197873"/>
                  <a:gd name="connsiteY13" fmla="*/ 9518 h 111831"/>
                  <a:gd name="connsiteX14" fmla="*/ 10121 w 197873"/>
                  <a:gd name="connsiteY14" fmla="*/ 9518 h 111831"/>
                  <a:gd name="connsiteX15" fmla="*/ 20486 w 197873"/>
                  <a:gd name="connsiteY15" fmla="*/ 102314 h 11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873" h="111831">
                    <a:moveTo>
                      <a:pt x="178999" y="111831"/>
                    </a:moveTo>
                    <a:lnTo>
                      <a:pt x="16207" y="111831"/>
                    </a:lnTo>
                    <a:cubicBezTo>
                      <a:pt x="13830" y="111831"/>
                      <a:pt x="11738" y="110023"/>
                      <a:pt x="11452" y="107644"/>
                    </a:cubicBezTo>
                    <a:lnTo>
                      <a:pt x="42" y="5330"/>
                    </a:lnTo>
                    <a:cubicBezTo>
                      <a:pt x="-148" y="3998"/>
                      <a:pt x="327" y="2665"/>
                      <a:pt x="1183" y="1618"/>
                    </a:cubicBezTo>
                    <a:cubicBezTo>
                      <a:pt x="2038" y="571"/>
                      <a:pt x="3370" y="0"/>
                      <a:pt x="4701" y="0"/>
                    </a:cubicBezTo>
                    <a:lnTo>
                      <a:pt x="193072" y="0"/>
                    </a:lnTo>
                    <a:cubicBezTo>
                      <a:pt x="194403" y="0"/>
                      <a:pt x="195734" y="571"/>
                      <a:pt x="196685" y="1618"/>
                    </a:cubicBezTo>
                    <a:cubicBezTo>
                      <a:pt x="197636" y="2665"/>
                      <a:pt x="198017" y="3998"/>
                      <a:pt x="197826" y="5425"/>
                    </a:cubicBezTo>
                    <a:lnTo>
                      <a:pt x="183658" y="107739"/>
                    </a:lnTo>
                    <a:cubicBezTo>
                      <a:pt x="183373" y="110118"/>
                      <a:pt x="181281" y="111831"/>
                      <a:pt x="178904" y="111831"/>
                    </a:cubicBezTo>
                    <a:close/>
                    <a:moveTo>
                      <a:pt x="20486" y="102314"/>
                    </a:moveTo>
                    <a:lnTo>
                      <a:pt x="174910" y="102314"/>
                    </a:lnTo>
                    <a:lnTo>
                      <a:pt x="187747" y="9518"/>
                    </a:lnTo>
                    <a:lnTo>
                      <a:pt x="10121" y="9518"/>
                    </a:lnTo>
                    <a:lnTo>
                      <a:pt x="20486" y="102314"/>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6" name="Freeform 45">
                <a:extLst>
                  <a:ext uri="{FF2B5EF4-FFF2-40B4-BE49-F238E27FC236}">
                    <a16:creationId xmlns:a16="http://schemas.microsoft.com/office/drawing/2014/main" id="{C46A5410-BFD5-3E8A-5045-7E076506DD7E}"/>
                  </a:ext>
                </a:extLst>
              </p:cNvPr>
              <p:cNvSpPr/>
              <p:nvPr/>
            </p:nvSpPr>
            <p:spPr>
              <a:xfrm>
                <a:off x="8976985" y="3191402"/>
                <a:ext cx="189468" cy="292220"/>
              </a:xfrm>
              <a:custGeom>
                <a:avLst/>
                <a:gdLst>
                  <a:gd name="connsiteX0" fmla="*/ 25579 w 51157"/>
                  <a:gd name="connsiteY0" fmla="*/ 78901 h 78900"/>
                  <a:gd name="connsiteX1" fmla="*/ 0 w 51157"/>
                  <a:gd name="connsiteY1" fmla="*/ 53298 h 78900"/>
                  <a:gd name="connsiteX2" fmla="*/ 1712 w 51157"/>
                  <a:gd name="connsiteY2" fmla="*/ 44162 h 78900"/>
                  <a:gd name="connsiteX3" fmla="*/ 2282 w 51157"/>
                  <a:gd name="connsiteY3" fmla="*/ 43020 h 78900"/>
                  <a:gd name="connsiteX4" fmla="*/ 21300 w 51157"/>
                  <a:gd name="connsiteY4" fmla="*/ 2760 h 78900"/>
                  <a:gd name="connsiteX5" fmla="*/ 25579 w 51157"/>
                  <a:gd name="connsiteY5" fmla="*/ 0 h 78900"/>
                  <a:gd name="connsiteX6" fmla="*/ 25579 w 51157"/>
                  <a:gd name="connsiteY6" fmla="*/ 0 h 78900"/>
                  <a:gd name="connsiteX7" fmla="*/ 29858 w 51157"/>
                  <a:gd name="connsiteY7" fmla="*/ 2760 h 78900"/>
                  <a:gd name="connsiteX8" fmla="*/ 49351 w 51157"/>
                  <a:gd name="connsiteY8" fmla="*/ 43876 h 78900"/>
                  <a:gd name="connsiteX9" fmla="*/ 49732 w 51157"/>
                  <a:gd name="connsiteY9" fmla="*/ 44828 h 78900"/>
                  <a:gd name="connsiteX10" fmla="*/ 51158 w 51157"/>
                  <a:gd name="connsiteY10" fmla="*/ 53298 h 78900"/>
                  <a:gd name="connsiteX11" fmla="*/ 25579 w 51157"/>
                  <a:gd name="connsiteY11" fmla="*/ 78901 h 78900"/>
                  <a:gd name="connsiteX12" fmla="*/ 10269 w 51157"/>
                  <a:gd name="connsiteY12" fmla="*/ 48254 h 78900"/>
                  <a:gd name="connsiteX13" fmla="*/ 9509 w 51157"/>
                  <a:gd name="connsiteY13" fmla="*/ 53203 h 78900"/>
                  <a:gd name="connsiteX14" fmla="*/ 25579 w 51157"/>
                  <a:gd name="connsiteY14" fmla="*/ 69288 h 78900"/>
                  <a:gd name="connsiteX15" fmla="*/ 41649 w 51157"/>
                  <a:gd name="connsiteY15" fmla="*/ 53203 h 78900"/>
                  <a:gd name="connsiteX16" fmla="*/ 40603 w 51157"/>
                  <a:gd name="connsiteY16" fmla="*/ 47493 h 78900"/>
                  <a:gd name="connsiteX17" fmla="*/ 40603 w 51157"/>
                  <a:gd name="connsiteY17" fmla="*/ 47302 h 78900"/>
                  <a:gd name="connsiteX18" fmla="*/ 25579 w 51157"/>
                  <a:gd name="connsiteY18" fmla="*/ 15799 h 78900"/>
                  <a:gd name="connsiteX19" fmla="*/ 10460 w 51157"/>
                  <a:gd name="connsiteY19" fmla="*/ 47778 h 78900"/>
                  <a:gd name="connsiteX20" fmla="*/ 10269 w 51157"/>
                  <a:gd name="connsiteY20" fmla="*/ 48159 h 7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157" h="78900">
                    <a:moveTo>
                      <a:pt x="25579" y="78901"/>
                    </a:moveTo>
                    <a:cubicBezTo>
                      <a:pt x="11506" y="78901"/>
                      <a:pt x="0" y="67385"/>
                      <a:pt x="0" y="53298"/>
                    </a:cubicBezTo>
                    <a:cubicBezTo>
                      <a:pt x="0" y="50253"/>
                      <a:pt x="571" y="47112"/>
                      <a:pt x="1712" y="44162"/>
                    </a:cubicBezTo>
                    <a:cubicBezTo>
                      <a:pt x="1902" y="43781"/>
                      <a:pt x="2092" y="43400"/>
                      <a:pt x="2282" y="43020"/>
                    </a:cubicBezTo>
                    <a:lnTo>
                      <a:pt x="21300" y="2760"/>
                    </a:lnTo>
                    <a:cubicBezTo>
                      <a:pt x="22061" y="1142"/>
                      <a:pt x="23772" y="0"/>
                      <a:pt x="25579" y="0"/>
                    </a:cubicBezTo>
                    <a:lnTo>
                      <a:pt x="25579" y="0"/>
                    </a:lnTo>
                    <a:cubicBezTo>
                      <a:pt x="27386" y="0"/>
                      <a:pt x="29097" y="1047"/>
                      <a:pt x="29858" y="2760"/>
                    </a:cubicBezTo>
                    <a:lnTo>
                      <a:pt x="49351" y="43876"/>
                    </a:lnTo>
                    <a:cubicBezTo>
                      <a:pt x="49351" y="43876"/>
                      <a:pt x="49636" y="44542"/>
                      <a:pt x="49732" y="44828"/>
                    </a:cubicBezTo>
                    <a:cubicBezTo>
                      <a:pt x="50682" y="47588"/>
                      <a:pt x="51158" y="50443"/>
                      <a:pt x="51158" y="53298"/>
                    </a:cubicBezTo>
                    <a:cubicBezTo>
                      <a:pt x="51158" y="67480"/>
                      <a:pt x="39652" y="78901"/>
                      <a:pt x="25579" y="78901"/>
                    </a:cubicBezTo>
                    <a:close/>
                    <a:moveTo>
                      <a:pt x="10269" y="48254"/>
                    </a:moveTo>
                    <a:cubicBezTo>
                      <a:pt x="9699" y="49872"/>
                      <a:pt x="9509" y="51585"/>
                      <a:pt x="9509" y="53203"/>
                    </a:cubicBezTo>
                    <a:cubicBezTo>
                      <a:pt x="9509" y="62055"/>
                      <a:pt x="16736" y="69288"/>
                      <a:pt x="25579" y="69288"/>
                    </a:cubicBezTo>
                    <a:cubicBezTo>
                      <a:pt x="34422" y="69288"/>
                      <a:pt x="41649" y="62055"/>
                      <a:pt x="41649" y="53203"/>
                    </a:cubicBezTo>
                    <a:cubicBezTo>
                      <a:pt x="41649" y="51300"/>
                      <a:pt x="41269" y="49396"/>
                      <a:pt x="40603" y="47493"/>
                    </a:cubicBezTo>
                    <a:lnTo>
                      <a:pt x="40603" y="47302"/>
                    </a:lnTo>
                    <a:cubicBezTo>
                      <a:pt x="40603" y="47302"/>
                      <a:pt x="25579" y="15799"/>
                      <a:pt x="25579" y="15799"/>
                    </a:cubicBezTo>
                    <a:lnTo>
                      <a:pt x="10460" y="47778"/>
                    </a:lnTo>
                    <a:cubicBezTo>
                      <a:pt x="10460" y="47778"/>
                      <a:pt x="10365" y="48064"/>
                      <a:pt x="10269" y="48159"/>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71" name="Freeform 41">
              <a:extLst>
                <a:ext uri="{FF2B5EF4-FFF2-40B4-BE49-F238E27FC236}">
                  <a16:creationId xmlns:a16="http://schemas.microsoft.com/office/drawing/2014/main" id="{4DD92D8F-0343-61E2-1284-435B6AF7AD4E}"/>
                </a:ext>
              </a:extLst>
            </p:cNvPr>
            <p:cNvSpPr/>
            <p:nvPr/>
          </p:nvSpPr>
          <p:spPr>
            <a:xfrm>
              <a:off x="9650101" y="2537764"/>
              <a:ext cx="121741" cy="165471"/>
            </a:xfrm>
            <a:custGeom>
              <a:avLst/>
              <a:gdLst>
                <a:gd name="connsiteX0" fmla="*/ 54516 w 59300"/>
                <a:gd name="connsiteY0" fmla="*/ 79978 h 79977"/>
                <a:gd name="connsiteX1" fmla="*/ 50617 w 59300"/>
                <a:gd name="connsiteY1" fmla="*/ 77979 h 79977"/>
                <a:gd name="connsiteX2" fmla="*/ 886 w 59300"/>
                <a:gd name="connsiteY2" fmla="*/ 7549 h 79977"/>
                <a:gd name="connsiteX3" fmla="*/ 2027 w 59300"/>
                <a:gd name="connsiteY3" fmla="*/ 887 h 79977"/>
                <a:gd name="connsiteX4" fmla="*/ 8683 w 59300"/>
                <a:gd name="connsiteY4" fmla="*/ 2029 h 79977"/>
                <a:gd name="connsiteX5" fmla="*/ 58415 w 59300"/>
                <a:gd name="connsiteY5" fmla="*/ 72459 h 79977"/>
                <a:gd name="connsiteX6" fmla="*/ 57273 w 59300"/>
                <a:gd name="connsiteY6" fmla="*/ 79121 h 79977"/>
                <a:gd name="connsiteX7" fmla="*/ 54516 w 59300"/>
                <a:gd name="connsiteY7" fmla="*/ 79978 h 7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0" h="79977">
                  <a:moveTo>
                    <a:pt x="54516" y="79978"/>
                  </a:moveTo>
                  <a:cubicBezTo>
                    <a:pt x="52995" y="79978"/>
                    <a:pt x="51568" y="79311"/>
                    <a:pt x="50617" y="77979"/>
                  </a:cubicBezTo>
                  <a:lnTo>
                    <a:pt x="886" y="7549"/>
                  </a:lnTo>
                  <a:cubicBezTo>
                    <a:pt x="-636" y="5360"/>
                    <a:pt x="-160" y="2409"/>
                    <a:pt x="2027" y="887"/>
                  </a:cubicBezTo>
                  <a:cubicBezTo>
                    <a:pt x="4119" y="-636"/>
                    <a:pt x="7162" y="-160"/>
                    <a:pt x="8683" y="2029"/>
                  </a:cubicBezTo>
                  <a:lnTo>
                    <a:pt x="58415" y="72459"/>
                  </a:lnTo>
                  <a:cubicBezTo>
                    <a:pt x="59936" y="74648"/>
                    <a:pt x="59461" y="77598"/>
                    <a:pt x="57273" y="79121"/>
                  </a:cubicBezTo>
                  <a:cubicBezTo>
                    <a:pt x="56418" y="79692"/>
                    <a:pt x="55467" y="79978"/>
                    <a:pt x="54516" y="79978"/>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89" name="Group 188">
            <a:extLst>
              <a:ext uri="{FF2B5EF4-FFF2-40B4-BE49-F238E27FC236}">
                <a16:creationId xmlns:a16="http://schemas.microsoft.com/office/drawing/2014/main" id="{E34000B8-0CDB-994D-C405-D908713CB367}"/>
              </a:ext>
            </a:extLst>
          </p:cNvPr>
          <p:cNvGrpSpPr/>
          <p:nvPr/>
        </p:nvGrpSpPr>
        <p:grpSpPr>
          <a:xfrm>
            <a:off x="523158" y="4253573"/>
            <a:ext cx="467166" cy="371524"/>
            <a:chOff x="4141596" y="1789977"/>
            <a:chExt cx="1651912" cy="1545814"/>
          </a:xfrm>
          <a:solidFill>
            <a:srgbClr val="003055"/>
          </a:solidFill>
        </p:grpSpPr>
        <p:sp>
          <p:nvSpPr>
            <p:cNvPr id="199" name="Freeform 97">
              <a:extLst>
                <a:ext uri="{FF2B5EF4-FFF2-40B4-BE49-F238E27FC236}">
                  <a16:creationId xmlns:a16="http://schemas.microsoft.com/office/drawing/2014/main" id="{105D77CF-FD43-3E0D-A73D-9EEE696C5042}"/>
                </a:ext>
              </a:extLst>
            </p:cNvPr>
            <p:cNvSpPr/>
            <p:nvPr/>
          </p:nvSpPr>
          <p:spPr>
            <a:xfrm>
              <a:off x="4294574" y="1789977"/>
              <a:ext cx="621295" cy="611012"/>
            </a:xfrm>
            <a:custGeom>
              <a:avLst/>
              <a:gdLst>
                <a:gd name="connsiteX0" fmla="*/ 67991 w 135981"/>
                <a:gd name="connsiteY0" fmla="*/ 133731 h 133730"/>
                <a:gd name="connsiteX1" fmla="*/ 0 w 135981"/>
                <a:gd name="connsiteY1" fmla="*/ 66865 h 133730"/>
                <a:gd name="connsiteX2" fmla="*/ 67991 w 135981"/>
                <a:gd name="connsiteY2" fmla="*/ 0 h 133730"/>
                <a:gd name="connsiteX3" fmla="*/ 135982 w 135981"/>
                <a:gd name="connsiteY3" fmla="*/ 66865 h 133730"/>
                <a:gd name="connsiteX4" fmla="*/ 67991 w 135981"/>
                <a:gd name="connsiteY4" fmla="*/ 133731 h 133730"/>
                <a:gd name="connsiteX5" fmla="*/ 67991 w 135981"/>
                <a:gd name="connsiteY5" fmla="*/ 9525 h 133730"/>
                <a:gd name="connsiteX6" fmla="*/ 9509 w 135981"/>
                <a:gd name="connsiteY6" fmla="*/ 66865 h 133730"/>
                <a:gd name="connsiteX7" fmla="*/ 67991 w 135981"/>
                <a:gd name="connsiteY7" fmla="*/ 124206 h 133730"/>
                <a:gd name="connsiteX8" fmla="*/ 126472 w 135981"/>
                <a:gd name="connsiteY8" fmla="*/ 66865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4" y="133731"/>
                    <a:pt x="0" y="103727"/>
                    <a:pt x="0" y="66865"/>
                  </a:cubicBezTo>
                  <a:cubicBezTo>
                    <a:pt x="0" y="30004"/>
                    <a:pt x="30524" y="0"/>
                    <a:pt x="67991" y="0"/>
                  </a:cubicBezTo>
                  <a:cubicBezTo>
                    <a:pt x="105457" y="0"/>
                    <a:pt x="135982" y="30004"/>
                    <a:pt x="135982" y="66865"/>
                  </a:cubicBezTo>
                  <a:cubicBezTo>
                    <a:pt x="135982" y="103727"/>
                    <a:pt x="105457" y="133731"/>
                    <a:pt x="67991" y="133731"/>
                  </a:cubicBezTo>
                  <a:close/>
                  <a:moveTo>
                    <a:pt x="67991" y="9525"/>
                  </a:moveTo>
                  <a:cubicBezTo>
                    <a:pt x="35754" y="9525"/>
                    <a:pt x="9509" y="35242"/>
                    <a:pt x="9509" y="66865"/>
                  </a:cubicBezTo>
                  <a:cubicBezTo>
                    <a:pt x="9509" y="98488"/>
                    <a:pt x="35754" y="124206"/>
                    <a:pt x="67991" y="124206"/>
                  </a:cubicBezTo>
                  <a:cubicBezTo>
                    <a:pt x="100227" y="124206"/>
                    <a:pt x="126472" y="98488"/>
                    <a:pt x="126472" y="66865"/>
                  </a:cubicBezTo>
                  <a:cubicBezTo>
                    <a:pt x="126472"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0" name="Freeform 98">
              <a:extLst>
                <a:ext uri="{FF2B5EF4-FFF2-40B4-BE49-F238E27FC236}">
                  <a16:creationId xmlns:a16="http://schemas.microsoft.com/office/drawing/2014/main" id="{FC0CC473-49C2-B5F9-0BF8-514834A98D48}"/>
                </a:ext>
              </a:extLst>
            </p:cNvPr>
            <p:cNvSpPr/>
            <p:nvPr/>
          </p:nvSpPr>
          <p:spPr>
            <a:xfrm>
              <a:off x="4783360" y="2290885"/>
              <a:ext cx="398845" cy="399508"/>
            </a:xfrm>
            <a:custGeom>
              <a:avLst/>
              <a:gdLst>
                <a:gd name="connsiteX0" fmla="*/ 43647 w 87294"/>
                <a:gd name="connsiteY0" fmla="*/ 87440 h 87439"/>
                <a:gd name="connsiteX1" fmla="*/ 0 w 87294"/>
                <a:gd name="connsiteY1" fmla="*/ 43720 h 87439"/>
                <a:gd name="connsiteX2" fmla="*/ 43647 w 87294"/>
                <a:gd name="connsiteY2" fmla="*/ 0 h 87439"/>
                <a:gd name="connsiteX3" fmla="*/ 87294 w 87294"/>
                <a:gd name="connsiteY3" fmla="*/ 43720 h 87439"/>
                <a:gd name="connsiteX4" fmla="*/ 43647 w 87294"/>
                <a:gd name="connsiteY4" fmla="*/ 87440 h 87439"/>
                <a:gd name="connsiteX5" fmla="*/ 43647 w 87294"/>
                <a:gd name="connsiteY5" fmla="*/ 9525 h 87439"/>
                <a:gd name="connsiteX6" fmla="*/ 9509 w 87294"/>
                <a:gd name="connsiteY6" fmla="*/ 43720 h 87439"/>
                <a:gd name="connsiteX7" fmla="*/ 43647 w 87294"/>
                <a:gd name="connsiteY7" fmla="*/ 77915 h 87439"/>
                <a:gd name="connsiteX8" fmla="*/ 77785 w 87294"/>
                <a:gd name="connsiteY8" fmla="*/ 43720 h 87439"/>
                <a:gd name="connsiteX9" fmla="*/ 43647 w 87294"/>
                <a:gd name="connsiteY9" fmla="*/ 9525 h 8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94" h="87439">
                  <a:moveTo>
                    <a:pt x="43647" y="87440"/>
                  </a:moveTo>
                  <a:cubicBezTo>
                    <a:pt x="19589" y="87440"/>
                    <a:pt x="0" y="67818"/>
                    <a:pt x="0" y="43720"/>
                  </a:cubicBezTo>
                  <a:cubicBezTo>
                    <a:pt x="0" y="19621"/>
                    <a:pt x="19589" y="0"/>
                    <a:pt x="43647" y="0"/>
                  </a:cubicBezTo>
                  <a:cubicBezTo>
                    <a:pt x="67705" y="0"/>
                    <a:pt x="87294" y="19621"/>
                    <a:pt x="87294" y="43720"/>
                  </a:cubicBezTo>
                  <a:cubicBezTo>
                    <a:pt x="87294" y="67818"/>
                    <a:pt x="67705" y="87440"/>
                    <a:pt x="43647" y="87440"/>
                  </a:cubicBezTo>
                  <a:close/>
                  <a:moveTo>
                    <a:pt x="43647" y="9525"/>
                  </a:moveTo>
                  <a:cubicBezTo>
                    <a:pt x="24819" y="9525"/>
                    <a:pt x="9509" y="24860"/>
                    <a:pt x="9509" y="43720"/>
                  </a:cubicBezTo>
                  <a:cubicBezTo>
                    <a:pt x="9509" y="62579"/>
                    <a:pt x="24819" y="77915"/>
                    <a:pt x="43647" y="77915"/>
                  </a:cubicBezTo>
                  <a:cubicBezTo>
                    <a:pt x="62475" y="77915"/>
                    <a:pt x="77785" y="62579"/>
                    <a:pt x="77785" y="43720"/>
                  </a:cubicBezTo>
                  <a:cubicBezTo>
                    <a:pt x="77785" y="24860"/>
                    <a:pt x="62475" y="9525"/>
                    <a:pt x="4364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99">
              <a:extLst>
                <a:ext uri="{FF2B5EF4-FFF2-40B4-BE49-F238E27FC236}">
                  <a16:creationId xmlns:a16="http://schemas.microsoft.com/office/drawing/2014/main" id="{96814962-9FBE-AF6B-2766-25B3F1CEA6F3}"/>
                </a:ext>
              </a:extLst>
            </p:cNvPr>
            <p:cNvSpPr/>
            <p:nvPr/>
          </p:nvSpPr>
          <p:spPr>
            <a:xfrm>
              <a:off x="5172213" y="1956654"/>
              <a:ext cx="621295" cy="611012"/>
            </a:xfrm>
            <a:custGeom>
              <a:avLst/>
              <a:gdLst>
                <a:gd name="connsiteX0" fmla="*/ 67991 w 135981"/>
                <a:gd name="connsiteY0" fmla="*/ 133731 h 133730"/>
                <a:gd name="connsiteX1" fmla="*/ 0 w 135981"/>
                <a:gd name="connsiteY1" fmla="*/ 66866 h 133730"/>
                <a:gd name="connsiteX2" fmla="*/ 67991 w 135981"/>
                <a:gd name="connsiteY2" fmla="*/ 0 h 133730"/>
                <a:gd name="connsiteX3" fmla="*/ 135982 w 135981"/>
                <a:gd name="connsiteY3" fmla="*/ 66866 h 133730"/>
                <a:gd name="connsiteX4" fmla="*/ 67991 w 135981"/>
                <a:gd name="connsiteY4" fmla="*/ 133731 h 133730"/>
                <a:gd name="connsiteX5" fmla="*/ 67991 w 135981"/>
                <a:gd name="connsiteY5" fmla="*/ 9525 h 133730"/>
                <a:gd name="connsiteX6" fmla="*/ 9509 w 135981"/>
                <a:gd name="connsiteY6" fmla="*/ 66866 h 133730"/>
                <a:gd name="connsiteX7" fmla="*/ 67991 w 135981"/>
                <a:gd name="connsiteY7" fmla="*/ 124206 h 133730"/>
                <a:gd name="connsiteX8" fmla="*/ 126473 w 135981"/>
                <a:gd name="connsiteY8" fmla="*/ 66866 h 133730"/>
                <a:gd name="connsiteX9" fmla="*/ 67991 w 135981"/>
                <a:gd name="connsiteY9" fmla="*/ 9525 h 13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981" h="133730">
                  <a:moveTo>
                    <a:pt x="67991" y="133731"/>
                  </a:moveTo>
                  <a:cubicBezTo>
                    <a:pt x="30525" y="133731"/>
                    <a:pt x="0" y="103727"/>
                    <a:pt x="0" y="66866"/>
                  </a:cubicBezTo>
                  <a:cubicBezTo>
                    <a:pt x="0" y="30004"/>
                    <a:pt x="30525" y="0"/>
                    <a:pt x="67991" y="0"/>
                  </a:cubicBezTo>
                  <a:cubicBezTo>
                    <a:pt x="105457" y="0"/>
                    <a:pt x="135982" y="30004"/>
                    <a:pt x="135982" y="66866"/>
                  </a:cubicBezTo>
                  <a:cubicBezTo>
                    <a:pt x="135982" y="103727"/>
                    <a:pt x="105457" y="133731"/>
                    <a:pt x="67991" y="133731"/>
                  </a:cubicBezTo>
                  <a:close/>
                  <a:moveTo>
                    <a:pt x="67991" y="9525"/>
                  </a:moveTo>
                  <a:cubicBezTo>
                    <a:pt x="35755" y="9525"/>
                    <a:pt x="9509" y="35242"/>
                    <a:pt x="9509" y="66866"/>
                  </a:cubicBezTo>
                  <a:cubicBezTo>
                    <a:pt x="9509" y="98488"/>
                    <a:pt x="35755" y="124206"/>
                    <a:pt x="67991" y="124206"/>
                  </a:cubicBezTo>
                  <a:cubicBezTo>
                    <a:pt x="100227" y="124206"/>
                    <a:pt x="126473" y="98488"/>
                    <a:pt x="126473" y="66866"/>
                  </a:cubicBezTo>
                  <a:cubicBezTo>
                    <a:pt x="126473" y="35242"/>
                    <a:pt x="100227" y="9525"/>
                    <a:pt x="67991"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2" name="Freeform 101">
              <a:extLst>
                <a:ext uri="{FF2B5EF4-FFF2-40B4-BE49-F238E27FC236}">
                  <a16:creationId xmlns:a16="http://schemas.microsoft.com/office/drawing/2014/main" id="{FFCD21C6-48A8-E09F-AF81-D92A03FBAFBD}"/>
                </a:ext>
              </a:extLst>
            </p:cNvPr>
            <p:cNvSpPr/>
            <p:nvPr/>
          </p:nvSpPr>
          <p:spPr>
            <a:xfrm>
              <a:off x="4649973" y="2713462"/>
              <a:ext cx="610001" cy="622329"/>
            </a:xfrm>
            <a:custGeom>
              <a:avLst/>
              <a:gdLst>
                <a:gd name="connsiteX0" fmla="*/ 66755 w 133509"/>
                <a:gd name="connsiteY0" fmla="*/ 136208 h 136207"/>
                <a:gd name="connsiteX1" fmla="*/ 0 w 133509"/>
                <a:gd name="connsiteY1" fmla="*/ 68104 h 136207"/>
                <a:gd name="connsiteX2" fmla="*/ 66755 w 133509"/>
                <a:gd name="connsiteY2" fmla="*/ 0 h 136207"/>
                <a:gd name="connsiteX3" fmla="*/ 133509 w 133509"/>
                <a:gd name="connsiteY3" fmla="*/ 68104 h 136207"/>
                <a:gd name="connsiteX4" fmla="*/ 66755 w 133509"/>
                <a:gd name="connsiteY4" fmla="*/ 136208 h 136207"/>
                <a:gd name="connsiteX5" fmla="*/ 66755 w 133509"/>
                <a:gd name="connsiteY5" fmla="*/ 9525 h 136207"/>
                <a:gd name="connsiteX6" fmla="*/ 9509 w 133509"/>
                <a:gd name="connsiteY6" fmla="*/ 68104 h 136207"/>
                <a:gd name="connsiteX7" fmla="*/ 66755 w 133509"/>
                <a:gd name="connsiteY7" fmla="*/ 126683 h 136207"/>
                <a:gd name="connsiteX8" fmla="*/ 124000 w 133509"/>
                <a:gd name="connsiteY8" fmla="*/ 68104 h 136207"/>
                <a:gd name="connsiteX9" fmla="*/ 66755 w 133509"/>
                <a:gd name="connsiteY9" fmla="*/ 9525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509" h="136207">
                  <a:moveTo>
                    <a:pt x="66755" y="136208"/>
                  </a:moveTo>
                  <a:cubicBezTo>
                    <a:pt x="29954" y="136208"/>
                    <a:pt x="0" y="105632"/>
                    <a:pt x="0" y="68104"/>
                  </a:cubicBezTo>
                  <a:cubicBezTo>
                    <a:pt x="0" y="30575"/>
                    <a:pt x="29954" y="0"/>
                    <a:pt x="66755" y="0"/>
                  </a:cubicBezTo>
                  <a:cubicBezTo>
                    <a:pt x="103555" y="0"/>
                    <a:pt x="133509" y="30575"/>
                    <a:pt x="133509" y="68104"/>
                  </a:cubicBezTo>
                  <a:cubicBezTo>
                    <a:pt x="133509" y="105632"/>
                    <a:pt x="103555" y="136208"/>
                    <a:pt x="66755" y="136208"/>
                  </a:cubicBezTo>
                  <a:close/>
                  <a:moveTo>
                    <a:pt x="66755" y="9525"/>
                  </a:moveTo>
                  <a:cubicBezTo>
                    <a:pt x="35184" y="9525"/>
                    <a:pt x="9509" y="35814"/>
                    <a:pt x="9509" y="68104"/>
                  </a:cubicBezTo>
                  <a:cubicBezTo>
                    <a:pt x="9509" y="100393"/>
                    <a:pt x="35184" y="126683"/>
                    <a:pt x="66755" y="126683"/>
                  </a:cubicBezTo>
                  <a:cubicBezTo>
                    <a:pt x="98325" y="126683"/>
                    <a:pt x="124000" y="100393"/>
                    <a:pt x="124000" y="68104"/>
                  </a:cubicBezTo>
                  <a:cubicBezTo>
                    <a:pt x="124000" y="35814"/>
                    <a:pt x="98325" y="9525"/>
                    <a:pt x="66755"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3" name="Freeform 103">
              <a:extLst>
                <a:ext uri="{FF2B5EF4-FFF2-40B4-BE49-F238E27FC236}">
                  <a16:creationId xmlns:a16="http://schemas.microsoft.com/office/drawing/2014/main" id="{5E63A80C-543C-1207-56D3-0181739334A9}"/>
                </a:ext>
              </a:extLst>
            </p:cNvPr>
            <p:cNvSpPr/>
            <p:nvPr/>
          </p:nvSpPr>
          <p:spPr>
            <a:xfrm>
              <a:off x="4483136" y="2435804"/>
              <a:ext cx="277191" cy="288098"/>
            </a:xfrm>
            <a:custGeom>
              <a:avLst/>
              <a:gdLst>
                <a:gd name="connsiteX0" fmla="*/ 30334 w 60668"/>
                <a:gd name="connsiteY0" fmla="*/ 63055 h 63055"/>
                <a:gd name="connsiteX1" fmla="*/ 0 w 60668"/>
                <a:gd name="connsiteY1" fmla="*/ 31528 h 63055"/>
                <a:gd name="connsiteX2" fmla="*/ 30334 w 60668"/>
                <a:gd name="connsiteY2" fmla="*/ 0 h 63055"/>
                <a:gd name="connsiteX3" fmla="*/ 60669 w 60668"/>
                <a:gd name="connsiteY3" fmla="*/ 31528 h 63055"/>
                <a:gd name="connsiteX4" fmla="*/ 30334 w 60668"/>
                <a:gd name="connsiteY4" fmla="*/ 63055 h 63055"/>
                <a:gd name="connsiteX5" fmla="*/ 30334 w 60668"/>
                <a:gd name="connsiteY5" fmla="*/ 9430 h 63055"/>
                <a:gd name="connsiteX6" fmla="*/ 9509 w 60668"/>
                <a:gd name="connsiteY6" fmla="*/ 31433 h 63055"/>
                <a:gd name="connsiteX7" fmla="*/ 30334 w 60668"/>
                <a:gd name="connsiteY7" fmla="*/ 53435 h 63055"/>
                <a:gd name="connsiteX8" fmla="*/ 51160 w 60668"/>
                <a:gd name="connsiteY8" fmla="*/ 31433 h 63055"/>
                <a:gd name="connsiteX9" fmla="*/ 30334 w 60668"/>
                <a:gd name="connsiteY9" fmla="*/ 9430 h 6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68" h="63055">
                  <a:moveTo>
                    <a:pt x="30334" y="63055"/>
                  </a:moveTo>
                  <a:cubicBezTo>
                    <a:pt x="13598" y="63055"/>
                    <a:pt x="0" y="48863"/>
                    <a:pt x="0" y="31528"/>
                  </a:cubicBezTo>
                  <a:cubicBezTo>
                    <a:pt x="0" y="14192"/>
                    <a:pt x="13598" y="0"/>
                    <a:pt x="30334" y="0"/>
                  </a:cubicBezTo>
                  <a:cubicBezTo>
                    <a:pt x="47070" y="0"/>
                    <a:pt x="60669" y="14192"/>
                    <a:pt x="60669" y="31528"/>
                  </a:cubicBezTo>
                  <a:cubicBezTo>
                    <a:pt x="60669" y="48863"/>
                    <a:pt x="47070" y="63055"/>
                    <a:pt x="30334" y="63055"/>
                  </a:cubicBezTo>
                  <a:close/>
                  <a:moveTo>
                    <a:pt x="30334" y="9430"/>
                  </a:moveTo>
                  <a:cubicBezTo>
                    <a:pt x="18828" y="9430"/>
                    <a:pt x="9509" y="19336"/>
                    <a:pt x="9509" y="31433"/>
                  </a:cubicBezTo>
                  <a:cubicBezTo>
                    <a:pt x="9509" y="43529"/>
                    <a:pt x="18828" y="53435"/>
                    <a:pt x="30334" y="53435"/>
                  </a:cubicBezTo>
                  <a:cubicBezTo>
                    <a:pt x="41840" y="53435"/>
                    <a:pt x="51160" y="43529"/>
                    <a:pt x="51160" y="31433"/>
                  </a:cubicBezTo>
                  <a:cubicBezTo>
                    <a:pt x="51160" y="19336"/>
                    <a:pt x="41840" y="9430"/>
                    <a:pt x="30334" y="9430"/>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4" name="Oval 203">
              <a:extLst>
                <a:ext uri="{FF2B5EF4-FFF2-40B4-BE49-F238E27FC236}">
                  <a16:creationId xmlns:a16="http://schemas.microsoft.com/office/drawing/2014/main" id="{4E15B43B-8E2B-E514-88E7-CFB7AD982044}"/>
                </a:ext>
              </a:extLst>
            </p:cNvPr>
            <p:cNvSpPr/>
            <p:nvPr/>
          </p:nvSpPr>
          <p:spPr>
            <a:xfrm>
              <a:off x="4938921" y="1941206"/>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5" name="Oval 204">
              <a:extLst>
                <a:ext uri="{FF2B5EF4-FFF2-40B4-BE49-F238E27FC236}">
                  <a16:creationId xmlns:a16="http://schemas.microsoft.com/office/drawing/2014/main" id="{C6009C1A-1196-60D7-A1F3-B1790DB0F305}"/>
                </a:ext>
              </a:extLst>
            </p:cNvPr>
            <p:cNvSpPr/>
            <p:nvPr/>
          </p:nvSpPr>
          <p:spPr>
            <a:xfrm>
              <a:off x="4141596" y="2667769"/>
              <a:ext cx="461061" cy="461061"/>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6" name="Oval 205">
              <a:extLst>
                <a:ext uri="{FF2B5EF4-FFF2-40B4-BE49-F238E27FC236}">
                  <a16:creationId xmlns:a16="http://schemas.microsoft.com/office/drawing/2014/main" id="{7C42200F-BDD5-8C06-4DE3-F51AB49E9F83}"/>
                </a:ext>
              </a:extLst>
            </p:cNvPr>
            <p:cNvSpPr/>
            <p:nvPr/>
          </p:nvSpPr>
          <p:spPr>
            <a:xfrm>
              <a:off x="5220925" y="2607214"/>
              <a:ext cx="233316" cy="233316"/>
            </a:xfrm>
            <a:prstGeom prst="ellipse">
              <a:avLst/>
            </a:prstGeom>
            <a:grpFill/>
            <a:ln>
              <a:solidFill>
                <a:srgbClr val="003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216" name="Group 215">
            <a:extLst>
              <a:ext uri="{FF2B5EF4-FFF2-40B4-BE49-F238E27FC236}">
                <a16:creationId xmlns:a16="http://schemas.microsoft.com/office/drawing/2014/main" id="{E7249DB0-8087-8037-0655-132F281A3C16}"/>
              </a:ext>
            </a:extLst>
          </p:cNvPr>
          <p:cNvGrpSpPr/>
          <p:nvPr/>
        </p:nvGrpSpPr>
        <p:grpSpPr>
          <a:xfrm>
            <a:off x="522032" y="5505823"/>
            <a:ext cx="411417" cy="361577"/>
            <a:chOff x="6465137" y="2161944"/>
            <a:chExt cx="1504381" cy="1549300"/>
          </a:xfrm>
          <a:solidFill>
            <a:srgbClr val="003055"/>
          </a:solidFill>
        </p:grpSpPr>
        <p:sp>
          <p:nvSpPr>
            <p:cNvPr id="229" name="Freeform 111">
              <a:extLst>
                <a:ext uri="{FF2B5EF4-FFF2-40B4-BE49-F238E27FC236}">
                  <a16:creationId xmlns:a16="http://schemas.microsoft.com/office/drawing/2014/main" id="{BBAC2FBC-B990-DF00-5670-30A2892485B4}"/>
                </a:ext>
              </a:extLst>
            </p:cNvPr>
            <p:cNvSpPr/>
            <p:nvPr/>
          </p:nvSpPr>
          <p:spPr>
            <a:xfrm>
              <a:off x="6804491" y="2523155"/>
              <a:ext cx="825500" cy="826874"/>
            </a:xfrm>
            <a:custGeom>
              <a:avLst/>
              <a:gdLst>
                <a:gd name="connsiteX0" fmla="*/ 90337 w 180674"/>
                <a:gd name="connsiteY0" fmla="*/ 180975 h 180975"/>
                <a:gd name="connsiteX1" fmla="*/ 0 w 180674"/>
                <a:gd name="connsiteY1" fmla="*/ 90488 h 180975"/>
                <a:gd name="connsiteX2" fmla="*/ 90337 w 180674"/>
                <a:gd name="connsiteY2" fmla="*/ 0 h 180975"/>
                <a:gd name="connsiteX3" fmla="*/ 180675 w 180674"/>
                <a:gd name="connsiteY3" fmla="*/ 90488 h 180975"/>
                <a:gd name="connsiteX4" fmla="*/ 90337 w 180674"/>
                <a:gd name="connsiteY4" fmla="*/ 180975 h 180975"/>
                <a:gd name="connsiteX5" fmla="*/ 90337 w 180674"/>
                <a:gd name="connsiteY5" fmla="*/ 9525 h 180975"/>
                <a:gd name="connsiteX6" fmla="*/ 9509 w 180674"/>
                <a:gd name="connsiteY6" fmla="*/ 90488 h 180975"/>
                <a:gd name="connsiteX7" fmla="*/ 90337 w 180674"/>
                <a:gd name="connsiteY7" fmla="*/ 171450 h 180975"/>
                <a:gd name="connsiteX8" fmla="*/ 171166 w 180674"/>
                <a:gd name="connsiteY8" fmla="*/ 90488 h 180975"/>
                <a:gd name="connsiteX9" fmla="*/ 90337 w 180674"/>
                <a:gd name="connsiteY9" fmla="*/ 952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674" h="180975">
                  <a:moveTo>
                    <a:pt x="90337" y="180975"/>
                  </a:moveTo>
                  <a:cubicBezTo>
                    <a:pt x="40509" y="180975"/>
                    <a:pt x="0" y="140399"/>
                    <a:pt x="0" y="90488"/>
                  </a:cubicBezTo>
                  <a:cubicBezTo>
                    <a:pt x="0" y="40577"/>
                    <a:pt x="40509" y="0"/>
                    <a:pt x="90337" y="0"/>
                  </a:cubicBezTo>
                  <a:cubicBezTo>
                    <a:pt x="140166" y="0"/>
                    <a:pt x="180675" y="40577"/>
                    <a:pt x="180675" y="90488"/>
                  </a:cubicBezTo>
                  <a:cubicBezTo>
                    <a:pt x="180675" y="140399"/>
                    <a:pt x="140166" y="180975"/>
                    <a:pt x="90337" y="180975"/>
                  </a:cubicBezTo>
                  <a:close/>
                  <a:moveTo>
                    <a:pt x="90337" y="9525"/>
                  </a:moveTo>
                  <a:cubicBezTo>
                    <a:pt x="45739" y="9525"/>
                    <a:pt x="9509" y="45815"/>
                    <a:pt x="9509" y="90488"/>
                  </a:cubicBezTo>
                  <a:cubicBezTo>
                    <a:pt x="9509" y="135160"/>
                    <a:pt x="45739" y="171450"/>
                    <a:pt x="90337" y="171450"/>
                  </a:cubicBezTo>
                  <a:cubicBezTo>
                    <a:pt x="134936" y="171450"/>
                    <a:pt x="171166" y="135160"/>
                    <a:pt x="171166" y="90488"/>
                  </a:cubicBezTo>
                  <a:cubicBezTo>
                    <a:pt x="171166" y="45815"/>
                    <a:pt x="134936" y="9525"/>
                    <a:pt x="9033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0" name="Freeform 112">
              <a:extLst>
                <a:ext uri="{FF2B5EF4-FFF2-40B4-BE49-F238E27FC236}">
                  <a16:creationId xmlns:a16="http://schemas.microsoft.com/office/drawing/2014/main" id="{E1DA01F4-21EE-7CBA-0526-1154D92A64F6}"/>
                </a:ext>
              </a:extLst>
            </p:cNvPr>
            <p:cNvSpPr/>
            <p:nvPr/>
          </p:nvSpPr>
          <p:spPr>
            <a:xfrm>
              <a:off x="7024771" y="2161944"/>
              <a:ext cx="384943" cy="385582"/>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1" name="Freeform 113">
              <a:extLst>
                <a:ext uri="{FF2B5EF4-FFF2-40B4-BE49-F238E27FC236}">
                  <a16:creationId xmlns:a16="http://schemas.microsoft.com/office/drawing/2014/main" id="{F4B3A99B-6F84-EFDA-2B3D-113107B77251}"/>
                </a:ext>
              </a:extLst>
            </p:cNvPr>
            <p:cNvSpPr/>
            <p:nvPr/>
          </p:nvSpPr>
          <p:spPr>
            <a:xfrm>
              <a:off x="7024771" y="3325662"/>
              <a:ext cx="384943" cy="385582"/>
            </a:xfrm>
            <a:custGeom>
              <a:avLst/>
              <a:gdLst>
                <a:gd name="connsiteX0" fmla="*/ 42126 w 84251"/>
                <a:gd name="connsiteY0" fmla="*/ 84392 h 84391"/>
                <a:gd name="connsiteX1" fmla="*/ 0 w 84251"/>
                <a:gd name="connsiteY1" fmla="*/ 42196 h 84391"/>
                <a:gd name="connsiteX2" fmla="*/ 42126 w 84251"/>
                <a:gd name="connsiteY2" fmla="*/ 0 h 84391"/>
                <a:gd name="connsiteX3" fmla="*/ 84252 w 84251"/>
                <a:gd name="connsiteY3" fmla="*/ 42196 h 84391"/>
                <a:gd name="connsiteX4" fmla="*/ 42126 w 84251"/>
                <a:gd name="connsiteY4" fmla="*/ 84392 h 84391"/>
                <a:gd name="connsiteX5" fmla="*/ 42126 w 84251"/>
                <a:gd name="connsiteY5" fmla="*/ 9525 h 84391"/>
                <a:gd name="connsiteX6" fmla="*/ 9509 w 84251"/>
                <a:gd name="connsiteY6" fmla="*/ 42196 h 84391"/>
                <a:gd name="connsiteX7" fmla="*/ 42126 w 84251"/>
                <a:gd name="connsiteY7" fmla="*/ 74867 h 84391"/>
                <a:gd name="connsiteX8" fmla="*/ 74742 w 84251"/>
                <a:gd name="connsiteY8" fmla="*/ 42196 h 84391"/>
                <a:gd name="connsiteX9" fmla="*/ 42126 w 84251"/>
                <a:gd name="connsiteY9"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51" h="84391">
                  <a:moveTo>
                    <a:pt x="42126" y="84392"/>
                  </a:moveTo>
                  <a:cubicBezTo>
                    <a:pt x="18923" y="84392"/>
                    <a:pt x="0" y="65437"/>
                    <a:pt x="0" y="42196"/>
                  </a:cubicBezTo>
                  <a:cubicBezTo>
                    <a:pt x="0" y="18955"/>
                    <a:pt x="18923" y="0"/>
                    <a:pt x="42126" y="0"/>
                  </a:cubicBezTo>
                  <a:cubicBezTo>
                    <a:pt x="65328" y="0"/>
                    <a:pt x="84252" y="18955"/>
                    <a:pt x="84252" y="42196"/>
                  </a:cubicBezTo>
                  <a:cubicBezTo>
                    <a:pt x="84252" y="65437"/>
                    <a:pt x="65328" y="84392"/>
                    <a:pt x="42126" y="84392"/>
                  </a:cubicBezTo>
                  <a:close/>
                  <a:moveTo>
                    <a:pt x="42126" y="9525"/>
                  </a:moveTo>
                  <a:cubicBezTo>
                    <a:pt x="24153" y="9525"/>
                    <a:pt x="9509" y="24194"/>
                    <a:pt x="9509" y="42196"/>
                  </a:cubicBezTo>
                  <a:cubicBezTo>
                    <a:pt x="9509" y="60198"/>
                    <a:pt x="24153" y="74867"/>
                    <a:pt x="42126" y="74867"/>
                  </a:cubicBezTo>
                  <a:cubicBezTo>
                    <a:pt x="60098" y="74867"/>
                    <a:pt x="74742" y="60198"/>
                    <a:pt x="74742" y="42196"/>
                  </a:cubicBezTo>
                  <a:cubicBezTo>
                    <a:pt x="74742" y="24194"/>
                    <a:pt x="60098" y="9525"/>
                    <a:pt x="42126"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2" name="Freeform 114">
              <a:extLst>
                <a:ext uri="{FF2B5EF4-FFF2-40B4-BE49-F238E27FC236}">
                  <a16:creationId xmlns:a16="http://schemas.microsoft.com/office/drawing/2014/main" id="{FA79ABD8-B100-3126-153F-F8EA2CCA7FCF}"/>
                </a:ext>
              </a:extLst>
            </p:cNvPr>
            <p:cNvSpPr/>
            <p:nvPr/>
          </p:nvSpPr>
          <p:spPr>
            <a:xfrm>
              <a:off x="7372692" y="2278609"/>
              <a:ext cx="384884" cy="385550"/>
            </a:xfrm>
            <a:custGeom>
              <a:avLst/>
              <a:gdLst>
                <a:gd name="connsiteX0" fmla="*/ 42051 w 84238"/>
                <a:gd name="connsiteY0" fmla="*/ 84289 h 84384"/>
                <a:gd name="connsiteX1" fmla="*/ 16852 w 84238"/>
                <a:gd name="connsiteY1" fmla="*/ 75907 h 84384"/>
                <a:gd name="connsiteX2" fmla="*/ 8389 w 84238"/>
                <a:gd name="connsiteY2" fmla="*/ 16852 h 84384"/>
                <a:gd name="connsiteX3" fmla="*/ 67346 w 84238"/>
                <a:gd name="connsiteY3" fmla="*/ 8375 h 84384"/>
                <a:gd name="connsiteX4" fmla="*/ 83797 w 84238"/>
                <a:gd name="connsiteY4" fmla="*/ 36188 h 84384"/>
                <a:gd name="connsiteX5" fmla="*/ 75809 w 84238"/>
                <a:gd name="connsiteY5" fmla="*/ 67430 h 84384"/>
                <a:gd name="connsiteX6" fmla="*/ 75809 w 84238"/>
                <a:gd name="connsiteY6" fmla="*/ 67430 h 84384"/>
                <a:gd name="connsiteX7" fmla="*/ 48042 w 84238"/>
                <a:gd name="connsiteY7" fmla="*/ 83908 h 84384"/>
                <a:gd name="connsiteX8" fmla="*/ 41956 w 84238"/>
                <a:gd name="connsiteY8" fmla="*/ 84384 h 84384"/>
                <a:gd name="connsiteX9" fmla="*/ 42147 w 84238"/>
                <a:gd name="connsiteY9" fmla="*/ 9423 h 84384"/>
                <a:gd name="connsiteX10" fmla="*/ 15996 w 84238"/>
                <a:gd name="connsiteY10" fmla="*/ 22472 h 84384"/>
                <a:gd name="connsiteX11" fmla="*/ 22558 w 84238"/>
                <a:gd name="connsiteY11" fmla="*/ 68192 h 84384"/>
                <a:gd name="connsiteX12" fmla="*/ 46711 w 84238"/>
                <a:gd name="connsiteY12" fmla="*/ 74383 h 84384"/>
                <a:gd name="connsiteX13" fmla="*/ 68202 w 84238"/>
                <a:gd name="connsiteY13" fmla="*/ 61620 h 84384"/>
                <a:gd name="connsiteX14" fmla="*/ 68202 w 84238"/>
                <a:gd name="connsiteY14" fmla="*/ 61620 h 84384"/>
                <a:gd name="connsiteX15" fmla="*/ 74383 w 84238"/>
                <a:gd name="connsiteY15" fmla="*/ 37426 h 84384"/>
                <a:gd name="connsiteX16" fmla="*/ 61640 w 84238"/>
                <a:gd name="connsiteY16" fmla="*/ 15900 h 84384"/>
                <a:gd name="connsiteX17" fmla="*/ 42147 w 84238"/>
                <a:gd name="connsiteY17" fmla="*/ 9423 h 8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38" h="84384">
                  <a:moveTo>
                    <a:pt x="42051" y="84289"/>
                  </a:moveTo>
                  <a:cubicBezTo>
                    <a:pt x="33018" y="84289"/>
                    <a:pt x="24269" y="81432"/>
                    <a:pt x="16852" y="75907"/>
                  </a:cubicBezTo>
                  <a:cubicBezTo>
                    <a:pt x="-1786" y="62000"/>
                    <a:pt x="-5495" y="35521"/>
                    <a:pt x="8389" y="16852"/>
                  </a:cubicBezTo>
                  <a:cubicBezTo>
                    <a:pt x="22272" y="-1722"/>
                    <a:pt x="48708" y="-5532"/>
                    <a:pt x="67346" y="8375"/>
                  </a:cubicBezTo>
                  <a:cubicBezTo>
                    <a:pt x="76380" y="15138"/>
                    <a:pt x="82180" y="24948"/>
                    <a:pt x="83797" y="36188"/>
                  </a:cubicBezTo>
                  <a:cubicBezTo>
                    <a:pt x="85413" y="47332"/>
                    <a:pt x="82561" y="58476"/>
                    <a:pt x="75809" y="67430"/>
                  </a:cubicBezTo>
                  <a:lnTo>
                    <a:pt x="75809" y="67430"/>
                  </a:lnTo>
                  <a:cubicBezTo>
                    <a:pt x="69057" y="76479"/>
                    <a:pt x="59263" y="82289"/>
                    <a:pt x="48042" y="83908"/>
                  </a:cubicBezTo>
                  <a:cubicBezTo>
                    <a:pt x="46045" y="84194"/>
                    <a:pt x="43953" y="84384"/>
                    <a:pt x="41956" y="84384"/>
                  </a:cubicBezTo>
                  <a:close/>
                  <a:moveTo>
                    <a:pt x="42147" y="9423"/>
                  </a:moveTo>
                  <a:cubicBezTo>
                    <a:pt x="32257" y="9423"/>
                    <a:pt x="22368" y="13899"/>
                    <a:pt x="15996" y="22472"/>
                  </a:cubicBezTo>
                  <a:cubicBezTo>
                    <a:pt x="5251" y="36854"/>
                    <a:pt x="8199" y="57429"/>
                    <a:pt x="22558" y="68192"/>
                  </a:cubicBezTo>
                  <a:cubicBezTo>
                    <a:pt x="29499" y="73431"/>
                    <a:pt x="38058" y="75621"/>
                    <a:pt x="46711" y="74383"/>
                  </a:cubicBezTo>
                  <a:cubicBezTo>
                    <a:pt x="55364" y="73145"/>
                    <a:pt x="62972" y="68573"/>
                    <a:pt x="68202" y="61620"/>
                  </a:cubicBezTo>
                  <a:lnTo>
                    <a:pt x="68202" y="61620"/>
                  </a:lnTo>
                  <a:cubicBezTo>
                    <a:pt x="73432" y="54666"/>
                    <a:pt x="75619" y="45998"/>
                    <a:pt x="74383" y="37426"/>
                  </a:cubicBezTo>
                  <a:cubicBezTo>
                    <a:pt x="73147" y="28758"/>
                    <a:pt x="68582" y="21138"/>
                    <a:pt x="61640" y="15900"/>
                  </a:cubicBezTo>
                  <a:cubicBezTo>
                    <a:pt x="55745" y="11518"/>
                    <a:pt x="48898" y="9423"/>
                    <a:pt x="42147" y="9423"/>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3" name="Freeform 115">
              <a:extLst>
                <a:ext uri="{FF2B5EF4-FFF2-40B4-BE49-F238E27FC236}">
                  <a16:creationId xmlns:a16="http://schemas.microsoft.com/office/drawing/2014/main" id="{FDAA9F03-FCDD-A7E2-5733-5BEF7509406A}"/>
                </a:ext>
              </a:extLst>
            </p:cNvPr>
            <p:cNvSpPr/>
            <p:nvPr/>
          </p:nvSpPr>
          <p:spPr>
            <a:xfrm>
              <a:off x="6676476" y="3209614"/>
              <a:ext cx="384756" cy="385865"/>
            </a:xfrm>
            <a:custGeom>
              <a:avLst/>
              <a:gdLst>
                <a:gd name="connsiteX0" fmla="*/ 42092 w 84210"/>
                <a:gd name="connsiteY0" fmla="*/ 84358 h 84453"/>
                <a:gd name="connsiteX1" fmla="*/ 16893 w 84210"/>
                <a:gd name="connsiteY1" fmla="*/ 75976 h 84453"/>
                <a:gd name="connsiteX2" fmla="*/ 442 w 84210"/>
                <a:gd name="connsiteY2" fmla="*/ 48163 h 84453"/>
                <a:gd name="connsiteX3" fmla="*/ 8430 w 84210"/>
                <a:gd name="connsiteY3" fmla="*/ 16921 h 84453"/>
                <a:gd name="connsiteX4" fmla="*/ 36197 w 84210"/>
                <a:gd name="connsiteY4" fmla="*/ 443 h 84453"/>
                <a:gd name="connsiteX5" fmla="*/ 67387 w 84210"/>
                <a:gd name="connsiteY5" fmla="*/ 8444 h 84453"/>
                <a:gd name="connsiteX6" fmla="*/ 75850 w 84210"/>
                <a:gd name="connsiteY6" fmla="*/ 67499 h 84453"/>
                <a:gd name="connsiteX7" fmla="*/ 75850 w 84210"/>
                <a:gd name="connsiteY7" fmla="*/ 67499 h 84453"/>
                <a:gd name="connsiteX8" fmla="*/ 48083 w 84210"/>
                <a:gd name="connsiteY8" fmla="*/ 83977 h 84453"/>
                <a:gd name="connsiteX9" fmla="*/ 41997 w 84210"/>
                <a:gd name="connsiteY9" fmla="*/ 84453 h 84453"/>
                <a:gd name="connsiteX10" fmla="*/ 42282 w 84210"/>
                <a:gd name="connsiteY10" fmla="*/ 9491 h 84453"/>
                <a:gd name="connsiteX11" fmla="*/ 37528 w 84210"/>
                <a:gd name="connsiteY11" fmla="*/ 9872 h 84453"/>
                <a:gd name="connsiteX12" fmla="*/ 16037 w 84210"/>
                <a:gd name="connsiteY12" fmla="*/ 22636 h 84453"/>
                <a:gd name="connsiteX13" fmla="*/ 9856 w 84210"/>
                <a:gd name="connsiteY13" fmla="*/ 46829 h 84453"/>
                <a:gd name="connsiteX14" fmla="*/ 22599 w 84210"/>
                <a:gd name="connsiteY14" fmla="*/ 68356 h 84453"/>
                <a:gd name="connsiteX15" fmla="*/ 46752 w 84210"/>
                <a:gd name="connsiteY15" fmla="*/ 74547 h 84453"/>
                <a:gd name="connsiteX16" fmla="*/ 68243 w 84210"/>
                <a:gd name="connsiteY16" fmla="*/ 61784 h 84453"/>
                <a:gd name="connsiteX17" fmla="*/ 61681 w 84210"/>
                <a:gd name="connsiteY17" fmla="*/ 16064 h 84453"/>
                <a:gd name="connsiteX18" fmla="*/ 42187 w 84210"/>
                <a:gd name="connsiteY18" fmla="*/ 9587 h 84453"/>
                <a:gd name="connsiteX19" fmla="*/ 72141 w 84210"/>
                <a:gd name="connsiteY19" fmla="*/ 64546 h 84453"/>
                <a:gd name="connsiteX20" fmla="*/ 72141 w 84210"/>
                <a:gd name="connsiteY20" fmla="*/ 64546 h 84453"/>
                <a:gd name="connsiteX21" fmla="*/ 72141 w 84210"/>
                <a:gd name="connsiteY21" fmla="*/ 64546 h 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210" h="84453">
                  <a:moveTo>
                    <a:pt x="42092" y="84358"/>
                  </a:moveTo>
                  <a:cubicBezTo>
                    <a:pt x="33058" y="84358"/>
                    <a:pt x="24310" y="81500"/>
                    <a:pt x="16893" y="75976"/>
                  </a:cubicBezTo>
                  <a:cubicBezTo>
                    <a:pt x="7859" y="69213"/>
                    <a:pt x="2059" y="59402"/>
                    <a:pt x="442" y="48163"/>
                  </a:cubicBezTo>
                  <a:cubicBezTo>
                    <a:pt x="-1174" y="37019"/>
                    <a:pt x="1678" y="25875"/>
                    <a:pt x="8430" y="16921"/>
                  </a:cubicBezTo>
                  <a:cubicBezTo>
                    <a:pt x="15181" y="7967"/>
                    <a:pt x="24976" y="2062"/>
                    <a:pt x="36197" y="443"/>
                  </a:cubicBezTo>
                  <a:cubicBezTo>
                    <a:pt x="47322" y="-1177"/>
                    <a:pt x="58448" y="1681"/>
                    <a:pt x="67387" y="8444"/>
                  </a:cubicBezTo>
                  <a:cubicBezTo>
                    <a:pt x="85930" y="22350"/>
                    <a:pt x="89733" y="48925"/>
                    <a:pt x="75850" y="67499"/>
                  </a:cubicBezTo>
                  <a:lnTo>
                    <a:pt x="75850" y="67499"/>
                  </a:lnTo>
                  <a:cubicBezTo>
                    <a:pt x="69098" y="76548"/>
                    <a:pt x="59209" y="82358"/>
                    <a:pt x="48083" y="83977"/>
                  </a:cubicBezTo>
                  <a:cubicBezTo>
                    <a:pt x="46086" y="84263"/>
                    <a:pt x="43994" y="84453"/>
                    <a:pt x="41997" y="84453"/>
                  </a:cubicBezTo>
                  <a:close/>
                  <a:moveTo>
                    <a:pt x="42282" y="9491"/>
                  </a:moveTo>
                  <a:cubicBezTo>
                    <a:pt x="40761" y="9491"/>
                    <a:pt x="39144" y="9587"/>
                    <a:pt x="37528" y="9872"/>
                  </a:cubicBezTo>
                  <a:cubicBezTo>
                    <a:pt x="28874" y="11111"/>
                    <a:pt x="21267" y="15683"/>
                    <a:pt x="16037" y="22636"/>
                  </a:cubicBezTo>
                  <a:cubicBezTo>
                    <a:pt x="10807" y="29589"/>
                    <a:pt x="8620" y="38257"/>
                    <a:pt x="9856" y="46829"/>
                  </a:cubicBezTo>
                  <a:cubicBezTo>
                    <a:pt x="11092" y="55497"/>
                    <a:pt x="15657" y="63117"/>
                    <a:pt x="22599" y="68356"/>
                  </a:cubicBezTo>
                  <a:cubicBezTo>
                    <a:pt x="29540" y="73595"/>
                    <a:pt x="38193" y="75881"/>
                    <a:pt x="46752" y="74547"/>
                  </a:cubicBezTo>
                  <a:cubicBezTo>
                    <a:pt x="55405" y="73309"/>
                    <a:pt x="63013" y="68737"/>
                    <a:pt x="68243" y="61784"/>
                  </a:cubicBezTo>
                  <a:cubicBezTo>
                    <a:pt x="78988" y="47401"/>
                    <a:pt x="76040" y="26827"/>
                    <a:pt x="61681" y="16064"/>
                  </a:cubicBezTo>
                  <a:cubicBezTo>
                    <a:pt x="55976" y="11777"/>
                    <a:pt x="49224" y="9587"/>
                    <a:pt x="42187" y="9587"/>
                  </a:cubicBezTo>
                  <a:close/>
                  <a:moveTo>
                    <a:pt x="72141" y="64546"/>
                  </a:moveTo>
                  <a:lnTo>
                    <a:pt x="72141" y="64546"/>
                  </a:lnTo>
                  <a:lnTo>
                    <a:pt x="72141" y="64546"/>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 name="Freeform 116">
              <a:extLst>
                <a:ext uri="{FF2B5EF4-FFF2-40B4-BE49-F238E27FC236}">
                  <a16:creationId xmlns:a16="http://schemas.microsoft.com/office/drawing/2014/main" id="{A0F0FC44-EC37-656B-8E16-12A4C1FBC549}"/>
                </a:ext>
              </a:extLst>
            </p:cNvPr>
            <p:cNvSpPr/>
            <p:nvPr/>
          </p:nvSpPr>
          <p:spPr>
            <a:xfrm>
              <a:off x="7584803" y="2589300"/>
              <a:ext cx="384715" cy="385152"/>
            </a:xfrm>
            <a:custGeom>
              <a:avLst/>
              <a:gdLst>
                <a:gd name="connsiteX0" fmla="*/ 42032 w 84201"/>
                <a:gd name="connsiteY0" fmla="*/ 84298 h 84297"/>
                <a:gd name="connsiteX1" fmla="*/ 21302 w 84201"/>
                <a:gd name="connsiteY1" fmla="*/ 78773 h 84297"/>
                <a:gd name="connsiteX2" fmla="*/ 1523 w 84201"/>
                <a:gd name="connsiteY2" fmla="*/ 53342 h 84297"/>
                <a:gd name="connsiteX3" fmla="*/ 5517 w 84201"/>
                <a:gd name="connsiteY3" fmla="*/ 21338 h 84297"/>
                <a:gd name="connsiteX4" fmla="*/ 30907 w 84201"/>
                <a:gd name="connsiteY4" fmla="*/ 1526 h 84297"/>
                <a:gd name="connsiteX5" fmla="*/ 62857 w 84201"/>
                <a:gd name="connsiteY5" fmla="*/ 5526 h 84297"/>
                <a:gd name="connsiteX6" fmla="*/ 82637 w 84201"/>
                <a:gd name="connsiteY6" fmla="*/ 30958 h 84297"/>
                <a:gd name="connsiteX7" fmla="*/ 78643 w 84201"/>
                <a:gd name="connsiteY7" fmla="*/ 62962 h 84297"/>
                <a:gd name="connsiteX8" fmla="*/ 53253 w 84201"/>
                <a:gd name="connsiteY8" fmla="*/ 82774 h 84297"/>
                <a:gd name="connsiteX9" fmla="*/ 53253 w 84201"/>
                <a:gd name="connsiteY9" fmla="*/ 82774 h 84297"/>
                <a:gd name="connsiteX10" fmla="*/ 41937 w 84201"/>
                <a:gd name="connsiteY10" fmla="*/ 84298 h 84297"/>
                <a:gd name="connsiteX11" fmla="*/ 52017 w 84201"/>
                <a:gd name="connsiteY11" fmla="*/ 78202 h 84297"/>
                <a:gd name="connsiteX12" fmla="*/ 52017 w 84201"/>
                <a:gd name="connsiteY12" fmla="*/ 78202 h 84297"/>
                <a:gd name="connsiteX13" fmla="*/ 52017 w 84201"/>
                <a:gd name="connsiteY13" fmla="*/ 78202 h 84297"/>
                <a:gd name="connsiteX14" fmla="*/ 42127 w 84201"/>
                <a:gd name="connsiteY14" fmla="*/ 9431 h 84297"/>
                <a:gd name="connsiteX15" fmla="*/ 33379 w 84201"/>
                <a:gd name="connsiteY15" fmla="*/ 10670 h 84297"/>
                <a:gd name="connsiteX16" fmla="*/ 13695 w 84201"/>
                <a:gd name="connsiteY16" fmla="*/ 26005 h 84297"/>
                <a:gd name="connsiteX17" fmla="*/ 10652 w 84201"/>
                <a:gd name="connsiteY17" fmla="*/ 50770 h 84297"/>
                <a:gd name="connsiteX18" fmla="*/ 25962 w 84201"/>
                <a:gd name="connsiteY18" fmla="*/ 70487 h 84297"/>
                <a:gd name="connsiteX19" fmla="*/ 50781 w 84201"/>
                <a:gd name="connsiteY19" fmla="*/ 73535 h 84297"/>
                <a:gd name="connsiteX20" fmla="*/ 50781 w 84201"/>
                <a:gd name="connsiteY20" fmla="*/ 73535 h 84297"/>
                <a:gd name="connsiteX21" fmla="*/ 73508 w 84201"/>
                <a:gd name="connsiteY21" fmla="*/ 33339 h 84297"/>
                <a:gd name="connsiteX22" fmla="*/ 58198 w 84201"/>
                <a:gd name="connsiteY22" fmla="*/ 13622 h 84297"/>
                <a:gd name="connsiteX23" fmla="*/ 42127 w 84201"/>
                <a:gd name="connsiteY23" fmla="*/ 9336 h 8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201" h="84297">
                  <a:moveTo>
                    <a:pt x="42032" y="84298"/>
                  </a:moveTo>
                  <a:cubicBezTo>
                    <a:pt x="34805" y="84298"/>
                    <a:pt x="27768" y="82488"/>
                    <a:pt x="21302" y="78773"/>
                  </a:cubicBezTo>
                  <a:cubicBezTo>
                    <a:pt x="11508" y="73249"/>
                    <a:pt x="4471" y="64200"/>
                    <a:pt x="1523" y="53342"/>
                  </a:cubicBezTo>
                  <a:cubicBezTo>
                    <a:pt x="-1425" y="42483"/>
                    <a:pt x="-93" y="31148"/>
                    <a:pt x="5517" y="21338"/>
                  </a:cubicBezTo>
                  <a:cubicBezTo>
                    <a:pt x="11032" y="11527"/>
                    <a:pt x="20066" y="4478"/>
                    <a:pt x="30907" y="1526"/>
                  </a:cubicBezTo>
                  <a:cubicBezTo>
                    <a:pt x="41747" y="-1427"/>
                    <a:pt x="53063" y="-94"/>
                    <a:pt x="62857" y="5526"/>
                  </a:cubicBezTo>
                  <a:cubicBezTo>
                    <a:pt x="72652" y="11051"/>
                    <a:pt x="79689" y="20099"/>
                    <a:pt x="82637" y="30958"/>
                  </a:cubicBezTo>
                  <a:cubicBezTo>
                    <a:pt x="85679" y="41816"/>
                    <a:pt x="84253" y="53151"/>
                    <a:pt x="78643" y="62962"/>
                  </a:cubicBezTo>
                  <a:cubicBezTo>
                    <a:pt x="73128" y="72773"/>
                    <a:pt x="64094" y="79821"/>
                    <a:pt x="53253" y="82774"/>
                  </a:cubicBezTo>
                  <a:lnTo>
                    <a:pt x="53253" y="82774"/>
                  </a:lnTo>
                  <a:cubicBezTo>
                    <a:pt x="49545" y="83822"/>
                    <a:pt x="45741" y="84298"/>
                    <a:pt x="41937" y="84298"/>
                  </a:cubicBezTo>
                  <a:close/>
                  <a:moveTo>
                    <a:pt x="52017" y="78202"/>
                  </a:moveTo>
                  <a:lnTo>
                    <a:pt x="52017" y="78202"/>
                  </a:lnTo>
                  <a:lnTo>
                    <a:pt x="52017" y="78202"/>
                  </a:lnTo>
                  <a:close/>
                  <a:moveTo>
                    <a:pt x="42127" y="9431"/>
                  </a:moveTo>
                  <a:cubicBezTo>
                    <a:pt x="39180" y="9431"/>
                    <a:pt x="36232" y="9812"/>
                    <a:pt x="33379" y="10670"/>
                  </a:cubicBezTo>
                  <a:cubicBezTo>
                    <a:pt x="25011" y="12956"/>
                    <a:pt x="17974" y="18480"/>
                    <a:pt x="13695" y="26005"/>
                  </a:cubicBezTo>
                  <a:cubicBezTo>
                    <a:pt x="9416" y="33625"/>
                    <a:pt x="8275" y="42388"/>
                    <a:pt x="10652" y="50770"/>
                  </a:cubicBezTo>
                  <a:cubicBezTo>
                    <a:pt x="12934" y="59152"/>
                    <a:pt x="18450" y="66200"/>
                    <a:pt x="25962" y="70487"/>
                  </a:cubicBezTo>
                  <a:cubicBezTo>
                    <a:pt x="33569" y="74773"/>
                    <a:pt x="42317" y="75821"/>
                    <a:pt x="50781" y="73535"/>
                  </a:cubicBezTo>
                  <a:lnTo>
                    <a:pt x="50781" y="73535"/>
                  </a:lnTo>
                  <a:cubicBezTo>
                    <a:pt x="68088" y="68772"/>
                    <a:pt x="78262" y="50675"/>
                    <a:pt x="73508" y="33339"/>
                  </a:cubicBezTo>
                  <a:cubicBezTo>
                    <a:pt x="71226" y="24957"/>
                    <a:pt x="65710" y="17909"/>
                    <a:pt x="58198" y="13622"/>
                  </a:cubicBezTo>
                  <a:cubicBezTo>
                    <a:pt x="53253" y="10765"/>
                    <a:pt x="47738" y="9336"/>
                    <a:pt x="42127" y="9336"/>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5" name="Freeform 117">
              <a:extLst>
                <a:ext uri="{FF2B5EF4-FFF2-40B4-BE49-F238E27FC236}">
                  <a16:creationId xmlns:a16="http://schemas.microsoft.com/office/drawing/2014/main" id="{4C0D1FCD-17C0-BEB4-6404-89E14E316117}"/>
                </a:ext>
              </a:extLst>
            </p:cNvPr>
            <p:cNvSpPr/>
            <p:nvPr/>
          </p:nvSpPr>
          <p:spPr>
            <a:xfrm>
              <a:off x="6465137" y="2898731"/>
              <a:ext cx="384980" cy="385582"/>
            </a:xfrm>
            <a:custGeom>
              <a:avLst/>
              <a:gdLst>
                <a:gd name="connsiteX0" fmla="*/ 42133 w 84259"/>
                <a:gd name="connsiteY0" fmla="*/ 84392 h 84391"/>
                <a:gd name="connsiteX1" fmla="*/ 1528 w 84259"/>
                <a:gd name="connsiteY1" fmla="*/ 53435 h 84391"/>
                <a:gd name="connsiteX2" fmla="*/ 30911 w 84259"/>
                <a:gd name="connsiteY2" fmla="*/ 1524 h 84391"/>
                <a:gd name="connsiteX3" fmla="*/ 82737 w 84259"/>
                <a:gd name="connsiteY3" fmla="*/ 30956 h 84391"/>
                <a:gd name="connsiteX4" fmla="*/ 78743 w 84259"/>
                <a:gd name="connsiteY4" fmla="*/ 62960 h 84391"/>
                <a:gd name="connsiteX5" fmla="*/ 53353 w 84259"/>
                <a:gd name="connsiteY5" fmla="*/ 82772 h 84391"/>
                <a:gd name="connsiteX6" fmla="*/ 53353 w 84259"/>
                <a:gd name="connsiteY6" fmla="*/ 82772 h 84391"/>
                <a:gd name="connsiteX7" fmla="*/ 42133 w 84259"/>
                <a:gd name="connsiteY7" fmla="*/ 84296 h 84391"/>
                <a:gd name="connsiteX8" fmla="*/ 52022 w 84259"/>
                <a:gd name="connsiteY8" fmla="*/ 78296 h 84391"/>
                <a:gd name="connsiteX9" fmla="*/ 52022 w 84259"/>
                <a:gd name="connsiteY9" fmla="*/ 78296 h 84391"/>
                <a:gd name="connsiteX10" fmla="*/ 52022 w 84259"/>
                <a:gd name="connsiteY10" fmla="*/ 78296 h 84391"/>
                <a:gd name="connsiteX11" fmla="*/ 42037 w 84259"/>
                <a:gd name="connsiteY11" fmla="*/ 9525 h 84391"/>
                <a:gd name="connsiteX12" fmla="*/ 33384 w 84259"/>
                <a:gd name="connsiteY12" fmla="*/ 10668 h 84391"/>
                <a:gd name="connsiteX13" fmla="*/ 10657 w 84259"/>
                <a:gd name="connsiteY13" fmla="*/ 50864 h 84391"/>
                <a:gd name="connsiteX14" fmla="*/ 50786 w 84259"/>
                <a:gd name="connsiteY14" fmla="*/ 73628 h 84391"/>
                <a:gd name="connsiteX15" fmla="*/ 70470 w 84259"/>
                <a:gd name="connsiteY15" fmla="*/ 58293 h 84391"/>
                <a:gd name="connsiteX16" fmla="*/ 73513 w 84259"/>
                <a:gd name="connsiteY16" fmla="*/ 33528 h 84391"/>
                <a:gd name="connsiteX17" fmla="*/ 42037 w 84259"/>
                <a:gd name="connsiteY17" fmla="*/ 9525 h 8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259" h="84391">
                  <a:moveTo>
                    <a:pt x="42133" y="84392"/>
                  </a:moveTo>
                  <a:cubicBezTo>
                    <a:pt x="23685" y="84392"/>
                    <a:pt x="6663" y="72104"/>
                    <a:pt x="1528" y="53435"/>
                  </a:cubicBezTo>
                  <a:cubicBezTo>
                    <a:pt x="-4653" y="31051"/>
                    <a:pt x="8470" y="7715"/>
                    <a:pt x="30911" y="1524"/>
                  </a:cubicBezTo>
                  <a:cubicBezTo>
                    <a:pt x="53353" y="-4667"/>
                    <a:pt x="76556" y="8572"/>
                    <a:pt x="82737" y="30956"/>
                  </a:cubicBezTo>
                  <a:cubicBezTo>
                    <a:pt x="85685" y="41815"/>
                    <a:pt x="84353" y="53149"/>
                    <a:pt x="78743" y="62960"/>
                  </a:cubicBezTo>
                  <a:cubicBezTo>
                    <a:pt x="73228" y="72771"/>
                    <a:pt x="64194" y="79820"/>
                    <a:pt x="53353" y="82772"/>
                  </a:cubicBezTo>
                  <a:lnTo>
                    <a:pt x="53353" y="82772"/>
                  </a:lnTo>
                  <a:cubicBezTo>
                    <a:pt x="49645" y="83820"/>
                    <a:pt x="45841" y="84296"/>
                    <a:pt x="42133" y="84296"/>
                  </a:cubicBezTo>
                  <a:close/>
                  <a:moveTo>
                    <a:pt x="52022" y="78296"/>
                  </a:moveTo>
                  <a:lnTo>
                    <a:pt x="52022" y="78296"/>
                  </a:lnTo>
                  <a:lnTo>
                    <a:pt x="52022" y="78296"/>
                  </a:lnTo>
                  <a:close/>
                  <a:moveTo>
                    <a:pt x="42037" y="9525"/>
                  </a:moveTo>
                  <a:cubicBezTo>
                    <a:pt x="39184" y="9525"/>
                    <a:pt x="36237" y="9906"/>
                    <a:pt x="33384" y="10668"/>
                  </a:cubicBezTo>
                  <a:cubicBezTo>
                    <a:pt x="16077" y="15430"/>
                    <a:pt x="5902" y="33528"/>
                    <a:pt x="10657" y="50864"/>
                  </a:cubicBezTo>
                  <a:cubicBezTo>
                    <a:pt x="15411" y="68199"/>
                    <a:pt x="33479" y="78391"/>
                    <a:pt x="50786" y="73628"/>
                  </a:cubicBezTo>
                  <a:cubicBezTo>
                    <a:pt x="59154" y="71342"/>
                    <a:pt x="66191" y="65818"/>
                    <a:pt x="70470" y="58293"/>
                  </a:cubicBezTo>
                  <a:cubicBezTo>
                    <a:pt x="74749" y="50673"/>
                    <a:pt x="75890" y="41910"/>
                    <a:pt x="73513" y="33528"/>
                  </a:cubicBezTo>
                  <a:cubicBezTo>
                    <a:pt x="69519" y="19050"/>
                    <a:pt x="56396" y="9525"/>
                    <a:pt x="42037" y="9525"/>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6" name="Freeform 118">
              <a:extLst>
                <a:ext uri="{FF2B5EF4-FFF2-40B4-BE49-F238E27FC236}">
                  <a16:creationId xmlns:a16="http://schemas.microsoft.com/office/drawing/2014/main" id="{1F34E944-EFB1-A87A-4CF7-6964EC78B01B}"/>
                </a:ext>
              </a:extLst>
            </p:cNvPr>
            <p:cNvSpPr/>
            <p:nvPr/>
          </p:nvSpPr>
          <p:spPr>
            <a:xfrm>
              <a:off x="7565540" y="2956428"/>
              <a:ext cx="384815" cy="385331"/>
            </a:xfrm>
            <a:custGeom>
              <a:avLst/>
              <a:gdLst>
                <a:gd name="connsiteX0" fmla="*/ 42064 w 84223"/>
                <a:gd name="connsiteY0" fmla="*/ 84337 h 84336"/>
                <a:gd name="connsiteX1" fmla="*/ 26755 w 84223"/>
                <a:gd name="connsiteY1" fmla="*/ 81479 h 84336"/>
                <a:gd name="connsiteX2" fmla="*/ 26755 w 84223"/>
                <a:gd name="connsiteY2" fmla="*/ 81479 h 84336"/>
                <a:gd name="connsiteX3" fmla="*/ 3552 w 84223"/>
                <a:gd name="connsiteY3" fmla="*/ 59096 h 84336"/>
                <a:gd name="connsiteX4" fmla="*/ 2886 w 84223"/>
                <a:gd name="connsiteY4" fmla="*/ 26806 h 84336"/>
                <a:gd name="connsiteX5" fmla="*/ 57469 w 84223"/>
                <a:gd name="connsiteY5" fmla="*/ 2898 h 84336"/>
                <a:gd name="connsiteX6" fmla="*/ 80672 w 84223"/>
                <a:gd name="connsiteY6" fmla="*/ 25282 h 84336"/>
                <a:gd name="connsiteX7" fmla="*/ 81337 w 84223"/>
                <a:gd name="connsiteY7" fmla="*/ 57572 h 84336"/>
                <a:gd name="connsiteX8" fmla="*/ 42064 w 84223"/>
                <a:gd name="connsiteY8" fmla="*/ 84337 h 84336"/>
                <a:gd name="connsiteX9" fmla="*/ 30273 w 84223"/>
                <a:gd name="connsiteY9" fmla="*/ 72526 h 84336"/>
                <a:gd name="connsiteX10" fmla="*/ 72494 w 84223"/>
                <a:gd name="connsiteY10" fmla="*/ 54047 h 84336"/>
                <a:gd name="connsiteX11" fmla="*/ 54046 w 84223"/>
                <a:gd name="connsiteY11" fmla="*/ 11756 h 84336"/>
                <a:gd name="connsiteX12" fmla="*/ 11825 w 84223"/>
                <a:gd name="connsiteY12" fmla="*/ 30235 h 84336"/>
                <a:gd name="connsiteX13" fmla="*/ 30273 w 84223"/>
                <a:gd name="connsiteY13" fmla="*/ 72526 h 84336"/>
                <a:gd name="connsiteX14" fmla="*/ 30273 w 84223"/>
                <a:gd name="connsiteY14" fmla="*/ 72526 h 8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23" h="84336">
                  <a:moveTo>
                    <a:pt x="42064" y="84337"/>
                  </a:moveTo>
                  <a:cubicBezTo>
                    <a:pt x="36929" y="84337"/>
                    <a:pt x="31794" y="83384"/>
                    <a:pt x="26755" y="81479"/>
                  </a:cubicBezTo>
                  <a:lnTo>
                    <a:pt x="26755" y="81479"/>
                  </a:lnTo>
                  <a:cubicBezTo>
                    <a:pt x="16294" y="77384"/>
                    <a:pt x="8021" y="69383"/>
                    <a:pt x="3552" y="59096"/>
                  </a:cubicBezTo>
                  <a:cubicBezTo>
                    <a:pt x="-917" y="48809"/>
                    <a:pt x="-1203" y="37283"/>
                    <a:pt x="2886" y="26806"/>
                  </a:cubicBezTo>
                  <a:cubicBezTo>
                    <a:pt x="11350" y="5184"/>
                    <a:pt x="35788" y="-5579"/>
                    <a:pt x="57469" y="2898"/>
                  </a:cubicBezTo>
                  <a:cubicBezTo>
                    <a:pt x="67929" y="6994"/>
                    <a:pt x="76202" y="14995"/>
                    <a:pt x="80672" y="25282"/>
                  </a:cubicBezTo>
                  <a:cubicBezTo>
                    <a:pt x="85141" y="35569"/>
                    <a:pt x="85426" y="47094"/>
                    <a:pt x="81337" y="57572"/>
                  </a:cubicBezTo>
                  <a:cubicBezTo>
                    <a:pt x="74871" y="74145"/>
                    <a:pt x="58896" y="84337"/>
                    <a:pt x="42064" y="84337"/>
                  </a:cubicBezTo>
                  <a:close/>
                  <a:moveTo>
                    <a:pt x="30273" y="72526"/>
                  </a:moveTo>
                  <a:cubicBezTo>
                    <a:pt x="47009" y="79098"/>
                    <a:pt x="65932" y="70811"/>
                    <a:pt x="72494" y="54047"/>
                  </a:cubicBezTo>
                  <a:cubicBezTo>
                    <a:pt x="79055" y="37283"/>
                    <a:pt x="70782" y="18329"/>
                    <a:pt x="54046" y="11756"/>
                  </a:cubicBezTo>
                  <a:cubicBezTo>
                    <a:pt x="37310" y="5184"/>
                    <a:pt x="18386" y="13471"/>
                    <a:pt x="11825" y="30235"/>
                  </a:cubicBezTo>
                  <a:cubicBezTo>
                    <a:pt x="5264" y="46999"/>
                    <a:pt x="13537" y="65954"/>
                    <a:pt x="30273" y="72526"/>
                  </a:cubicBezTo>
                  <a:lnTo>
                    <a:pt x="30273" y="72526"/>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7" name="Freeform 119">
              <a:extLst>
                <a:ext uri="{FF2B5EF4-FFF2-40B4-BE49-F238E27FC236}">
                  <a16:creationId xmlns:a16="http://schemas.microsoft.com/office/drawing/2014/main" id="{B93FA7F0-70A3-2B01-83D7-3E58A04DA350}"/>
                </a:ext>
              </a:extLst>
            </p:cNvPr>
            <p:cNvSpPr/>
            <p:nvPr/>
          </p:nvSpPr>
          <p:spPr>
            <a:xfrm>
              <a:off x="6484130" y="2531676"/>
              <a:ext cx="384815" cy="385769"/>
            </a:xfrm>
            <a:custGeom>
              <a:avLst/>
              <a:gdLst>
                <a:gd name="connsiteX0" fmla="*/ 42159 w 84223"/>
                <a:gd name="connsiteY0" fmla="*/ 84432 h 84432"/>
                <a:gd name="connsiteX1" fmla="*/ 26755 w 84223"/>
                <a:gd name="connsiteY1" fmla="*/ 81479 h 84432"/>
                <a:gd name="connsiteX2" fmla="*/ 26755 w 84223"/>
                <a:gd name="connsiteY2" fmla="*/ 81479 h 84432"/>
                <a:gd name="connsiteX3" fmla="*/ 3552 w 84223"/>
                <a:gd name="connsiteY3" fmla="*/ 59096 h 84432"/>
                <a:gd name="connsiteX4" fmla="*/ 2887 w 84223"/>
                <a:gd name="connsiteY4" fmla="*/ 26806 h 84432"/>
                <a:gd name="connsiteX5" fmla="*/ 57469 w 84223"/>
                <a:gd name="connsiteY5" fmla="*/ 2898 h 84432"/>
                <a:gd name="connsiteX6" fmla="*/ 80672 w 84223"/>
                <a:gd name="connsiteY6" fmla="*/ 25282 h 84432"/>
                <a:gd name="connsiteX7" fmla="*/ 81338 w 84223"/>
                <a:gd name="connsiteY7" fmla="*/ 57572 h 84432"/>
                <a:gd name="connsiteX8" fmla="*/ 58991 w 84223"/>
                <a:gd name="connsiteY8" fmla="*/ 80813 h 84432"/>
                <a:gd name="connsiteX9" fmla="*/ 42159 w 84223"/>
                <a:gd name="connsiteY9" fmla="*/ 84337 h 84432"/>
                <a:gd name="connsiteX10" fmla="*/ 42159 w 84223"/>
                <a:gd name="connsiteY10" fmla="*/ 9566 h 84432"/>
                <a:gd name="connsiteX11" fmla="*/ 11730 w 84223"/>
                <a:gd name="connsiteY11" fmla="*/ 30330 h 84432"/>
                <a:gd name="connsiteX12" fmla="*/ 12205 w 84223"/>
                <a:gd name="connsiteY12" fmla="*/ 55286 h 84432"/>
                <a:gd name="connsiteX13" fmla="*/ 30178 w 84223"/>
                <a:gd name="connsiteY13" fmla="*/ 72621 h 84432"/>
                <a:gd name="connsiteX14" fmla="*/ 30178 w 84223"/>
                <a:gd name="connsiteY14" fmla="*/ 72621 h 84432"/>
                <a:gd name="connsiteX15" fmla="*/ 55092 w 84223"/>
                <a:gd name="connsiteY15" fmla="*/ 72145 h 84432"/>
                <a:gd name="connsiteX16" fmla="*/ 72399 w 84223"/>
                <a:gd name="connsiteY16" fmla="*/ 54143 h 84432"/>
                <a:gd name="connsiteX17" fmla="*/ 71923 w 84223"/>
                <a:gd name="connsiteY17" fmla="*/ 29187 h 84432"/>
                <a:gd name="connsiteX18" fmla="*/ 53951 w 84223"/>
                <a:gd name="connsiteY18" fmla="*/ 11852 h 84432"/>
                <a:gd name="connsiteX19" fmla="*/ 42065 w 84223"/>
                <a:gd name="connsiteY19" fmla="*/ 9566 h 84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223" h="84432">
                  <a:moveTo>
                    <a:pt x="42159" y="84432"/>
                  </a:moveTo>
                  <a:cubicBezTo>
                    <a:pt x="36929" y="84432"/>
                    <a:pt x="31794" y="83480"/>
                    <a:pt x="26755" y="81479"/>
                  </a:cubicBezTo>
                  <a:lnTo>
                    <a:pt x="26755" y="81479"/>
                  </a:lnTo>
                  <a:cubicBezTo>
                    <a:pt x="16294" y="77384"/>
                    <a:pt x="8021" y="69383"/>
                    <a:pt x="3552" y="59096"/>
                  </a:cubicBezTo>
                  <a:cubicBezTo>
                    <a:pt x="-917" y="48809"/>
                    <a:pt x="-1203" y="37283"/>
                    <a:pt x="2887" y="26806"/>
                  </a:cubicBezTo>
                  <a:cubicBezTo>
                    <a:pt x="11350" y="5184"/>
                    <a:pt x="35788" y="-5579"/>
                    <a:pt x="57469" y="2898"/>
                  </a:cubicBezTo>
                  <a:cubicBezTo>
                    <a:pt x="67930" y="6994"/>
                    <a:pt x="76203" y="14995"/>
                    <a:pt x="80672" y="25282"/>
                  </a:cubicBezTo>
                  <a:cubicBezTo>
                    <a:pt x="85141" y="35569"/>
                    <a:pt x="85426" y="47094"/>
                    <a:pt x="81338" y="57572"/>
                  </a:cubicBezTo>
                  <a:cubicBezTo>
                    <a:pt x="77248" y="68049"/>
                    <a:pt x="69261" y="76336"/>
                    <a:pt x="58991" y="80813"/>
                  </a:cubicBezTo>
                  <a:cubicBezTo>
                    <a:pt x="53571" y="83194"/>
                    <a:pt x="47865" y="84337"/>
                    <a:pt x="42159" y="84337"/>
                  </a:cubicBezTo>
                  <a:close/>
                  <a:moveTo>
                    <a:pt x="42159" y="9566"/>
                  </a:moveTo>
                  <a:cubicBezTo>
                    <a:pt x="29132" y="9566"/>
                    <a:pt x="16770" y="17471"/>
                    <a:pt x="11730" y="30330"/>
                  </a:cubicBezTo>
                  <a:cubicBezTo>
                    <a:pt x="8592" y="38426"/>
                    <a:pt x="8687" y="47285"/>
                    <a:pt x="12205" y="55286"/>
                  </a:cubicBezTo>
                  <a:cubicBezTo>
                    <a:pt x="15724" y="63287"/>
                    <a:pt x="22095" y="69383"/>
                    <a:pt x="30178" y="72621"/>
                  </a:cubicBezTo>
                  <a:lnTo>
                    <a:pt x="30178" y="72621"/>
                  </a:lnTo>
                  <a:cubicBezTo>
                    <a:pt x="38261" y="75764"/>
                    <a:pt x="47104" y="75669"/>
                    <a:pt x="55092" y="72145"/>
                  </a:cubicBezTo>
                  <a:cubicBezTo>
                    <a:pt x="63080" y="68621"/>
                    <a:pt x="69166" y="62239"/>
                    <a:pt x="72399" y="54143"/>
                  </a:cubicBezTo>
                  <a:cubicBezTo>
                    <a:pt x="75537" y="46046"/>
                    <a:pt x="75442" y="37188"/>
                    <a:pt x="71923" y="29187"/>
                  </a:cubicBezTo>
                  <a:cubicBezTo>
                    <a:pt x="68405" y="21186"/>
                    <a:pt x="62034" y="14995"/>
                    <a:pt x="53951" y="11852"/>
                  </a:cubicBezTo>
                  <a:cubicBezTo>
                    <a:pt x="50052" y="10328"/>
                    <a:pt x="46058" y="9566"/>
                    <a:pt x="42065" y="9566"/>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Freeform 120">
              <a:extLst>
                <a:ext uri="{FF2B5EF4-FFF2-40B4-BE49-F238E27FC236}">
                  <a16:creationId xmlns:a16="http://schemas.microsoft.com/office/drawing/2014/main" id="{23B440B6-5120-C86B-76B4-C9E528329B3B}"/>
                </a:ext>
              </a:extLst>
            </p:cNvPr>
            <p:cNvSpPr/>
            <p:nvPr/>
          </p:nvSpPr>
          <p:spPr>
            <a:xfrm>
              <a:off x="7351524" y="3225158"/>
              <a:ext cx="384884" cy="385555"/>
            </a:xfrm>
            <a:custGeom>
              <a:avLst/>
              <a:gdLst>
                <a:gd name="connsiteX0" fmla="*/ 42214 w 84238"/>
                <a:gd name="connsiteY0" fmla="*/ 84290 h 84385"/>
                <a:gd name="connsiteX1" fmla="*/ 7316 w 84238"/>
                <a:gd name="connsiteY1" fmla="*/ 65907 h 84385"/>
                <a:gd name="connsiteX2" fmla="*/ 7316 w 84238"/>
                <a:gd name="connsiteY2" fmla="*/ 65907 h 84385"/>
                <a:gd name="connsiteX3" fmla="*/ 754 w 84238"/>
                <a:gd name="connsiteY3" fmla="*/ 34284 h 84385"/>
                <a:gd name="connsiteX4" fmla="*/ 18441 w 84238"/>
                <a:gd name="connsiteY4" fmla="*/ 7328 h 84385"/>
                <a:gd name="connsiteX5" fmla="*/ 50012 w 84238"/>
                <a:gd name="connsiteY5" fmla="*/ 756 h 84385"/>
                <a:gd name="connsiteX6" fmla="*/ 76923 w 84238"/>
                <a:gd name="connsiteY6" fmla="*/ 18472 h 84385"/>
                <a:gd name="connsiteX7" fmla="*/ 83485 w 84238"/>
                <a:gd name="connsiteY7" fmla="*/ 50095 h 84385"/>
                <a:gd name="connsiteX8" fmla="*/ 65797 w 84238"/>
                <a:gd name="connsiteY8" fmla="*/ 77051 h 84385"/>
                <a:gd name="connsiteX9" fmla="*/ 42119 w 84238"/>
                <a:gd name="connsiteY9" fmla="*/ 84385 h 84385"/>
                <a:gd name="connsiteX10" fmla="*/ 15208 w 84238"/>
                <a:gd name="connsiteY10" fmla="*/ 60477 h 84385"/>
                <a:gd name="connsiteX11" fmla="*/ 36129 w 84238"/>
                <a:gd name="connsiteY11" fmla="*/ 74193 h 84385"/>
                <a:gd name="connsiteX12" fmla="*/ 60567 w 84238"/>
                <a:gd name="connsiteY12" fmla="*/ 69145 h 84385"/>
                <a:gd name="connsiteX13" fmla="*/ 74261 w 84238"/>
                <a:gd name="connsiteY13" fmla="*/ 48285 h 84385"/>
                <a:gd name="connsiteX14" fmla="*/ 69221 w 84238"/>
                <a:gd name="connsiteY14" fmla="*/ 23806 h 84385"/>
                <a:gd name="connsiteX15" fmla="*/ 48396 w 84238"/>
                <a:gd name="connsiteY15" fmla="*/ 10090 h 84385"/>
                <a:gd name="connsiteX16" fmla="*/ 23957 w 84238"/>
                <a:gd name="connsiteY16" fmla="*/ 15138 h 84385"/>
                <a:gd name="connsiteX17" fmla="*/ 15303 w 84238"/>
                <a:gd name="connsiteY17" fmla="*/ 60477 h 84385"/>
                <a:gd name="connsiteX18" fmla="*/ 15303 w 84238"/>
                <a:gd name="connsiteY18" fmla="*/ 60477 h 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38" h="84385">
                  <a:moveTo>
                    <a:pt x="42214" y="84290"/>
                  </a:moveTo>
                  <a:cubicBezTo>
                    <a:pt x="28711" y="84290"/>
                    <a:pt x="15494" y="77813"/>
                    <a:pt x="7316" y="65907"/>
                  </a:cubicBezTo>
                  <a:lnTo>
                    <a:pt x="7316" y="65907"/>
                  </a:lnTo>
                  <a:cubicBezTo>
                    <a:pt x="944" y="56572"/>
                    <a:pt x="-1338" y="45333"/>
                    <a:pt x="754" y="34284"/>
                  </a:cubicBezTo>
                  <a:cubicBezTo>
                    <a:pt x="2846" y="23235"/>
                    <a:pt x="9123" y="13614"/>
                    <a:pt x="18441" y="7328"/>
                  </a:cubicBezTo>
                  <a:cubicBezTo>
                    <a:pt x="27760" y="946"/>
                    <a:pt x="38981" y="-1340"/>
                    <a:pt x="50012" y="756"/>
                  </a:cubicBezTo>
                  <a:cubicBezTo>
                    <a:pt x="61043" y="2851"/>
                    <a:pt x="70647" y="9138"/>
                    <a:pt x="76923" y="18472"/>
                  </a:cubicBezTo>
                  <a:cubicBezTo>
                    <a:pt x="83294" y="27807"/>
                    <a:pt x="85576" y="39046"/>
                    <a:pt x="83485" y="50095"/>
                  </a:cubicBezTo>
                  <a:cubicBezTo>
                    <a:pt x="81393" y="61144"/>
                    <a:pt x="75116" y="70764"/>
                    <a:pt x="65797" y="77051"/>
                  </a:cubicBezTo>
                  <a:cubicBezTo>
                    <a:pt x="58570" y="82004"/>
                    <a:pt x="50297" y="84385"/>
                    <a:pt x="42119" y="84385"/>
                  </a:cubicBezTo>
                  <a:close/>
                  <a:moveTo>
                    <a:pt x="15208" y="60477"/>
                  </a:moveTo>
                  <a:cubicBezTo>
                    <a:pt x="20153" y="67716"/>
                    <a:pt x="27570" y="72574"/>
                    <a:pt x="36129" y="74193"/>
                  </a:cubicBezTo>
                  <a:cubicBezTo>
                    <a:pt x="44687" y="75813"/>
                    <a:pt x="53340" y="74003"/>
                    <a:pt x="60567" y="69145"/>
                  </a:cubicBezTo>
                  <a:cubicBezTo>
                    <a:pt x="67794" y="64192"/>
                    <a:pt x="72644" y="56858"/>
                    <a:pt x="74261" y="48285"/>
                  </a:cubicBezTo>
                  <a:cubicBezTo>
                    <a:pt x="75877" y="39713"/>
                    <a:pt x="74070" y="31045"/>
                    <a:pt x="69221" y="23806"/>
                  </a:cubicBezTo>
                  <a:cubicBezTo>
                    <a:pt x="64276" y="16567"/>
                    <a:pt x="56954" y="11709"/>
                    <a:pt x="48396" y="10090"/>
                  </a:cubicBezTo>
                  <a:cubicBezTo>
                    <a:pt x="39837" y="8471"/>
                    <a:pt x="31184" y="10281"/>
                    <a:pt x="23957" y="15138"/>
                  </a:cubicBezTo>
                  <a:cubicBezTo>
                    <a:pt x="9123" y="25235"/>
                    <a:pt x="5224" y="45618"/>
                    <a:pt x="15303" y="60477"/>
                  </a:cubicBezTo>
                  <a:lnTo>
                    <a:pt x="15303" y="60477"/>
                  </a:ln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9" name="Freeform 121">
              <a:extLst>
                <a:ext uri="{FF2B5EF4-FFF2-40B4-BE49-F238E27FC236}">
                  <a16:creationId xmlns:a16="http://schemas.microsoft.com/office/drawing/2014/main" id="{86E59F6D-FDCB-6B64-1440-B0125D549582}"/>
                </a:ext>
              </a:extLst>
            </p:cNvPr>
            <p:cNvSpPr/>
            <p:nvPr/>
          </p:nvSpPr>
          <p:spPr>
            <a:xfrm>
              <a:off x="6698074" y="2262960"/>
              <a:ext cx="384674" cy="385532"/>
            </a:xfrm>
            <a:custGeom>
              <a:avLst/>
              <a:gdLst>
                <a:gd name="connsiteX0" fmla="*/ 42215 w 84192"/>
                <a:gd name="connsiteY0" fmla="*/ 84381 h 84380"/>
                <a:gd name="connsiteX1" fmla="*/ 34227 w 84192"/>
                <a:gd name="connsiteY1" fmla="*/ 83619 h 84380"/>
                <a:gd name="connsiteX2" fmla="*/ 7316 w 84192"/>
                <a:gd name="connsiteY2" fmla="*/ 65902 h 84380"/>
                <a:gd name="connsiteX3" fmla="*/ 7316 w 84192"/>
                <a:gd name="connsiteY3" fmla="*/ 65902 h 84380"/>
                <a:gd name="connsiteX4" fmla="*/ 754 w 84192"/>
                <a:gd name="connsiteY4" fmla="*/ 34279 h 84380"/>
                <a:gd name="connsiteX5" fmla="*/ 18442 w 84192"/>
                <a:gd name="connsiteY5" fmla="*/ 7324 h 84380"/>
                <a:gd name="connsiteX6" fmla="*/ 76923 w 84192"/>
                <a:gd name="connsiteY6" fmla="*/ 18468 h 84380"/>
                <a:gd name="connsiteX7" fmla="*/ 65797 w 84192"/>
                <a:gd name="connsiteY7" fmla="*/ 77047 h 84380"/>
                <a:gd name="connsiteX8" fmla="*/ 42215 w 84192"/>
                <a:gd name="connsiteY8" fmla="*/ 84381 h 84380"/>
                <a:gd name="connsiteX9" fmla="*/ 42119 w 84192"/>
                <a:gd name="connsiteY9" fmla="*/ 9514 h 84380"/>
                <a:gd name="connsiteX10" fmla="*/ 23862 w 84192"/>
                <a:gd name="connsiteY10" fmla="*/ 15134 h 84380"/>
                <a:gd name="connsiteX11" fmla="*/ 10169 w 84192"/>
                <a:gd name="connsiteY11" fmla="*/ 35994 h 84380"/>
                <a:gd name="connsiteX12" fmla="*/ 15209 w 84192"/>
                <a:gd name="connsiteY12" fmla="*/ 60473 h 84380"/>
                <a:gd name="connsiteX13" fmla="*/ 15209 w 84192"/>
                <a:gd name="connsiteY13" fmla="*/ 60473 h 84380"/>
                <a:gd name="connsiteX14" fmla="*/ 36033 w 84192"/>
                <a:gd name="connsiteY14" fmla="*/ 74189 h 84380"/>
                <a:gd name="connsiteX15" fmla="*/ 60472 w 84192"/>
                <a:gd name="connsiteY15" fmla="*/ 69141 h 84380"/>
                <a:gd name="connsiteX16" fmla="*/ 69126 w 84192"/>
                <a:gd name="connsiteY16" fmla="*/ 23802 h 84380"/>
                <a:gd name="connsiteX17" fmla="*/ 42119 w 84192"/>
                <a:gd name="connsiteY17" fmla="*/ 9514 h 84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192" h="84380">
                  <a:moveTo>
                    <a:pt x="42215" y="84381"/>
                  </a:moveTo>
                  <a:cubicBezTo>
                    <a:pt x="39552" y="84381"/>
                    <a:pt x="36889" y="84095"/>
                    <a:pt x="34227" y="83619"/>
                  </a:cubicBezTo>
                  <a:cubicBezTo>
                    <a:pt x="23196" y="81523"/>
                    <a:pt x="13592" y="75237"/>
                    <a:pt x="7316" y="65902"/>
                  </a:cubicBezTo>
                  <a:lnTo>
                    <a:pt x="7316" y="65902"/>
                  </a:lnTo>
                  <a:cubicBezTo>
                    <a:pt x="945" y="56568"/>
                    <a:pt x="-1338" y="45328"/>
                    <a:pt x="754" y="34279"/>
                  </a:cubicBezTo>
                  <a:cubicBezTo>
                    <a:pt x="2846" y="23230"/>
                    <a:pt x="9122" y="13610"/>
                    <a:pt x="18442" y="7324"/>
                  </a:cubicBezTo>
                  <a:cubicBezTo>
                    <a:pt x="37650" y="-5821"/>
                    <a:pt x="63896" y="-773"/>
                    <a:pt x="76923" y="18468"/>
                  </a:cubicBezTo>
                  <a:cubicBezTo>
                    <a:pt x="89951" y="37708"/>
                    <a:pt x="85006" y="63997"/>
                    <a:pt x="65797" y="77047"/>
                  </a:cubicBezTo>
                  <a:cubicBezTo>
                    <a:pt x="58761" y="81904"/>
                    <a:pt x="50583" y="84381"/>
                    <a:pt x="42215" y="84381"/>
                  </a:cubicBezTo>
                  <a:close/>
                  <a:moveTo>
                    <a:pt x="42119" y="9514"/>
                  </a:moveTo>
                  <a:cubicBezTo>
                    <a:pt x="35748" y="9514"/>
                    <a:pt x="29377" y="11324"/>
                    <a:pt x="23862" y="15134"/>
                  </a:cubicBezTo>
                  <a:cubicBezTo>
                    <a:pt x="16635" y="20087"/>
                    <a:pt x="11785" y="27421"/>
                    <a:pt x="10169" y="35994"/>
                  </a:cubicBezTo>
                  <a:cubicBezTo>
                    <a:pt x="8552" y="44566"/>
                    <a:pt x="10359" y="53234"/>
                    <a:pt x="15209" y="60473"/>
                  </a:cubicBezTo>
                  <a:lnTo>
                    <a:pt x="15209" y="60473"/>
                  </a:lnTo>
                  <a:cubicBezTo>
                    <a:pt x="20153" y="67712"/>
                    <a:pt x="27475" y="72570"/>
                    <a:pt x="36033" y="74189"/>
                  </a:cubicBezTo>
                  <a:cubicBezTo>
                    <a:pt x="44592" y="75808"/>
                    <a:pt x="53245" y="73999"/>
                    <a:pt x="60472" y="69141"/>
                  </a:cubicBezTo>
                  <a:cubicBezTo>
                    <a:pt x="75306" y="59044"/>
                    <a:pt x="79205" y="38661"/>
                    <a:pt x="69126" y="23802"/>
                  </a:cubicBezTo>
                  <a:cubicBezTo>
                    <a:pt x="62849" y="14563"/>
                    <a:pt x="52580" y="9514"/>
                    <a:pt x="42119" y="9514"/>
                  </a:cubicBezTo>
                  <a:close/>
                </a:path>
              </a:pathLst>
            </a:custGeom>
            <a:grpFill/>
            <a:ln w="9501" cap="flat">
              <a:solidFill>
                <a:srgbClr val="00305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aphicFrame>
        <p:nvGraphicFramePr>
          <p:cNvPr id="7" name="Chart 6">
            <a:extLst>
              <a:ext uri="{FF2B5EF4-FFF2-40B4-BE49-F238E27FC236}">
                <a16:creationId xmlns:a16="http://schemas.microsoft.com/office/drawing/2014/main" id="{4169E56D-835B-02C5-A123-1B820B4FBF7A}"/>
              </a:ext>
            </a:extLst>
          </p:cNvPr>
          <p:cNvGraphicFramePr/>
          <p:nvPr>
            <p:extLst>
              <p:ext uri="{D42A27DB-BD31-4B8C-83A1-F6EECF244321}">
                <p14:modId xmlns:p14="http://schemas.microsoft.com/office/powerpoint/2010/main" val="2749887221"/>
              </p:ext>
            </p:extLst>
          </p:nvPr>
        </p:nvGraphicFramePr>
        <p:xfrm>
          <a:off x="3803087" y="1585414"/>
          <a:ext cx="4380680" cy="3772507"/>
        </p:xfrm>
        <a:graphic>
          <a:graphicData uri="http://schemas.openxmlformats.org/drawingml/2006/chart">
            <c:chart xmlns:c="http://schemas.openxmlformats.org/drawingml/2006/chart" xmlns:r="http://schemas.openxmlformats.org/officeDocument/2006/relationships" r:id="rId6"/>
          </a:graphicData>
        </a:graphic>
      </p:graphicFrame>
      <p:sp>
        <p:nvSpPr>
          <p:cNvPr id="10" name="Oval 9">
            <a:extLst>
              <a:ext uri="{FF2B5EF4-FFF2-40B4-BE49-F238E27FC236}">
                <a16:creationId xmlns:a16="http://schemas.microsoft.com/office/drawing/2014/main" id="{577EE08F-D7AB-3CD3-79F9-A0067FD5F80C}"/>
              </a:ext>
            </a:extLst>
          </p:cNvPr>
          <p:cNvSpPr/>
          <p:nvPr/>
        </p:nvSpPr>
        <p:spPr>
          <a:xfrm>
            <a:off x="5257572" y="2754603"/>
            <a:ext cx="1498447" cy="1481884"/>
          </a:xfrm>
          <a:prstGeom prst="ellipse">
            <a:avLst/>
          </a:prstGeom>
          <a:solidFill>
            <a:schemeClr val="bg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US">
              <a:solidFill>
                <a:srgbClr val="132246"/>
              </a:solidFill>
            </a:endParaRPr>
          </a:p>
        </p:txBody>
      </p:sp>
      <p:sp>
        <p:nvSpPr>
          <p:cNvPr id="13" name="Oval 4">
            <a:extLst>
              <a:ext uri="{FF2B5EF4-FFF2-40B4-BE49-F238E27FC236}">
                <a16:creationId xmlns:a16="http://schemas.microsoft.com/office/drawing/2014/main" id="{35197781-E34C-5DCE-F3F5-77660E01CEDB}"/>
              </a:ext>
            </a:extLst>
          </p:cNvPr>
          <p:cNvSpPr txBox="1"/>
          <p:nvPr/>
        </p:nvSpPr>
        <p:spPr>
          <a:xfrm>
            <a:off x="5400237" y="2914470"/>
            <a:ext cx="1281158" cy="104785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550" b="1" kern="1200" dirty="0">
                <a:solidFill>
                  <a:srgbClr val="132246"/>
                </a:solidFill>
                <a:latin typeface="Arial" panose="020B0604020202020204" pitchFamily="34" charset="0"/>
                <a:cs typeface="Arial" panose="020B0604020202020204" pitchFamily="34" charset="0"/>
              </a:rPr>
              <a:t>Secular &amp; Sustainable Trends</a:t>
            </a:r>
            <a:endParaRPr lang="en-US" sz="1550" kern="1200" dirty="0">
              <a:solidFill>
                <a:srgbClr val="132246"/>
              </a:solidFill>
            </a:endParaRPr>
          </a:p>
        </p:txBody>
      </p:sp>
      <p:sp>
        <p:nvSpPr>
          <p:cNvPr id="17" name="TextBox 16">
            <a:extLst>
              <a:ext uri="{FF2B5EF4-FFF2-40B4-BE49-F238E27FC236}">
                <a16:creationId xmlns:a16="http://schemas.microsoft.com/office/drawing/2014/main" id="{14400D9B-9E32-12F2-4529-2B4347CB24B2}"/>
              </a:ext>
            </a:extLst>
          </p:cNvPr>
          <p:cNvSpPr txBox="1"/>
          <p:nvPr/>
        </p:nvSpPr>
        <p:spPr>
          <a:xfrm>
            <a:off x="6101587" y="1981984"/>
            <a:ext cx="1117010" cy="738664"/>
          </a:xfrm>
          <a:prstGeom prst="rect">
            <a:avLst/>
          </a:prstGeom>
          <a:noFill/>
        </p:spPr>
        <p:txBody>
          <a:bodyPr wrap="square">
            <a:spAutoFit/>
          </a:bodyPr>
          <a:lstStyle/>
          <a:p>
            <a:pPr lvl="0"/>
            <a:r>
              <a:rPr lang="en-US" sz="1400" b="1" dirty="0">
                <a:solidFill>
                  <a:srgbClr val="132246"/>
                </a:solidFill>
              </a:rPr>
              <a:t>Natural ingredients &amp; solutions</a:t>
            </a:r>
          </a:p>
        </p:txBody>
      </p:sp>
      <p:sp>
        <p:nvSpPr>
          <p:cNvPr id="24" name="TextBox 23">
            <a:extLst>
              <a:ext uri="{FF2B5EF4-FFF2-40B4-BE49-F238E27FC236}">
                <a16:creationId xmlns:a16="http://schemas.microsoft.com/office/drawing/2014/main" id="{3F88B57A-9D35-4F14-5A12-6473A1E7B0B9}"/>
              </a:ext>
            </a:extLst>
          </p:cNvPr>
          <p:cNvSpPr txBox="1"/>
          <p:nvPr/>
        </p:nvSpPr>
        <p:spPr>
          <a:xfrm>
            <a:off x="6934428" y="3110851"/>
            <a:ext cx="1037391" cy="584775"/>
          </a:xfrm>
          <a:prstGeom prst="rect">
            <a:avLst/>
          </a:prstGeom>
          <a:noFill/>
        </p:spPr>
        <p:txBody>
          <a:bodyPr wrap="square">
            <a:spAutoFit/>
          </a:bodyPr>
          <a:lstStyle/>
          <a:p>
            <a:pPr lvl="0"/>
            <a:r>
              <a:rPr lang="en-US" sz="1600" b="1" dirty="0">
                <a:solidFill>
                  <a:srgbClr val="132246"/>
                </a:solidFill>
              </a:rPr>
              <a:t>Clean energy</a:t>
            </a:r>
          </a:p>
        </p:txBody>
      </p:sp>
      <p:pic>
        <p:nvPicPr>
          <p:cNvPr id="240" name="Graphic 239" descr="Open hand with plant with solid fill">
            <a:extLst>
              <a:ext uri="{FF2B5EF4-FFF2-40B4-BE49-F238E27FC236}">
                <a16:creationId xmlns:a16="http://schemas.microsoft.com/office/drawing/2014/main" id="{609923DD-0E25-3D5E-C436-063852C88E3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9868" y="3709829"/>
            <a:ext cx="470947" cy="493588"/>
          </a:xfrm>
          <a:prstGeom prst="rect">
            <a:avLst/>
          </a:prstGeom>
        </p:spPr>
      </p:pic>
      <p:sp>
        <p:nvSpPr>
          <p:cNvPr id="244" name="TextBox 243">
            <a:extLst>
              <a:ext uri="{FF2B5EF4-FFF2-40B4-BE49-F238E27FC236}">
                <a16:creationId xmlns:a16="http://schemas.microsoft.com/office/drawing/2014/main" id="{BCE56621-7722-22D3-526C-A30735CF4EFE}"/>
              </a:ext>
            </a:extLst>
          </p:cNvPr>
          <p:cNvSpPr txBox="1"/>
          <p:nvPr/>
        </p:nvSpPr>
        <p:spPr>
          <a:xfrm>
            <a:off x="6101587" y="4274822"/>
            <a:ext cx="1422511" cy="584775"/>
          </a:xfrm>
          <a:prstGeom prst="rect">
            <a:avLst/>
          </a:prstGeom>
          <a:noFill/>
        </p:spPr>
        <p:txBody>
          <a:bodyPr wrap="square">
            <a:spAutoFit/>
          </a:bodyPr>
          <a:lstStyle/>
          <a:p>
            <a:pPr lvl="0"/>
            <a:r>
              <a:rPr lang="en-US" sz="1600" b="1" dirty="0">
                <a:solidFill>
                  <a:srgbClr val="132246"/>
                </a:solidFill>
              </a:rPr>
              <a:t>Human health &amp; safety</a:t>
            </a:r>
          </a:p>
        </p:txBody>
      </p:sp>
      <p:sp>
        <p:nvSpPr>
          <p:cNvPr id="246" name="TextBox 245">
            <a:extLst>
              <a:ext uri="{FF2B5EF4-FFF2-40B4-BE49-F238E27FC236}">
                <a16:creationId xmlns:a16="http://schemas.microsoft.com/office/drawing/2014/main" id="{D60A8F09-9837-A5C5-DF94-9C5D70ADCDB0}"/>
              </a:ext>
            </a:extLst>
          </p:cNvPr>
          <p:cNvSpPr txBox="1"/>
          <p:nvPr/>
        </p:nvSpPr>
        <p:spPr>
          <a:xfrm>
            <a:off x="4896494" y="4274822"/>
            <a:ext cx="1206346" cy="584775"/>
          </a:xfrm>
          <a:prstGeom prst="rect">
            <a:avLst/>
          </a:prstGeom>
          <a:noFill/>
        </p:spPr>
        <p:txBody>
          <a:bodyPr wrap="square">
            <a:spAutoFit/>
          </a:bodyPr>
          <a:lstStyle/>
          <a:p>
            <a:pPr lvl="0"/>
            <a:r>
              <a:rPr lang="en-US" sz="1600" b="1" dirty="0">
                <a:solidFill>
                  <a:srgbClr val="132246"/>
                </a:solidFill>
              </a:rPr>
              <a:t>Pollution prevention</a:t>
            </a:r>
          </a:p>
        </p:txBody>
      </p:sp>
      <p:sp>
        <p:nvSpPr>
          <p:cNvPr id="248" name="TextBox 247">
            <a:extLst>
              <a:ext uri="{FF2B5EF4-FFF2-40B4-BE49-F238E27FC236}">
                <a16:creationId xmlns:a16="http://schemas.microsoft.com/office/drawing/2014/main" id="{A6ECAE44-7A27-616D-6709-8D2B4E91D58A}"/>
              </a:ext>
            </a:extLst>
          </p:cNvPr>
          <p:cNvSpPr txBox="1"/>
          <p:nvPr/>
        </p:nvSpPr>
        <p:spPr>
          <a:xfrm>
            <a:off x="4266809" y="3110851"/>
            <a:ext cx="1011100" cy="584775"/>
          </a:xfrm>
          <a:prstGeom prst="rect">
            <a:avLst/>
          </a:prstGeom>
          <a:noFill/>
        </p:spPr>
        <p:txBody>
          <a:bodyPr wrap="square">
            <a:spAutoFit/>
          </a:bodyPr>
          <a:lstStyle/>
          <a:p>
            <a:pPr lvl="0"/>
            <a:r>
              <a:rPr lang="en-US" sz="1600" b="1" dirty="0">
                <a:solidFill>
                  <a:srgbClr val="132246"/>
                </a:solidFill>
              </a:rPr>
              <a:t>Waste reduction</a:t>
            </a:r>
          </a:p>
        </p:txBody>
      </p:sp>
      <p:sp>
        <p:nvSpPr>
          <p:cNvPr id="250" name="TextBox 249">
            <a:extLst>
              <a:ext uri="{FF2B5EF4-FFF2-40B4-BE49-F238E27FC236}">
                <a16:creationId xmlns:a16="http://schemas.microsoft.com/office/drawing/2014/main" id="{7250006B-F2A7-BF67-B4E7-83D2DE7799DD}"/>
              </a:ext>
            </a:extLst>
          </p:cNvPr>
          <p:cNvSpPr txBox="1"/>
          <p:nvPr/>
        </p:nvSpPr>
        <p:spPr>
          <a:xfrm>
            <a:off x="4904789" y="2135873"/>
            <a:ext cx="1198051" cy="584775"/>
          </a:xfrm>
          <a:prstGeom prst="rect">
            <a:avLst/>
          </a:prstGeom>
          <a:noFill/>
        </p:spPr>
        <p:txBody>
          <a:bodyPr wrap="square">
            <a:spAutoFit/>
          </a:bodyPr>
          <a:lstStyle/>
          <a:p>
            <a:pPr lvl="0"/>
            <a:r>
              <a:rPr lang="en-US" sz="1600" b="1" dirty="0">
                <a:solidFill>
                  <a:srgbClr val="132246"/>
                </a:solidFill>
              </a:rPr>
              <a:t>Energy efficiency</a:t>
            </a:r>
          </a:p>
        </p:txBody>
      </p:sp>
    </p:spTree>
    <p:extLst>
      <p:ext uri="{BB962C8B-B14F-4D97-AF65-F5344CB8AC3E}">
        <p14:creationId xmlns:p14="http://schemas.microsoft.com/office/powerpoint/2010/main" val="2120094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alpha val="6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082FF61-5B20-0F8E-EDC9-9945856F2531}"/>
              </a:ext>
            </a:extLst>
          </p:cNvPr>
          <p:cNvGraphicFramePr>
            <a:graphicFrameLocks noChangeAspect="1"/>
          </p:cNvGraphicFramePr>
          <p:nvPr>
            <p:custDataLst>
              <p:tags r:id="rId1"/>
            </p:custDataLst>
            <p:extLst>
              <p:ext uri="{D42A27DB-BD31-4B8C-83A1-F6EECF244321}">
                <p14:modId xmlns:p14="http://schemas.microsoft.com/office/powerpoint/2010/main" val="317510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5" name="think-cell data - do not delete" hidden="1">
                        <a:extLst>
                          <a:ext uri="{FF2B5EF4-FFF2-40B4-BE49-F238E27FC236}">
                            <a16:creationId xmlns:a16="http://schemas.microsoft.com/office/drawing/2014/main" id="{A082FF61-5B20-0F8E-EDC9-9945856F25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1B4F08C3-483E-99FA-5FBE-3E38B3380438}"/>
              </a:ext>
            </a:extLst>
          </p:cNvPr>
          <p:cNvSpPr/>
          <p:nvPr/>
        </p:nvSpPr>
        <p:spPr>
          <a:xfrm rot="10800000">
            <a:off x="472887" y="1047565"/>
            <a:ext cx="3132060" cy="5192916"/>
          </a:xfrm>
          <a:prstGeom prst="downArrow">
            <a:avLst>
              <a:gd name="adj1" fmla="val 83839"/>
              <a:gd name="adj2" fmla="val 21619"/>
            </a:avLst>
          </a:prstGeom>
          <a:gradFill flip="none" rotWithShape="1">
            <a:gsLst>
              <a:gs pos="0">
                <a:srgbClr val="61A6CC">
                  <a:tint val="66000"/>
                  <a:satMod val="160000"/>
                </a:srgbClr>
              </a:gs>
              <a:gs pos="50000">
                <a:srgbClr val="61A6CC">
                  <a:tint val="44500"/>
                  <a:satMod val="160000"/>
                </a:srgbClr>
              </a:gs>
              <a:gs pos="100000">
                <a:srgbClr val="61A6CC">
                  <a:tint val="23500"/>
                  <a:satMod val="160000"/>
                </a:srgbClr>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33BFEDA-7F4E-1D94-5444-79A107E632DE}"/>
              </a:ext>
            </a:extLst>
          </p:cNvPr>
          <p:cNvSpPr/>
          <p:nvPr/>
        </p:nvSpPr>
        <p:spPr>
          <a:xfrm>
            <a:off x="3940564" y="2680847"/>
            <a:ext cx="6987850" cy="277195"/>
          </a:xfrm>
          <a:prstGeom prst="rect">
            <a:avLst/>
          </a:prstGeom>
          <a:solidFill>
            <a:srgbClr val="39506F"/>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L="0" marR="0" lvl="0" indent="0" algn="just" defTabSz="914400" rtl="0" eaLnBrk="1" fontAlgn="auto" latinLnBrk="0" hangingPunct="1">
              <a:lnSpc>
                <a:spcPct val="90000"/>
              </a:lnSpc>
              <a:spcBef>
                <a:spcPts val="0"/>
              </a:spcBef>
              <a:spcAft>
                <a:spcPts val="0"/>
              </a:spcAft>
              <a:buClrTx/>
              <a:buSzTx/>
              <a:buFontTx/>
              <a:buNone/>
              <a:tabLst/>
              <a:defRPr/>
            </a:pP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770764ED-E181-A13D-86E1-EBD565317F94}"/>
              </a:ext>
            </a:extLst>
          </p:cNvPr>
          <p:cNvSpPr/>
          <p:nvPr/>
        </p:nvSpPr>
        <p:spPr>
          <a:xfrm>
            <a:off x="3944350" y="3970357"/>
            <a:ext cx="6982488" cy="277195"/>
          </a:xfrm>
          <a:prstGeom prst="rect">
            <a:avLst/>
          </a:prstGeom>
          <a:solidFill>
            <a:srgbClr val="5374A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R="0" lvl="0" algn="just"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E5F3758D-D70E-8714-BC93-411D4EB9E676}"/>
              </a:ext>
            </a:extLst>
          </p:cNvPr>
          <p:cNvGrpSpPr/>
          <p:nvPr/>
        </p:nvGrpSpPr>
        <p:grpSpPr>
          <a:xfrm>
            <a:off x="4038553" y="3810587"/>
            <a:ext cx="436966" cy="436966"/>
            <a:chOff x="3955826" y="-246215"/>
            <a:chExt cx="878442" cy="878442"/>
          </a:xfrm>
        </p:grpSpPr>
        <p:sp>
          <p:nvSpPr>
            <p:cNvPr id="25" name="Oval 24">
              <a:extLst>
                <a:ext uri="{FF2B5EF4-FFF2-40B4-BE49-F238E27FC236}">
                  <a16:creationId xmlns:a16="http://schemas.microsoft.com/office/drawing/2014/main" id="{7C8F0A5E-3B27-3232-B3F0-07DBA4207198}"/>
                </a:ext>
              </a:extLst>
            </p:cNvPr>
            <p:cNvSpPr/>
            <p:nvPr/>
          </p:nvSpPr>
          <p:spPr>
            <a:xfrm>
              <a:off x="3955826" y="-246215"/>
              <a:ext cx="878442" cy="878442"/>
            </a:xfrm>
            <a:prstGeom prst="ellipse">
              <a:avLst/>
            </a:prstGeom>
            <a:solidFill>
              <a:srgbClr val="5374A1"/>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CDCAFF69-F006-0320-3B8F-21BD1F8CCFE5}"/>
                </a:ext>
              </a:extLst>
            </p:cNvPr>
            <p:cNvGrpSpPr/>
            <p:nvPr/>
          </p:nvGrpSpPr>
          <p:grpSpPr>
            <a:xfrm>
              <a:off x="4018029" y="-163513"/>
              <a:ext cx="694076" cy="673350"/>
              <a:chOff x="12099561" y="-675971"/>
              <a:chExt cx="694076" cy="673350"/>
            </a:xfrm>
            <a:solidFill>
              <a:schemeClr val="bg1"/>
            </a:solidFill>
          </p:grpSpPr>
          <p:sp>
            <p:nvSpPr>
              <p:cNvPr id="27" name="Freeform 44">
                <a:extLst>
                  <a:ext uri="{FF2B5EF4-FFF2-40B4-BE49-F238E27FC236}">
                    <a16:creationId xmlns:a16="http://schemas.microsoft.com/office/drawing/2014/main" id="{D4EDCED8-7434-0479-6177-E1C417D4F8D8}"/>
                  </a:ext>
                </a:extLst>
              </p:cNvPr>
              <p:cNvSpPr/>
              <p:nvPr/>
            </p:nvSpPr>
            <p:spPr>
              <a:xfrm>
                <a:off x="12099561" y="-665009"/>
                <a:ext cx="438073" cy="457086"/>
              </a:xfrm>
              <a:custGeom>
                <a:avLst/>
                <a:gdLst>
                  <a:gd name="connsiteX0" fmla="*/ 198209 w 438073"/>
                  <a:gd name="connsiteY0" fmla="*/ 456992 h 457086"/>
                  <a:gd name="connsiteX1" fmla="*/ 31764 w 438073"/>
                  <a:gd name="connsiteY1" fmla="*/ 382800 h 457086"/>
                  <a:gd name="connsiteX2" fmla="*/ 157833 w 438073"/>
                  <a:gd name="connsiteY2" fmla="*/ 15899 h 457086"/>
                  <a:gd name="connsiteX3" fmla="*/ 179398 w 438073"/>
                  <a:gd name="connsiteY3" fmla="*/ 1457 h 457086"/>
                  <a:gd name="connsiteX4" fmla="*/ 190513 w 438073"/>
                  <a:gd name="connsiteY4" fmla="*/ 2118 h 457086"/>
                  <a:gd name="connsiteX5" fmla="*/ 193363 w 438073"/>
                  <a:gd name="connsiteY5" fmla="*/ 12879 h 457086"/>
                  <a:gd name="connsiteX6" fmla="*/ 280006 w 438073"/>
                  <a:gd name="connsiteY6" fmla="*/ 204777 h 457086"/>
                  <a:gd name="connsiteX7" fmla="*/ 280006 w 438073"/>
                  <a:gd name="connsiteY7" fmla="*/ 204777 h 457086"/>
                  <a:gd name="connsiteX8" fmla="*/ 428020 w 438073"/>
                  <a:gd name="connsiteY8" fmla="*/ 349952 h 457086"/>
                  <a:gd name="connsiteX9" fmla="*/ 437425 w 438073"/>
                  <a:gd name="connsiteY9" fmla="*/ 355993 h 457086"/>
                  <a:gd name="connsiteX10" fmla="*/ 434575 w 438073"/>
                  <a:gd name="connsiteY10" fmla="*/ 366754 h 457086"/>
                  <a:gd name="connsiteX11" fmla="*/ 430585 w 438073"/>
                  <a:gd name="connsiteY11" fmla="*/ 371001 h 457086"/>
                  <a:gd name="connsiteX12" fmla="*/ 422035 w 438073"/>
                  <a:gd name="connsiteY12" fmla="*/ 379497 h 457086"/>
                  <a:gd name="connsiteX13" fmla="*/ 198304 w 438073"/>
                  <a:gd name="connsiteY13" fmla="*/ 457087 h 457086"/>
                  <a:gd name="connsiteX14" fmla="*/ 173033 w 438073"/>
                  <a:gd name="connsiteY14" fmla="*/ 28359 h 457086"/>
                  <a:gd name="connsiteX15" fmla="*/ 168948 w 438073"/>
                  <a:gd name="connsiteY15" fmla="*/ 31191 h 457086"/>
                  <a:gd name="connsiteX16" fmla="*/ 47155 w 438073"/>
                  <a:gd name="connsiteY16" fmla="*/ 371757 h 457086"/>
                  <a:gd name="connsiteX17" fmla="*/ 409589 w 438073"/>
                  <a:gd name="connsiteY17" fmla="*/ 364960 h 457086"/>
                  <a:gd name="connsiteX18" fmla="*/ 264521 w 438073"/>
                  <a:gd name="connsiteY18" fmla="*/ 215821 h 457086"/>
                  <a:gd name="connsiteX19" fmla="*/ 264521 w 438073"/>
                  <a:gd name="connsiteY19" fmla="*/ 215821 h 457086"/>
                  <a:gd name="connsiteX20" fmla="*/ 173033 w 438073"/>
                  <a:gd name="connsiteY20" fmla="*/ 28359 h 457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8073" h="457086">
                    <a:moveTo>
                      <a:pt x="198209" y="456992"/>
                    </a:moveTo>
                    <a:cubicBezTo>
                      <a:pt x="128572" y="456992"/>
                      <a:pt x="67675" y="432356"/>
                      <a:pt x="31764" y="382800"/>
                    </a:cubicBezTo>
                    <a:cubicBezTo>
                      <a:pt x="-41008" y="282556"/>
                      <a:pt x="15519" y="118031"/>
                      <a:pt x="157833" y="15899"/>
                    </a:cubicBezTo>
                    <a:cubicBezTo>
                      <a:pt x="164293" y="11274"/>
                      <a:pt x="171323" y="6554"/>
                      <a:pt x="179398" y="1457"/>
                    </a:cubicBezTo>
                    <a:cubicBezTo>
                      <a:pt x="182818" y="-714"/>
                      <a:pt x="187378" y="-431"/>
                      <a:pt x="190513" y="2118"/>
                    </a:cubicBezTo>
                    <a:cubicBezTo>
                      <a:pt x="193648" y="4666"/>
                      <a:pt x="194788" y="9009"/>
                      <a:pt x="193363" y="12879"/>
                    </a:cubicBezTo>
                    <a:cubicBezTo>
                      <a:pt x="184243" y="36099"/>
                      <a:pt x="214169" y="114161"/>
                      <a:pt x="280006" y="204777"/>
                    </a:cubicBezTo>
                    <a:lnTo>
                      <a:pt x="280006" y="204777"/>
                    </a:lnTo>
                    <a:cubicBezTo>
                      <a:pt x="358953" y="313422"/>
                      <a:pt x="407879" y="351368"/>
                      <a:pt x="428020" y="349952"/>
                    </a:cubicBezTo>
                    <a:cubicBezTo>
                      <a:pt x="432200" y="349763"/>
                      <a:pt x="435905" y="352217"/>
                      <a:pt x="437425" y="355993"/>
                    </a:cubicBezTo>
                    <a:cubicBezTo>
                      <a:pt x="438945" y="359769"/>
                      <a:pt x="437710" y="364111"/>
                      <a:pt x="434575" y="366754"/>
                    </a:cubicBezTo>
                    <a:cubicBezTo>
                      <a:pt x="432485" y="368453"/>
                      <a:pt x="431725" y="369491"/>
                      <a:pt x="430585" y="371001"/>
                    </a:cubicBezTo>
                    <a:cubicBezTo>
                      <a:pt x="428970" y="373172"/>
                      <a:pt x="426975" y="375910"/>
                      <a:pt x="422035" y="379497"/>
                    </a:cubicBezTo>
                    <a:cubicBezTo>
                      <a:pt x="350023" y="431129"/>
                      <a:pt x="269556" y="457087"/>
                      <a:pt x="198304" y="457087"/>
                    </a:cubicBezTo>
                    <a:close/>
                    <a:moveTo>
                      <a:pt x="173033" y="28359"/>
                    </a:moveTo>
                    <a:cubicBezTo>
                      <a:pt x="171608" y="29303"/>
                      <a:pt x="170278" y="30247"/>
                      <a:pt x="168948" y="31191"/>
                    </a:cubicBezTo>
                    <a:cubicBezTo>
                      <a:pt x="35089" y="127187"/>
                      <a:pt x="-19537" y="279913"/>
                      <a:pt x="47155" y="371757"/>
                    </a:cubicBezTo>
                    <a:cubicBezTo>
                      <a:pt x="113656" y="463222"/>
                      <a:pt x="276016" y="460107"/>
                      <a:pt x="409589" y="364960"/>
                    </a:cubicBezTo>
                    <a:cubicBezTo>
                      <a:pt x="367218" y="347781"/>
                      <a:pt x="308887" y="276893"/>
                      <a:pt x="264521" y="215821"/>
                    </a:cubicBezTo>
                    <a:lnTo>
                      <a:pt x="264521" y="215821"/>
                    </a:lnTo>
                    <a:cubicBezTo>
                      <a:pt x="219394" y="153617"/>
                      <a:pt x="176263" y="74894"/>
                      <a:pt x="173033" y="28359"/>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Freeform 46">
                <a:extLst>
                  <a:ext uri="{FF2B5EF4-FFF2-40B4-BE49-F238E27FC236}">
                    <a16:creationId xmlns:a16="http://schemas.microsoft.com/office/drawing/2014/main" id="{DA34A8E4-C475-F057-69D5-D8AE3B371785}"/>
                  </a:ext>
                </a:extLst>
              </p:cNvPr>
              <p:cNvSpPr/>
              <p:nvPr/>
            </p:nvSpPr>
            <p:spPr>
              <a:xfrm>
                <a:off x="12272391" y="-675971"/>
                <a:ext cx="285116" cy="361763"/>
              </a:xfrm>
              <a:custGeom>
                <a:avLst/>
                <a:gdLst>
                  <a:gd name="connsiteX0" fmla="*/ 222415 w 285116"/>
                  <a:gd name="connsiteY0" fmla="*/ 361764 h 361763"/>
                  <a:gd name="connsiteX1" fmla="*/ 91691 w 285116"/>
                  <a:gd name="connsiteY1" fmla="*/ 226783 h 361763"/>
                  <a:gd name="connsiteX2" fmla="*/ 2769 w 285116"/>
                  <a:gd name="connsiteY2" fmla="*/ 16950 h 361763"/>
                  <a:gd name="connsiteX3" fmla="*/ 11889 w 285116"/>
                  <a:gd name="connsiteY3" fmla="*/ 4868 h 361763"/>
                  <a:gd name="connsiteX4" fmla="*/ 30225 w 285116"/>
                  <a:gd name="connsiteY4" fmla="*/ 54 h 361763"/>
                  <a:gd name="connsiteX5" fmla="*/ 198854 w 285116"/>
                  <a:gd name="connsiteY5" fmla="*/ 150043 h 361763"/>
                  <a:gd name="connsiteX6" fmla="*/ 263646 w 285116"/>
                  <a:gd name="connsiteY6" fmla="*/ 256139 h 361763"/>
                  <a:gd name="connsiteX7" fmla="*/ 285116 w 285116"/>
                  <a:gd name="connsiteY7" fmla="*/ 300315 h 361763"/>
                  <a:gd name="connsiteX8" fmla="*/ 251581 w 285116"/>
                  <a:gd name="connsiteY8" fmla="*/ 269920 h 361763"/>
                  <a:gd name="connsiteX9" fmla="*/ 183274 w 285116"/>
                  <a:gd name="connsiteY9" fmla="*/ 303713 h 361763"/>
                  <a:gd name="connsiteX10" fmla="*/ 232865 w 285116"/>
                  <a:gd name="connsiteY10" fmla="*/ 346000 h 361763"/>
                  <a:gd name="connsiteX11" fmla="*/ 222415 w 285116"/>
                  <a:gd name="connsiteY11" fmla="*/ 361764 h 361763"/>
                  <a:gd name="connsiteX12" fmla="*/ 162183 w 285116"/>
                  <a:gd name="connsiteY12" fmla="*/ 282946 h 361763"/>
                  <a:gd name="connsiteX13" fmla="*/ 241225 w 285116"/>
                  <a:gd name="connsiteY13" fmla="*/ 253874 h 361763"/>
                  <a:gd name="connsiteX14" fmla="*/ 183369 w 285116"/>
                  <a:gd name="connsiteY14" fmla="*/ 160992 h 361763"/>
                  <a:gd name="connsiteX15" fmla="*/ 29084 w 285116"/>
                  <a:gd name="connsiteY15" fmla="*/ 18838 h 361763"/>
                  <a:gd name="connsiteX16" fmla="*/ 22909 w 285116"/>
                  <a:gd name="connsiteY16" fmla="*/ 20065 h 361763"/>
                  <a:gd name="connsiteX17" fmla="*/ 20344 w 285116"/>
                  <a:gd name="connsiteY17" fmla="*/ 23746 h 361763"/>
                  <a:gd name="connsiteX18" fmla="*/ 106987 w 285116"/>
                  <a:gd name="connsiteY18" fmla="*/ 215645 h 361763"/>
                  <a:gd name="connsiteX19" fmla="*/ 161803 w 285116"/>
                  <a:gd name="connsiteY19" fmla="*/ 283041 h 361763"/>
                  <a:gd name="connsiteX20" fmla="*/ 162088 w 285116"/>
                  <a:gd name="connsiteY20" fmla="*/ 282758 h 361763"/>
                  <a:gd name="connsiteX21" fmla="*/ 162088 w 285116"/>
                  <a:gd name="connsiteY21" fmla="*/ 282758 h 36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116" h="361763">
                    <a:moveTo>
                      <a:pt x="222415" y="361764"/>
                    </a:moveTo>
                    <a:cubicBezTo>
                      <a:pt x="184604" y="337883"/>
                      <a:pt x="135772" y="287477"/>
                      <a:pt x="91691" y="226783"/>
                    </a:cubicBezTo>
                    <a:cubicBezTo>
                      <a:pt x="38110" y="153063"/>
                      <a:pt x="-12527" y="55934"/>
                      <a:pt x="2769" y="16950"/>
                    </a:cubicBezTo>
                    <a:cubicBezTo>
                      <a:pt x="4764" y="11759"/>
                      <a:pt x="7899" y="7700"/>
                      <a:pt x="11889" y="4868"/>
                    </a:cubicBezTo>
                    <a:cubicBezTo>
                      <a:pt x="16924" y="1281"/>
                      <a:pt x="23099" y="-324"/>
                      <a:pt x="30225" y="54"/>
                    </a:cubicBezTo>
                    <a:cubicBezTo>
                      <a:pt x="67465" y="2131"/>
                      <a:pt x="135202" y="62447"/>
                      <a:pt x="198854" y="150043"/>
                    </a:cubicBezTo>
                    <a:cubicBezTo>
                      <a:pt x="224980" y="186006"/>
                      <a:pt x="247400" y="222724"/>
                      <a:pt x="263646" y="256139"/>
                    </a:cubicBezTo>
                    <a:lnTo>
                      <a:pt x="285116" y="300315"/>
                    </a:lnTo>
                    <a:lnTo>
                      <a:pt x="251581" y="269920"/>
                    </a:lnTo>
                    <a:cubicBezTo>
                      <a:pt x="221655" y="292386"/>
                      <a:pt x="199329" y="301258"/>
                      <a:pt x="183274" y="303713"/>
                    </a:cubicBezTo>
                    <a:cubicBezTo>
                      <a:pt x="204269" y="324101"/>
                      <a:pt x="217380" y="335617"/>
                      <a:pt x="232865" y="346000"/>
                    </a:cubicBezTo>
                    <a:lnTo>
                      <a:pt x="222415" y="361764"/>
                    </a:lnTo>
                    <a:close/>
                    <a:moveTo>
                      <a:pt x="162183" y="282946"/>
                    </a:moveTo>
                    <a:cubicBezTo>
                      <a:pt x="162183" y="282946"/>
                      <a:pt x="182704" y="298332"/>
                      <a:pt x="241225" y="253874"/>
                    </a:cubicBezTo>
                    <a:cubicBezTo>
                      <a:pt x="226025" y="224235"/>
                      <a:pt x="206074" y="192425"/>
                      <a:pt x="183369" y="160992"/>
                    </a:cubicBezTo>
                    <a:cubicBezTo>
                      <a:pt x="117722" y="70565"/>
                      <a:pt x="54830" y="20254"/>
                      <a:pt x="29084" y="18838"/>
                    </a:cubicBezTo>
                    <a:cubicBezTo>
                      <a:pt x="26329" y="18649"/>
                      <a:pt x="24334" y="19121"/>
                      <a:pt x="22909" y="20065"/>
                    </a:cubicBezTo>
                    <a:cubicBezTo>
                      <a:pt x="21959" y="20820"/>
                      <a:pt x="21104" y="22047"/>
                      <a:pt x="20344" y="23746"/>
                    </a:cubicBezTo>
                    <a:cubicBezTo>
                      <a:pt x="11224" y="46967"/>
                      <a:pt x="41150" y="125029"/>
                      <a:pt x="106987" y="215645"/>
                    </a:cubicBezTo>
                    <a:cubicBezTo>
                      <a:pt x="124847" y="240281"/>
                      <a:pt x="143468" y="263124"/>
                      <a:pt x="161803" y="283041"/>
                    </a:cubicBezTo>
                    <a:lnTo>
                      <a:pt x="162088" y="282758"/>
                    </a:lnTo>
                    <a:cubicBezTo>
                      <a:pt x="162088" y="282758"/>
                      <a:pt x="162088" y="282758"/>
                      <a:pt x="162088" y="282758"/>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Freeform 48">
                <a:extLst>
                  <a:ext uri="{FF2B5EF4-FFF2-40B4-BE49-F238E27FC236}">
                    <a16:creationId xmlns:a16="http://schemas.microsoft.com/office/drawing/2014/main" id="{C45BE693-714B-A0F6-BFAC-FD9946B68075}"/>
                  </a:ext>
                </a:extLst>
              </p:cNvPr>
              <p:cNvSpPr/>
              <p:nvPr/>
            </p:nvSpPr>
            <p:spPr>
              <a:xfrm>
                <a:off x="12318638" y="-430593"/>
                <a:ext cx="474999" cy="427972"/>
              </a:xfrm>
              <a:custGeom>
                <a:avLst/>
                <a:gdLst>
                  <a:gd name="connsiteX0" fmla="*/ 250175 w 474999"/>
                  <a:gd name="connsiteY0" fmla="*/ 427973 h 427972"/>
                  <a:gd name="connsiteX1" fmla="*/ 10198 w 474999"/>
                  <a:gd name="connsiteY1" fmla="*/ 382570 h 427972"/>
                  <a:gd name="connsiteX2" fmla="*/ 33 w 474999"/>
                  <a:gd name="connsiteY2" fmla="*/ 360294 h 427972"/>
                  <a:gd name="connsiteX3" fmla="*/ 267370 w 474999"/>
                  <a:gd name="connsiteY3" fmla="*/ 290066 h 427972"/>
                  <a:gd name="connsiteX4" fmla="*/ 203718 w 474999"/>
                  <a:gd name="connsiteY4" fmla="*/ 132715 h 427972"/>
                  <a:gd name="connsiteX5" fmla="*/ 175978 w 474999"/>
                  <a:gd name="connsiteY5" fmla="*/ 116196 h 427972"/>
                  <a:gd name="connsiteX6" fmla="*/ 102540 w 474999"/>
                  <a:gd name="connsiteY6" fmla="*/ 50877 h 427972"/>
                  <a:gd name="connsiteX7" fmla="*/ 102351 w 474999"/>
                  <a:gd name="connsiteY7" fmla="*/ 50688 h 427972"/>
                  <a:gd name="connsiteX8" fmla="*/ 115841 w 474999"/>
                  <a:gd name="connsiteY8" fmla="*/ 37474 h 427972"/>
                  <a:gd name="connsiteX9" fmla="*/ 115841 w 474999"/>
                  <a:gd name="connsiteY9" fmla="*/ 37474 h 427972"/>
                  <a:gd name="connsiteX10" fmla="*/ 199728 w 474999"/>
                  <a:gd name="connsiteY10" fmla="*/ 4720 h 427972"/>
                  <a:gd name="connsiteX11" fmla="*/ 205618 w 474999"/>
                  <a:gd name="connsiteY11" fmla="*/ 0 h 427972"/>
                  <a:gd name="connsiteX12" fmla="*/ 211508 w 474999"/>
                  <a:gd name="connsiteY12" fmla="*/ 4720 h 427972"/>
                  <a:gd name="connsiteX13" fmla="*/ 215023 w 474999"/>
                  <a:gd name="connsiteY13" fmla="*/ 7740 h 427972"/>
                  <a:gd name="connsiteX14" fmla="*/ 331687 w 474999"/>
                  <a:gd name="connsiteY14" fmla="*/ 287329 h 427972"/>
                  <a:gd name="connsiteX15" fmla="*/ 474666 w 474999"/>
                  <a:gd name="connsiteY15" fmla="*/ 343209 h 427972"/>
                  <a:gd name="connsiteX16" fmla="*/ 474666 w 474999"/>
                  <a:gd name="connsiteY16" fmla="*/ 343209 h 427972"/>
                  <a:gd name="connsiteX17" fmla="*/ 462315 w 474999"/>
                  <a:gd name="connsiteY17" fmla="*/ 383514 h 427972"/>
                  <a:gd name="connsiteX18" fmla="*/ 379283 w 474999"/>
                  <a:gd name="connsiteY18" fmla="*/ 420799 h 427972"/>
                  <a:gd name="connsiteX19" fmla="*/ 250079 w 474999"/>
                  <a:gd name="connsiteY19" fmla="*/ 427878 h 427972"/>
                  <a:gd name="connsiteX20" fmla="*/ 137026 w 474999"/>
                  <a:gd name="connsiteY20" fmla="*/ 58240 h 427972"/>
                  <a:gd name="connsiteX21" fmla="*/ 186618 w 474999"/>
                  <a:gd name="connsiteY21" fmla="*/ 100527 h 427972"/>
                  <a:gd name="connsiteX22" fmla="*/ 213789 w 474999"/>
                  <a:gd name="connsiteY22" fmla="*/ 116574 h 427972"/>
                  <a:gd name="connsiteX23" fmla="*/ 215878 w 474999"/>
                  <a:gd name="connsiteY23" fmla="*/ 118084 h 427972"/>
                  <a:gd name="connsiteX24" fmla="*/ 288081 w 474999"/>
                  <a:gd name="connsiteY24" fmla="*/ 296674 h 427972"/>
                  <a:gd name="connsiteX25" fmla="*/ 290076 w 474999"/>
                  <a:gd name="connsiteY25" fmla="*/ 306962 h 427972"/>
                  <a:gd name="connsiteX26" fmla="*/ 279625 w 474999"/>
                  <a:gd name="connsiteY26" fmla="*/ 307906 h 427972"/>
                  <a:gd name="connsiteX27" fmla="*/ 19033 w 474999"/>
                  <a:gd name="connsiteY27" fmla="*/ 361427 h 427972"/>
                  <a:gd name="connsiteX28" fmla="*/ 23308 w 474999"/>
                  <a:gd name="connsiteY28" fmla="*/ 368884 h 427972"/>
                  <a:gd name="connsiteX29" fmla="*/ 377288 w 474999"/>
                  <a:gd name="connsiteY29" fmla="*/ 402109 h 427972"/>
                  <a:gd name="connsiteX30" fmla="*/ 447590 w 474999"/>
                  <a:gd name="connsiteY30" fmla="*/ 371810 h 427972"/>
                  <a:gd name="connsiteX31" fmla="*/ 455950 w 474999"/>
                  <a:gd name="connsiteY31" fmla="*/ 345380 h 427972"/>
                  <a:gd name="connsiteX32" fmla="*/ 455950 w 474999"/>
                  <a:gd name="connsiteY32" fmla="*/ 345380 h 427972"/>
                  <a:gd name="connsiteX33" fmla="*/ 330642 w 474999"/>
                  <a:gd name="connsiteY33" fmla="*/ 306207 h 427972"/>
                  <a:gd name="connsiteX34" fmla="*/ 323612 w 474999"/>
                  <a:gd name="connsiteY34" fmla="*/ 306207 h 427972"/>
                  <a:gd name="connsiteX35" fmla="*/ 314871 w 474999"/>
                  <a:gd name="connsiteY35" fmla="*/ 306396 h 427972"/>
                  <a:gd name="connsiteX36" fmla="*/ 313921 w 474999"/>
                  <a:gd name="connsiteY36" fmla="*/ 297712 h 427972"/>
                  <a:gd name="connsiteX37" fmla="*/ 205333 w 474999"/>
                  <a:gd name="connsiteY37" fmla="*/ 24353 h 427972"/>
                  <a:gd name="connsiteX38" fmla="*/ 137026 w 474999"/>
                  <a:gd name="connsiteY38" fmla="*/ 58145 h 42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4999" h="427972">
                    <a:moveTo>
                      <a:pt x="250175" y="427973"/>
                    </a:moveTo>
                    <a:cubicBezTo>
                      <a:pt x="136931" y="427973"/>
                      <a:pt x="40314" y="411077"/>
                      <a:pt x="10198" y="382570"/>
                    </a:cubicBezTo>
                    <a:cubicBezTo>
                      <a:pt x="1173" y="374075"/>
                      <a:pt x="-252" y="365769"/>
                      <a:pt x="33" y="360294"/>
                    </a:cubicBezTo>
                    <a:cubicBezTo>
                      <a:pt x="1458" y="337357"/>
                      <a:pt x="34614" y="311210"/>
                      <a:pt x="267370" y="290066"/>
                    </a:cubicBezTo>
                    <a:cubicBezTo>
                      <a:pt x="250364" y="206718"/>
                      <a:pt x="231174" y="159239"/>
                      <a:pt x="203718" y="132715"/>
                    </a:cubicBezTo>
                    <a:cubicBezTo>
                      <a:pt x="192983" y="126957"/>
                      <a:pt x="184148" y="121671"/>
                      <a:pt x="175978" y="116196"/>
                    </a:cubicBezTo>
                    <a:cubicBezTo>
                      <a:pt x="153367" y="100999"/>
                      <a:pt x="135221" y="83348"/>
                      <a:pt x="102540" y="50877"/>
                    </a:cubicBezTo>
                    <a:cubicBezTo>
                      <a:pt x="102540" y="50877"/>
                      <a:pt x="102446" y="50783"/>
                      <a:pt x="102351" y="50688"/>
                    </a:cubicBezTo>
                    <a:lnTo>
                      <a:pt x="115841" y="37474"/>
                    </a:lnTo>
                    <a:cubicBezTo>
                      <a:pt x="115841" y="37474"/>
                      <a:pt x="115841" y="37474"/>
                      <a:pt x="115841" y="37474"/>
                    </a:cubicBezTo>
                    <a:cubicBezTo>
                      <a:pt x="116031" y="37568"/>
                      <a:pt x="137501" y="53615"/>
                      <a:pt x="199728" y="4720"/>
                    </a:cubicBezTo>
                    <a:lnTo>
                      <a:pt x="205618" y="0"/>
                    </a:lnTo>
                    <a:lnTo>
                      <a:pt x="211508" y="4720"/>
                    </a:lnTo>
                    <a:cubicBezTo>
                      <a:pt x="211508" y="4720"/>
                      <a:pt x="212744" y="5758"/>
                      <a:pt x="215023" y="7740"/>
                    </a:cubicBezTo>
                    <a:cubicBezTo>
                      <a:pt x="230889" y="22088"/>
                      <a:pt x="309836" y="102226"/>
                      <a:pt x="331687" y="287329"/>
                    </a:cubicBezTo>
                    <a:cubicBezTo>
                      <a:pt x="344227" y="288178"/>
                      <a:pt x="469631" y="298845"/>
                      <a:pt x="474666" y="343209"/>
                    </a:cubicBezTo>
                    <a:lnTo>
                      <a:pt x="474666" y="343209"/>
                    </a:lnTo>
                    <a:cubicBezTo>
                      <a:pt x="476281" y="357462"/>
                      <a:pt x="472006" y="371432"/>
                      <a:pt x="462315" y="383514"/>
                    </a:cubicBezTo>
                    <a:cubicBezTo>
                      <a:pt x="446355" y="403431"/>
                      <a:pt x="416809" y="416646"/>
                      <a:pt x="379283" y="420799"/>
                    </a:cubicBezTo>
                    <a:cubicBezTo>
                      <a:pt x="335582" y="425613"/>
                      <a:pt x="291691" y="427878"/>
                      <a:pt x="250079" y="427878"/>
                    </a:cubicBezTo>
                    <a:close/>
                    <a:moveTo>
                      <a:pt x="137026" y="58240"/>
                    </a:moveTo>
                    <a:cubicBezTo>
                      <a:pt x="158022" y="78628"/>
                      <a:pt x="171132" y="90144"/>
                      <a:pt x="186618" y="100527"/>
                    </a:cubicBezTo>
                    <a:cubicBezTo>
                      <a:pt x="194503" y="105813"/>
                      <a:pt x="203148" y="110910"/>
                      <a:pt x="213789" y="116574"/>
                    </a:cubicBezTo>
                    <a:lnTo>
                      <a:pt x="215878" y="118084"/>
                    </a:lnTo>
                    <a:cubicBezTo>
                      <a:pt x="247989" y="148384"/>
                      <a:pt x="269555" y="201810"/>
                      <a:pt x="288081" y="296674"/>
                    </a:cubicBezTo>
                    <a:lnTo>
                      <a:pt x="290076" y="306962"/>
                    </a:lnTo>
                    <a:lnTo>
                      <a:pt x="279625" y="307906"/>
                    </a:lnTo>
                    <a:cubicBezTo>
                      <a:pt x="33474" y="329522"/>
                      <a:pt x="19318" y="356329"/>
                      <a:pt x="19033" y="361427"/>
                    </a:cubicBezTo>
                    <a:cubicBezTo>
                      <a:pt x="18843" y="364070"/>
                      <a:pt x="21313" y="366996"/>
                      <a:pt x="23308" y="368884"/>
                    </a:cubicBezTo>
                    <a:cubicBezTo>
                      <a:pt x="55609" y="399467"/>
                      <a:pt x="208943" y="420705"/>
                      <a:pt x="377288" y="402109"/>
                    </a:cubicBezTo>
                    <a:cubicBezTo>
                      <a:pt x="409779" y="398523"/>
                      <a:pt x="434765" y="387762"/>
                      <a:pt x="447590" y="371810"/>
                    </a:cubicBezTo>
                    <a:cubicBezTo>
                      <a:pt x="454050" y="363692"/>
                      <a:pt x="456995" y="354630"/>
                      <a:pt x="455950" y="345380"/>
                    </a:cubicBezTo>
                    <a:lnTo>
                      <a:pt x="455950" y="345380"/>
                    </a:lnTo>
                    <a:cubicBezTo>
                      <a:pt x="453480" y="323481"/>
                      <a:pt x="360853" y="307529"/>
                      <a:pt x="330642" y="306207"/>
                    </a:cubicBezTo>
                    <a:cubicBezTo>
                      <a:pt x="328457" y="306207"/>
                      <a:pt x="325987" y="306207"/>
                      <a:pt x="323612" y="306207"/>
                    </a:cubicBezTo>
                    <a:lnTo>
                      <a:pt x="314871" y="306396"/>
                    </a:lnTo>
                    <a:lnTo>
                      <a:pt x="313921" y="297712"/>
                    </a:lnTo>
                    <a:cubicBezTo>
                      <a:pt x="295301" y="122993"/>
                      <a:pt x="225474" y="43798"/>
                      <a:pt x="205333" y="24353"/>
                    </a:cubicBezTo>
                    <a:cubicBezTo>
                      <a:pt x="175408" y="46818"/>
                      <a:pt x="153082" y="55691"/>
                      <a:pt x="137026" y="58145"/>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17" name="Rectangle 16">
            <a:extLst>
              <a:ext uri="{FF2B5EF4-FFF2-40B4-BE49-F238E27FC236}">
                <a16:creationId xmlns:a16="http://schemas.microsoft.com/office/drawing/2014/main" id="{0119D2CA-3E75-891D-011F-57416685FC1B}"/>
              </a:ext>
            </a:extLst>
          </p:cNvPr>
          <p:cNvSpPr/>
          <p:nvPr/>
        </p:nvSpPr>
        <p:spPr>
          <a:xfrm>
            <a:off x="3941629" y="5190997"/>
            <a:ext cx="6982488" cy="277195"/>
          </a:xfrm>
          <a:prstGeom prst="rect">
            <a:avLst/>
          </a:prstGeom>
          <a:solidFill>
            <a:srgbClr val="5374A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36713344-FA0E-B181-7C59-445B00E7B71B}"/>
              </a:ext>
            </a:extLst>
          </p:cNvPr>
          <p:cNvSpPr txBox="1"/>
          <p:nvPr/>
        </p:nvSpPr>
        <p:spPr>
          <a:xfrm>
            <a:off x="4561203" y="5182768"/>
            <a:ext cx="2996262" cy="272382"/>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vironmental &amp; Infrastructure</a:t>
            </a:r>
          </a:p>
        </p:txBody>
      </p:sp>
      <p:sp>
        <p:nvSpPr>
          <p:cNvPr id="59" name="TextBox 58">
            <a:extLst>
              <a:ext uri="{FF2B5EF4-FFF2-40B4-BE49-F238E27FC236}">
                <a16:creationId xmlns:a16="http://schemas.microsoft.com/office/drawing/2014/main" id="{68CE9F2C-8436-C5A4-2024-B55F221AD3DA}"/>
              </a:ext>
            </a:extLst>
          </p:cNvPr>
          <p:cNvSpPr txBox="1"/>
          <p:nvPr/>
        </p:nvSpPr>
        <p:spPr>
          <a:xfrm>
            <a:off x="4506462" y="3969173"/>
            <a:ext cx="3053724" cy="272382"/>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igh-Temperature Technologies</a:t>
            </a:r>
          </a:p>
        </p:txBody>
      </p:sp>
      <p:sp>
        <p:nvSpPr>
          <p:cNvPr id="3" name="Title 2">
            <a:extLst>
              <a:ext uri="{FF2B5EF4-FFF2-40B4-BE49-F238E27FC236}">
                <a16:creationId xmlns:a16="http://schemas.microsoft.com/office/drawing/2014/main" id="{DBF20C00-3DC4-9C1E-D77F-5C3D5DD3092B}"/>
              </a:ext>
            </a:extLst>
          </p:cNvPr>
          <p:cNvSpPr>
            <a:spLocks noGrp="1"/>
          </p:cNvSpPr>
          <p:nvPr>
            <p:ph type="title"/>
          </p:nvPr>
        </p:nvSpPr>
        <p:spPr>
          <a:xfrm>
            <a:off x="608815" y="215270"/>
            <a:ext cx="10138207" cy="676989"/>
          </a:xfrm>
        </p:spPr>
        <p:txBody>
          <a:bodyPr vert="horz">
            <a:normAutofit/>
          </a:bodyPr>
          <a:lstStyle/>
          <a:p>
            <a:r>
              <a:rPr lang="en-US" dirty="0"/>
              <a:t>Sustainable Long-Term Organic Growth Through the Cycle</a:t>
            </a:r>
          </a:p>
        </p:txBody>
      </p:sp>
      <p:grpSp>
        <p:nvGrpSpPr>
          <p:cNvPr id="18" name="Group 17">
            <a:extLst>
              <a:ext uri="{FF2B5EF4-FFF2-40B4-BE49-F238E27FC236}">
                <a16:creationId xmlns:a16="http://schemas.microsoft.com/office/drawing/2014/main" id="{87BB353D-15AE-D4B5-1871-2DAEE96FA22C}"/>
              </a:ext>
            </a:extLst>
          </p:cNvPr>
          <p:cNvGrpSpPr/>
          <p:nvPr/>
        </p:nvGrpSpPr>
        <p:grpSpPr>
          <a:xfrm>
            <a:off x="4035832" y="5038846"/>
            <a:ext cx="436966" cy="436966"/>
            <a:chOff x="2629743" y="-305070"/>
            <a:chExt cx="878442" cy="878442"/>
          </a:xfrm>
        </p:grpSpPr>
        <p:sp>
          <p:nvSpPr>
            <p:cNvPr id="19" name="Oval 18">
              <a:extLst>
                <a:ext uri="{FF2B5EF4-FFF2-40B4-BE49-F238E27FC236}">
                  <a16:creationId xmlns:a16="http://schemas.microsoft.com/office/drawing/2014/main" id="{43239F0C-0AEB-6672-A37F-FEDA0BF90005}"/>
                </a:ext>
              </a:extLst>
            </p:cNvPr>
            <p:cNvSpPr/>
            <p:nvPr/>
          </p:nvSpPr>
          <p:spPr>
            <a:xfrm>
              <a:off x="2629743" y="-305070"/>
              <a:ext cx="878442" cy="878442"/>
            </a:xfrm>
            <a:prstGeom prst="ellipse">
              <a:avLst/>
            </a:prstGeom>
            <a:solidFill>
              <a:srgbClr val="5374A1"/>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F1EC4398-F28C-7136-B884-CD5ADC18AE98}"/>
                </a:ext>
              </a:extLst>
            </p:cNvPr>
            <p:cNvGrpSpPr/>
            <p:nvPr/>
          </p:nvGrpSpPr>
          <p:grpSpPr>
            <a:xfrm>
              <a:off x="2825378" y="-232724"/>
              <a:ext cx="487173" cy="694063"/>
              <a:chOff x="4539014" y="-1405909"/>
              <a:chExt cx="487173" cy="694063"/>
            </a:xfrm>
            <a:solidFill>
              <a:schemeClr val="bg1"/>
            </a:solidFill>
          </p:grpSpPr>
          <p:sp>
            <p:nvSpPr>
              <p:cNvPr id="21" name="Freeform 21">
                <a:extLst>
                  <a:ext uri="{FF2B5EF4-FFF2-40B4-BE49-F238E27FC236}">
                    <a16:creationId xmlns:a16="http://schemas.microsoft.com/office/drawing/2014/main" id="{68739E45-A7EF-85B3-A3BC-9860F7C46182}"/>
                  </a:ext>
                </a:extLst>
              </p:cNvPr>
              <p:cNvSpPr/>
              <p:nvPr/>
            </p:nvSpPr>
            <p:spPr>
              <a:xfrm>
                <a:off x="4539014" y="-1405909"/>
                <a:ext cx="487173" cy="694063"/>
              </a:xfrm>
              <a:custGeom>
                <a:avLst/>
                <a:gdLst>
                  <a:gd name="connsiteX0" fmla="*/ 243682 w 487173"/>
                  <a:gd name="connsiteY0" fmla="*/ 693969 h 694063"/>
                  <a:gd name="connsiteX1" fmla="*/ 0 w 487173"/>
                  <a:gd name="connsiteY1" fmla="*/ 451854 h 694063"/>
                  <a:gd name="connsiteX2" fmla="*/ 45981 w 487173"/>
                  <a:gd name="connsiteY2" fmla="*/ 310361 h 694063"/>
                  <a:gd name="connsiteX3" fmla="*/ 47501 w 487173"/>
                  <a:gd name="connsiteY3" fmla="*/ 304980 h 694063"/>
                  <a:gd name="connsiteX4" fmla="*/ 240357 w 487173"/>
                  <a:gd name="connsiteY4" fmla="*/ 4342 h 694063"/>
                  <a:gd name="connsiteX5" fmla="*/ 248432 w 487173"/>
                  <a:gd name="connsiteY5" fmla="*/ 0 h 694063"/>
                  <a:gd name="connsiteX6" fmla="*/ 256412 w 487173"/>
                  <a:gd name="connsiteY6" fmla="*/ 4531 h 694063"/>
                  <a:gd name="connsiteX7" fmla="*/ 463423 w 487173"/>
                  <a:gd name="connsiteY7" fmla="*/ 343870 h 694063"/>
                  <a:gd name="connsiteX8" fmla="*/ 464658 w 487173"/>
                  <a:gd name="connsiteY8" fmla="*/ 350288 h 694063"/>
                  <a:gd name="connsiteX9" fmla="*/ 487173 w 487173"/>
                  <a:gd name="connsiteY9" fmla="*/ 451948 h 694063"/>
                  <a:gd name="connsiteX10" fmla="*/ 243492 w 487173"/>
                  <a:gd name="connsiteY10" fmla="*/ 694064 h 694063"/>
                  <a:gd name="connsiteX11" fmla="*/ 67357 w 487173"/>
                  <a:gd name="connsiteY11" fmla="*/ 309133 h 694063"/>
                  <a:gd name="connsiteX12" fmla="*/ 65457 w 487173"/>
                  <a:gd name="connsiteY12" fmla="*/ 316024 h 694063"/>
                  <a:gd name="connsiteX13" fmla="*/ 19001 w 487173"/>
                  <a:gd name="connsiteY13" fmla="*/ 451854 h 694063"/>
                  <a:gd name="connsiteX14" fmla="*/ 243682 w 487173"/>
                  <a:gd name="connsiteY14" fmla="*/ 675091 h 694063"/>
                  <a:gd name="connsiteX15" fmla="*/ 468363 w 487173"/>
                  <a:gd name="connsiteY15" fmla="*/ 451854 h 694063"/>
                  <a:gd name="connsiteX16" fmla="*/ 444992 w 487173"/>
                  <a:gd name="connsiteY16" fmla="*/ 352743 h 694063"/>
                  <a:gd name="connsiteX17" fmla="*/ 444042 w 487173"/>
                  <a:gd name="connsiteY17" fmla="*/ 348117 h 694063"/>
                  <a:gd name="connsiteX18" fmla="*/ 248242 w 487173"/>
                  <a:gd name="connsiteY18" fmla="*/ 27279 h 694063"/>
                  <a:gd name="connsiteX19" fmla="*/ 67357 w 487173"/>
                  <a:gd name="connsiteY19" fmla="*/ 309133 h 69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7173" h="694063">
                    <a:moveTo>
                      <a:pt x="243682" y="693969"/>
                    </a:moveTo>
                    <a:cubicBezTo>
                      <a:pt x="109348" y="693969"/>
                      <a:pt x="0" y="585324"/>
                      <a:pt x="0" y="451854"/>
                    </a:cubicBezTo>
                    <a:cubicBezTo>
                      <a:pt x="0" y="400505"/>
                      <a:pt x="15865" y="351704"/>
                      <a:pt x="45981" y="310361"/>
                    </a:cubicBezTo>
                    <a:cubicBezTo>
                      <a:pt x="45981" y="308473"/>
                      <a:pt x="46456" y="306585"/>
                      <a:pt x="47501" y="304980"/>
                    </a:cubicBezTo>
                    <a:lnTo>
                      <a:pt x="240357" y="4342"/>
                    </a:lnTo>
                    <a:cubicBezTo>
                      <a:pt x="242162" y="1605"/>
                      <a:pt x="245202" y="189"/>
                      <a:pt x="248432" y="0"/>
                    </a:cubicBezTo>
                    <a:cubicBezTo>
                      <a:pt x="251757" y="0"/>
                      <a:pt x="254702" y="1793"/>
                      <a:pt x="256412" y="4531"/>
                    </a:cubicBezTo>
                    <a:lnTo>
                      <a:pt x="463423" y="343870"/>
                    </a:lnTo>
                    <a:cubicBezTo>
                      <a:pt x="464563" y="345852"/>
                      <a:pt x="465038" y="348117"/>
                      <a:pt x="464658" y="350288"/>
                    </a:cubicBezTo>
                    <a:cubicBezTo>
                      <a:pt x="479573" y="382287"/>
                      <a:pt x="487173" y="416457"/>
                      <a:pt x="487173" y="451948"/>
                    </a:cubicBezTo>
                    <a:cubicBezTo>
                      <a:pt x="487173" y="585419"/>
                      <a:pt x="377825" y="694064"/>
                      <a:pt x="243492" y="694064"/>
                    </a:cubicBezTo>
                    <a:close/>
                    <a:moveTo>
                      <a:pt x="67357" y="309133"/>
                    </a:moveTo>
                    <a:cubicBezTo>
                      <a:pt x="67642" y="311588"/>
                      <a:pt x="66977" y="314042"/>
                      <a:pt x="65457" y="316024"/>
                    </a:cubicBezTo>
                    <a:cubicBezTo>
                      <a:pt x="35056" y="355291"/>
                      <a:pt x="19001" y="402298"/>
                      <a:pt x="19001" y="451854"/>
                    </a:cubicBezTo>
                    <a:cubicBezTo>
                      <a:pt x="19001" y="574941"/>
                      <a:pt x="119798" y="675091"/>
                      <a:pt x="243682" y="675091"/>
                    </a:cubicBezTo>
                    <a:cubicBezTo>
                      <a:pt x="367565" y="675091"/>
                      <a:pt x="468363" y="574941"/>
                      <a:pt x="468363" y="451854"/>
                    </a:cubicBezTo>
                    <a:cubicBezTo>
                      <a:pt x="468363" y="417118"/>
                      <a:pt x="460478" y="383703"/>
                      <a:pt x="444992" y="352743"/>
                    </a:cubicBezTo>
                    <a:cubicBezTo>
                      <a:pt x="444232" y="351327"/>
                      <a:pt x="443947" y="349722"/>
                      <a:pt x="444042" y="348117"/>
                    </a:cubicBezTo>
                    <a:lnTo>
                      <a:pt x="248242" y="27279"/>
                    </a:lnTo>
                    <a:lnTo>
                      <a:pt x="67357" y="309133"/>
                    </a:ln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Freeform 22">
                <a:extLst>
                  <a:ext uri="{FF2B5EF4-FFF2-40B4-BE49-F238E27FC236}">
                    <a16:creationId xmlns:a16="http://schemas.microsoft.com/office/drawing/2014/main" id="{5CFA226E-3112-FA71-56CE-254838515CC4}"/>
                  </a:ext>
                </a:extLst>
              </p:cNvPr>
              <p:cNvSpPr/>
              <p:nvPr/>
            </p:nvSpPr>
            <p:spPr>
              <a:xfrm>
                <a:off x="4794855" y="-969158"/>
                <a:ext cx="148869" cy="157068"/>
              </a:xfrm>
              <a:custGeom>
                <a:avLst/>
                <a:gdLst>
                  <a:gd name="connsiteX0" fmla="*/ 17290 w 148869"/>
                  <a:gd name="connsiteY0" fmla="*/ 157068 h 157068"/>
                  <a:gd name="connsiteX1" fmla="*/ 0 w 148869"/>
                  <a:gd name="connsiteY1" fmla="*/ 155935 h 157068"/>
                  <a:gd name="connsiteX2" fmla="*/ 2470 w 148869"/>
                  <a:gd name="connsiteY2" fmla="*/ 137246 h 157068"/>
                  <a:gd name="connsiteX3" fmla="*/ 17290 w 148869"/>
                  <a:gd name="connsiteY3" fmla="*/ 138190 h 157068"/>
                  <a:gd name="connsiteX4" fmla="*/ 129869 w 148869"/>
                  <a:gd name="connsiteY4" fmla="*/ 26335 h 157068"/>
                  <a:gd name="connsiteX5" fmla="*/ 127588 w 148869"/>
                  <a:gd name="connsiteY5" fmla="*/ 3776 h 157068"/>
                  <a:gd name="connsiteX6" fmla="*/ 146209 w 148869"/>
                  <a:gd name="connsiteY6" fmla="*/ 0 h 157068"/>
                  <a:gd name="connsiteX7" fmla="*/ 148869 w 148869"/>
                  <a:gd name="connsiteY7" fmla="*/ 26335 h 157068"/>
                  <a:gd name="connsiteX8" fmla="*/ 17290 w 148869"/>
                  <a:gd name="connsiteY8" fmla="*/ 157068 h 15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869" h="157068">
                    <a:moveTo>
                      <a:pt x="17290" y="157068"/>
                    </a:moveTo>
                    <a:cubicBezTo>
                      <a:pt x="11495" y="157068"/>
                      <a:pt x="5700" y="156691"/>
                      <a:pt x="0" y="155935"/>
                    </a:cubicBezTo>
                    <a:lnTo>
                      <a:pt x="2470" y="137246"/>
                    </a:lnTo>
                    <a:cubicBezTo>
                      <a:pt x="7315" y="137907"/>
                      <a:pt x="12350" y="138190"/>
                      <a:pt x="17290" y="138190"/>
                    </a:cubicBezTo>
                    <a:cubicBezTo>
                      <a:pt x="79422" y="138190"/>
                      <a:pt x="129869" y="87973"/>
                      <a:pt x="129869" y="26335"/>
                    </a:cubicBezTo>
                    <a:cubicBezTo>
                      <a:pt x="129869" y="18784"/>
                      <a:pt x="129109" y="11138"/>
                      <a:pt x="127588" y="3776"/>
                    </a:cubicBezTo>
                    <a:lnTo>
                      <a:pt x="146209" y="0"/>
                    </a:lnTo>
                    <a:cubicBezTo>
                      <a:pt x="148014" y="8590"/>
                      <a:pt x="148869" y="17462"/>
                      <a:pt x="148869" y="26335"/>
                    </a:cubicBezTo>
                    <a:cubicBezTo>
                      <a:pt x="148869" y="98451"/>
                      <a:pt x="89872" y="157068"/>
                      <a:pt x="17290" y="157068"/>
                    </a:cubicBezTo>
                    <a:close/>
                  </a:path>
                </a:pathLst>
              </a:custGeom>
              <a:grp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
        <p:nvSpPr>
          <p:cNvPr id="30" name="Rectangle 29">
            <a:extLst>
              <a:ext uri="{FF2B5EF4-FFF2-40B4-BE49-F238E27FC236}">
                <a16:creationId xmlns:a16="http://schemas.microsoft.com/office/drawing/2014/main" id="{5CD951A7-214C-B039-3597-BF5917303923}"/>
              </a:ext>
            </a:extLst>
          </p:cNvPr>
          <p:cNvSpPr/>
          <p:nvPr/>
        </p:nvSpPr>
        <p:spPr>
          <a:xfrm>
            <a:off x="3940564" y="1482942"/>
            <a:ext cx="6987850" cy="277195"/>
          </a:xfrm>
          <a:prstGeom prst="rect">
            <a:avLst/>
          </a:prstGeom>
          <a:solidFill>
            <a:srgbClr val="39506F"/>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tIns="0" rIns="0" bIns="0" rtlCol="0" anchor="ctr" anchorCtr="0"/>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endParaRPr kumimoji="0" lang="en-US" sz="13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1" name="Group 30">
            <a:extLst>
              <a:ext uri="{FF2B5EF4-FFF2-40B4-BE49-F238E27FC236}">
                <a16:creationId xmlns:a16="http://schemas.microsoft.com/office/drawing/2014/main" id="{B79DE032-FF7F-167D-202C-5813084EED6D}"/>
              </a:ext>
            </a:extLst>
          </p:cNvPr>
          <p:cNvGrpSpPr/>
          <p:nvPr/>
        </p:nvGrpSpPr>
        <p:grpSpPr>
          <a:xfrm>
            <a:off x="4011494" y="1323171"/>
            <a:ext cx="436966" cy="436966"/>
            <a:chOff x="5015057" y="-246215"/>
            <a:chExt cx="878442" cy="878442"/>
          </a:xfrm>
        </p:grpSpPr>
        <p:sp>
          <p:nvSpPr>
            <p:cNvPr id="32" name="Oval 31">
              <a:extLst>
                <a:ext uri="{FF2B5EF4-FFF2-40B4-BE49-F238E27FC236}">
                  <a16:creationId xmlns:a16="http://schemas.microsoft.com/office/drawing/2014/main" id="{7FD6210E-533A-8C42-90E8-B5C942678CDD}"/>
                </a:ext>
              </a:extLst>
            </p:cNvPr>
            <p:cNvSpPr/>
            <p:nvPr/>
          </p:nvSpPr>
          <p:spPr>
            <a:xfrm>
              <a:off x="5015057" y="-246215"/>
              <a:ext cx="878442" cy="878442"/>
            </a:xfrm>
            <a:prstGeom prst="ellipse">
              <a:avLst/>
            </a:prstGeom>
            <a:solidFill>
              <a:srgbClr val="39506F"/>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Graphic 15">
              <a:extLst>
                <a:ext uri="{FF2B5EF4-FFF2-40B4-BE49-F238E27FC236}">
                  <a16:creationId xmlns:a16="http://schemas.microsoft.com/office/drawing/2014/main" id="{F2A65626-2A12-FC5F-6EE9-2BD0CF155FFC}"/>
                </a:ext>
              </a:extLst>
            </p:cNvPr>
            <p:cNvSpPr/>
            <p:nvPr/>
          </p:nvSpPr>
          <p:spPr>
            <a:xfrm>
              <a:off x="5115548" y="-164588"/>
              <a:ext cx="687723" cy="687456"/>
            </a:xfrm>
            <a:custGeom>
              <a:avLst/>
              <a:gdLst>
                <a:gd name="connsiteX0" fmla="*/ 578756 w 687723"/>
                <a:gd name="connsiteY0" fmla="*/ 687456 h 687456"/>
                <a:gd name="connsiteX1" fmla="*/ 399296 w 687723"/>
                <a:gd name="connsiteY1" fmla="*/ 687456 h 687456"/>
                <a:gd name="connsiteX2" fmla="*/ 399296 w 687723"/>
                <a:gd name="connsiteY2" fmla="*/ 527368 h 687456"/>
                <a:gd name="connsiteX3" fmla="*/ 288428 w 687723"/>
                <a:gd name="connsiteY3" fmla="*/ 527368 h 687456"/>
                <a:gd name="connsiteX4" fmla="*/ 288428 w 687723"/>
                <a:gd name="connsiteY4" fmla="*/ 687456 h 687456"/>
                <a:gd name="connsiteX5" fmla="*/ 108968 w 687723"/>
                <a:gd name="connsiteY5" fmla="*/ 687456 h 687456"/>
                <a:gd name="connsiteX6" fmla="*/ 108968 w 687723"/>
                <a:gd name="connsiteY6" fmla="*/ 326218 h 687456"/>
                <a:gd name="connsiteX7" fmla="*/ 0 w 687723"/>
                <a:gd name="connsiteY7" fmla="*/ 326218 h 687456"/>
                <a:gd name="connsiteX8" fmla="*/ 343909 w 687723"/>
                <a:gd name="connsiteY8" fmla="*/ 0 h 687456"/>
                <a:gd name="connsiteX9" fmla="*/ 687724 w 687723"/>
                <a:gd name="connsiteY9" fmla="*/ 326124 h 687456"/>
                <a:gd name="connsiteX10" fmla="*/ 578756 w 687723"/>
                <a:gd name="connsiteY10" fmla="*/ 326124 h 687456"/>
                <a:gd name="connsiteX11" fmla="*/ 578756 w 687723"/>
                <a:gd name="connsiteY11" fmla="*/ 687362 h 687456"/>
                <a:gd name="connsiteX12" fmla="*/ 418296 w 687723"/>
                <a:gd name="connsiteY12" fmla="*/ 668578 h 687456"/>
                <a:gd name="connsiteX13" fmla="*/ 559755 w 687723"/>
                <a:gd name="connsiteY13" fmla="*/ 668578 h 687456"/>
                <a:gd name="connsiteX14" fmla="*/ 559755 w 687723"/>
                <a:gd name="connsiteY14" fmla="*/ 307340 h 687456"/>
                <a:gd name="connsiteX15" fmla="*/ 640318 w 687723"/>
                <a:gd name="connsiteY15" fmla="*/ 307340 h 687456"/>
                <a:gd name="connsiteX16" fmla="*/ 343909 w 687723"/>
                <a:gd name="connsiteY16" fmla="*/ 26147 h 687456"/>
                <a:gd name="connsiteX17" fmla="*/ 47501 w 687723"/>
                <a:gd name="connsiteY17" fmla="*/ 307340 h 687456"/>
                <a:gd name="connsiteX18" fmla="*/ 128063 w 687723"/>
                <a:gd name="connsiteY18" fmla="*/ 307340 h 687456"/>
                <a:gd name="connsiteX19" fmla="*/ 128063 w 687723"/>
                <a:gd name="connsiteY19" fmla="*/ 668578 h 687456"/>
                <a:gd name="connsiteX20" fmla="*/ 269522 w 687723"/>
                <a:gd name="connsiteY20" fmla="*/ 668578 h 687456"/>
                <a:gd name="connsiteX21" fmla="*/ 269522 w 687723"/>
                <a:gd name="connsiteY21" fmla="*/ 508489 h 687456"/>
                <a:gd name="connsiteX22" fmla="*/ 418392 w 687723"/>
                <a:gd name="connsiteY22" fmla="*/ 508489 h 687456"/>
                <a:gd name="connsiteX23" fmla="*/ 418392 w 687723"/>
                <a:gd name="connsiteY23" fmla="*/ 668578 h 68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7723" h="687456">
                  <a:moveTo>
                    <a:pt x="578756" y="687456"/>
                  </a:moveTo>
                  <a:lnTo>
                    <a:pt x="399296" y="687456"/>
                  </a:lnTo>
                  <a:lnTo>
                    <a:pt x="399296" y="527368"/>
                  </a:lnTo>
                  <a:lnTo>
                    <a:pt x="288428" y="527368"/>
                  </a:lnTo>
                  <a:lnTo>
                    <a:pt x="288428" y="687456"/>
                  </a:lnTo>
                  <a:lnTo>
                    <a:pt x="108968" y="687456"/>
                  </a:lnTo>
                  <a:lnTo>
                    <a:pt x="108968" y="326218"/>
                  </a:lnTo>
                  <a:lnTo>
                    <a:pt x="0" y="326218"/>
                  </a:lnTo>
                  <a:lnTo>
                    <a:pt x="343909" y="0"/>
                  </a:lnTo>
                  <a:lnTo>
                    <a:pt x="687724" y="326124"/>
                  </a:lnTo>
                  <a:lnTo>
                    <a:pt x="578756" y="326124"/>
                  </a:lnTo>
                  <a:lnTo>
                    <a:pt x="578756" y="687362"/>
                  </a:lnTo>
                  <a:close/>
                  <a:moveTo>
                    <a:pt x="418296" y="668578"/>
                  </a:moveTo>
                  <a:lnTo>
                    <a:pt x="559755" y="668578"/>
                  </a:lnTo>
                  <a:lnTo>
                    <a:pt x="559755" y="307340"/>
                  </a:lnTo>
                  <a:lnTo>
                    <a:pt x="640318" y="307340"/>
                  </a:lnTo>
                  <a:lnTo>
                    <a:pt x="343909" y="26147"/>
                  </a:lnTo>
                  <a:lnTo>
                    <a:pt x="47501" y="307340"/>
                  </a:lnTo>
                  <a:lnTo>
                    <a:pt x="128063" y="307340"/>
                  </a:lnTo>
                  <a:lnTo>
                    <a:pt x="128063" y="668578"/>
                  </a:lnTo>
                  <a:lnTo>
                    <a:pt x="269522" y="668578"/>
                  </a:lnTo>
                  <a:lnTo>
                    <a:pt x="269522" y="508489"/>
                  </a:lnTo>
                  <a:lnTo>
                    <a:pt x="418392" y="508489"/>
                  </a:lnTo>
                  <a:lnTo>
                    <a:pt x="418392" y="668578"/>
                  </a:lnTo>
                  <a:close/>
                </a:path>
              </a:pathLst>
            </a:custGeom>
            <a:solidFill>
              <a:schemeClr val="bg1"/>
            </a:solidFill>
            <a:ln w="95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46" name="Group 45">
            <a:extLst>
              <a:ext uri="{FF2B5EF4-FFF2-40B4-BE49-F238E27FC236}">
                <a16:creationId xmlns:a16="http://schemas.microsoft.com/office/drawing/2014/main" id="{57FFDF25-D84F-E181-3E9E-291FD6C814CA}"/>
              </a:ext>
            </a:extLst>
          </p:cNvPr>
          <p:cNvGrpSpPr/>
          <p:nvPr/>
        </p:nvGrpSpPr>
        <p:grpSpPr>
          <a:xfrm>
            <a:off x="4007333" y="2528697"/>
            <a:ext cx="436966" cy="436966"/>
            <a:chOff x="909066" y="3867064"/>
            <a:chExt cx="457200" cy="457200"/>
          </a:xfrm>
        </p:grpSpPr>
        <p:sp>
          <p:nvSpPr>
            <p:cNvPr id="40" name="Oval 39">
              <a:extLst>
                <a:ext uri="{FF2B5EF4-FFF2-40B4-BE49-F238E27FC236}">
                  <a16:creationId xmlns:a16="http://schemas.microsoft.com/office/drawing/2014/main" id="{C4AA2C61-C3C2-AA4C-EC93-19E989482AD3}"/>
                </a:ext>
              </a:extLst>
            </p:cNvPr>
            <p:cNvSpPr/>
            <p:nvPr/>
          </p:nvSpPr>
          <p:spPr>
            <a:xfrm>
              <a:off x="909066" y="3867064"/>
              <a:ext cx="457200" cy="457200"/>
            </a:xfrm>
            <a:prstGeom prst="ellipse">
              <a:avLst/>
            </a:prstGeom>
            <a:solidFill>
              <a:srgbClr val="39506F"/>
            </a:solidFill>
            <a:ln w="158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41" name="Group 40">
              <a:extLst>
                <a:ext uri="{FF2B5EF4-FFF2-40B4-BE49-F238E27FC236}">
                  <a16:creationId xmlns:a16="http://schemas.microsoft.com/office/drawing/2014/main" id="{9CE8C253-909B-88F6-2F3F-813D0BE0D55C}"/>
                </a:ext>
              </a:extLst>
            </p:cNvPr>
            <p:cNvGrpSpPr/>
            <p:nvPr/>
          </p:nvGrpSpPr>
          <p:grpSpPr>
            <a:xfrm>
              <a:off x="1014695" y="3925889"/>
              <a:ext cx="262533" cy="327049"/>
              <a:chOff x="10740971" y="1032467"/>
              <a:chExt cx="276939" cy="344995"/>
            </a:xfrm>
            <a:solidFill>
              <a:schemeClr val="bg1"/>
            </a:solidFill>
          </p:grpSpPr>
          <p:sp>
            <p:nvSpPr>
              <p:cNvPr id="42" name="Freeform 119">
                <a:extLst>
                  <a:ext uri="{FF2B5EF4-FFF2-40B4-BE49-F238E27FC236}">
                    <a16:creationId xmlns:a16="http://schemas.microsoft.com/office/drawing/2014/main" id="{CE721BFC-F853-B9A6-6505-71D2C546E9E2}"/>
                  </a:ext>
                </a:extLst>
              </p:cNvPr>
              <p:cNvSpPr/>
              <p:nvPr/>
            </p:nvSpPr>
            <p:spPr>
              <a:xfrm>
                <a:off x="10740971" y="1032467"/>
                <a:ext cx="276939" cy="344995"/>
              </a:xfrm>
              <a:custGeom>
                <a:avLst/>
                <a:gdLst>
                  <a:gd name="connsiteX0" fmla="*/ 102477 w 276939"/>
                  <a:gd name="connsiteY0" fmla="*/ 11240 h 344995"/>
                  <a:gd name="connsiteX1" fmla="*/ 94204 w 276939"/>
                  <a:gd name="connsiteY1" fmla="*/ 19622 h 344995"/>
                  <a:gd name="connsiteX2" fmla="*/ 94204 w 276939"/>
                  <a:gd name="connsiteY2" fmla="*/ 33338 h 344995"/>
                  <a:gd name="connsiteX3" fmla="*/ 96677 w 276939"/>
                  <a:gd name="connsiteY3" fmla="*/ 39243 h 344995"/>
                  <a:gd name="connsiteX4" fmla="*/ 105140 w 276939"/>
                  <a:gd name="connsiteY4" fmla="*/ 47816 h 344995"/>
                  <a:gd name="connsiteX5" fmla="*/ 110845 w 276939"/>
                  <a:gd name="connsiteY5" fmla="*/ 61627 h 344995"/>
                  <a:gd name="connsiteX6" fmla="*/ 110845 w 276939"/>
                  <a:gd name="connsiteY6" fmla="*/ 150400 h 344995"/>
                  <a:gd name="connsiteX7" fmla="*/ 103048 w 276939"/>
                  <a:gd name="connsiteY7" fmla="*/ 173831 h 344995"/>
                  <a:gd name="connsiteX8" fmla="*/ 16799 w 276939"/>
                  <a:gd name="connsiteY8" fmla="*/ 288988 h 344995"/>
                  <a:gd name="connsiteX9" fmla="*/ 14137 w 276939"/>
                  <a:gd name="connsiteY9" fmla="*/ 318421 h 344995"/>
                  <a:gd name="connsiteX10" fmla="*/ 39241 w 276939"/>
                  <a:gd name="connsiteY10" fmla="*/ 333947 h 344995"/>
                  <a:gd name="connsiteX11" fmla="*/ 237793 w 276939"/>
                  <a:gd name="connsiteY11" fmla="*/ 333947 h 344995"/>
                  <a:gd name="connsiteX12" fmla="*/ 262897 w 276939"/>
                  <a:gd name="connsiteY12" fmla="*/ 318421 h 344995"/>
                  <a:gd name="connsiteX13" fmla="*/ 260235 w 276939"/>
                  <a:gd name="connsiteY13" fmla="*/ 288988 h 344995"/>
                  <a:gd name="connsiteX14" fmla="*/ 173986 w 276939"/>
                  <a:gd name="connsiteY14" fmla="*/ 173831 h 344995"/>
                  <a:gd name="connsiteX15" fmla="*/ 166189 w 276939"/>
                  <a:gd name="connsiteY15" fmla="*/ 150400 h 344995"/>
                  <a:gd name="connsiteX16" fmla="*/ 166189 w 276939"/>
                  <a:gd name="connsiteY16" fmla="*/ 61627 h 344995"/>
                  <a:gd name="connsiteX17" fmla="*/ 171894 w 276939"/>
                  <a:gd name="connsiteY17" fmla="*/ 47816 h 344995"/>
                  <a:gd name="connsiteX18" fmla="*/ 180357 w 276939"/>
                  <a:gd name="connsiteY18" fmla="*/ 39243 h 344995"/>
                  <a:gd name="connsiteX19" fmla="*/ 182830 w 276939"/>
                  <a:gd name="connsiteY19" fmla="*/ 33338 h 344995"/>
                  <a:gd name="connsiteX20" fmla="*/ 182830 w 276939"/>
                  <a:gd name="connsiteY20" fmla="*/ 19622 h 344995"/>
                  <a:gd name="connsiteX21" fmla="*/ 174557 w 276939"/>
                  <a:gd name="connsiteY21" fmla="*/ 11240 h 344995"/>
                  <a:gd name="connsiteX22" fmla="*/ 102572 w 276939"/>
                  <a:gd name="connsiteY22" fmla="*/ 11240 h 344995"/>
                  <a:gd name="connsiteX23" fmla="*/ 237698 w 276939"/>
                  <a:gd name="connsiteY23" fmla="*/ 344996 h 344995"/>
                  <a:gd name="connsiteX24" fmla="*/ 39146 w 276939"/>
                  <a:gd name="connsiteY24" fmla="*/ 344996 h 344995"/>
                  <a:gd name="connsiteX25" fmla="*/ 4152 w 276939"/>
                  <a:gd name="connsiteY25" fmla="*/ 323279 h 344995"/>
                  <a:gd name="connsiteX26" fmla="*/ 7861 w 276939"/>
                  <a:gd name="connsiteY26" fmla="*/ 282131 h 344995"/>
                  <a:gd name="connsiteX27" fmla="*/ 94109 w 276939"/>
                  <a:gd name="connsiteY27" fmla="*/ 166973 h 344995"/>
                  <a:gd name="connsiteX28" fmla="*/ 99720 w 276939"/>
                  <a:gd name="connsiteY28" fmla="*/ 150209 h 344995"/>
                  <a:gd name="connsiteX29" fmla="*/ 99720 w 276939"/>
                  <a:gd name="connsiteY29" fmla="*/ 61436 h 344995"/>
                  <a:gd name="connsiteX30" fmla="*/ 97247 w 276939"/>
                  <a:gd name="connsiteY30" fmla="*/ 55531 h 344995"/>
                  <a:gd name="connsiteX31" fmla="*/ 88784 w 276939"/>
                  <a:gd name="connsiteY31" fmla="*/ 46958 h 344995"/>
                  <a:gd name="connsiteX32" fmla="*/ 83079 w 276939"/>
                  <a:gd name="connsiteY32" fmla="*/ 33147 h 344995"/>
                  <a:gd name="connsiteX33" fmla="*/ 83079 w 276939"/>
                  <a:gd name="connsiteY33" fmla="*/ 19431 h 344995"/>
                  <a:gd name="connsiteX34" fmla="*/ 102477 w 276939"/>
                  <a:gd name="connsiteY34" fmla="*/ 0 h 344995"/>
                  <a:gd name="connsiteX35" fmla="*/ 174462 w 276939"/>
                  <a:gd name="connsiteY35" fmla="*/ 0 h 344995"/>
                  <a:gd name="connsiteX36" fmla="*/ 193861 w 276939"/>
                  <a:gd name="connsiteY36" fmla="*/ 19431 h 344995"/>
                  <a:gd name="connsiteX37" fmla="*/ 193861 w 276939"/>
                  <a:gd name="connsiteY37" fmla="*/ 33147 h 344995"/>
                  <a:gd name="connsiteX38" fmla="*/ 188155 w 276939"/>
                  <a:gd name="connsiteY38" fmla="*/ 46958 h 344995"/>
                  <a:gd name="connsiteX39" fmla="*/ 179692 w 276939"/>
                  <a:gd name="connsiteY39" fmla="*/ 55531 h 344995"/>
                  <a:gd name="connsiteX40" fmla="*/ 177220 w 276939"/>
                  <a:gd name="connsiteY40" fmla="*/ 61436 h 344995"/>
                  <a:gd name="connsiteX41" fmla="*/ 177220 w 276939"/>
                  <a:gd name="connsiteY41" fmla="*/ 150209 h 344995"/>
                  <a:gd name="connsiteX42" fmla="*/ 182830 w 276939"/>
                  <a:gd name="connsiteY42" fmla="*/ 166973 h 344995"/>
                  <a:gd name="connsiteX43" fmla="*/ 269079 w 276939"/>
                  <a:gd name="connsiteY43" fmla="*/ 282131 h 344995"/>
                  <a:gd name="connsiteX44" fmla="*/ 272787 w 276939"/>
                  <a:gd name="connsiteY44" fmla="*/ 323279 h 344995"/>
                  <a:gd name="connsiteX45" fmla="*/ 237793 w 276939"/>
                  <a:gd name="connsiteY45" fmla="*/ 344996 h 344995"/>
                  <a:gd name="connsiteX46" fmla="*/ 237793 w 276939"/>
                  <a:gd name="connsiteY46" fmla="*/ 344996 h 34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6939" h="344995">
                    <a:moveTo>
                      <a:pt x="102477" y="11240"/>
                    </a:moveTo>
                    <a:cubicBezTo>
                      <a:pt x="97913" y="11240"/>
                      <a:pt x="94204" y="14954"/>
                      <a:pt x="94204" y="19622"/>
                    </a:cubicBezTo>
                    <a:lnTo>
                      <a:pt x="94204" y="33338"/>
                    </a:lnTo>
                    <a:cubicBezTo>
                      <a:pt x="94204" y="35528"/>
                      <a:pt x="95060" y="37624"/>
                      <a:pt x="96677" y="39243"/>
                    </a:cubicBezTo>
                    <a:lnTo>
                      <a:pt x="105140" y="47816"/>
                    </a:lnTo>
                    <a:cubicBezTo>
                      <a:pt x="108848" y="51530"/>
                      <a:pt x="110845" y="56388"/>
                      <a:pt x="110845" y="61627"/>
                    </a:cubicBezTo>
                    <a:lnTo>
                      <a:pt x="110845" y="150400"/>
                    </a:lnTo>
                    <a:cubicBezTo>
                      <a:pt x="110845" y="158782"/>
                      <a:pt x="108087" y="167069"/>
                      <a:pt x="103048" y="173831"/>
                    </a:cubicBezTo>
                    <a:lnTo>
                      <a:pt x="16799" y="288988"/>
                    </a:lnTo>
                    <a:cubicBezTo>
                      <a:pt x="10428" y="297561"/>
                      <a:pt x="9382" y="308801"/>
                      <a:pt x="14137" y="318421"/>
                    </a:cubicBezTo>
                    <a:cubicBezTo>
                      <a:pt x="18891" y="328041"/>
                      <a:pt x="28495" y="333947"/>
                      <a:pt x="39241" y="333947"/>
                    </a:cubicBezTo>
                    <a:lnTo>
                      <a:pt x="237793" y="333947"/>
                    </a:lnTo>
                    <a:cubicBezTo>
                      <a:pt x="248539" y="333947"/>
                      <a:pt x="258143" y="327946"/>
                      <a:pt x="262897" y="318421"/>
                    </a:cubicBezTo>
                    <a:cubicBezTo>
                      <a:pt x="267652" y="308801"/>
                      <a:pt x="266701" y="297561"/>
                      <a:pt x="260235" y="288988"/>
                    </a:cubicBezTo>
                    <a:lnTo>
                      <a:pt x="173986" y="173831"/>
                    </a:lnTo>
                    <a:cubicBezTo>
                      <a:pt x="168947" y="167164"/>
                      <a:pt x="166189" y="158782"/>
                      <a:pt x="166189" y="150400"/>
                    </a:cubicBezTo>
                    <a:lnTo>
                      <a:pt x="166189" y="61627"/>
                    </a:lnTo>
                    <a:cubicBezTo>
                      <a:pt x="166189" y="56388"/>
                      <a:pt x="168186" y="51530"/>
                      <a:pt x="171894" y="47816"/>
                    </a:cubicBezTo>
                    <a:lnTo>
                      <a:pt x="180357" y="39243"/>
                    </a:lnTo>
                    <a:cubicBezTo>
                      <a:pt x="181974" y="37624"/>
                      <a:pt x="182830" y="35528"/>
                      <a:pt x="182830" y="33338"/>
                    </a:cubicBezTo>
                    <a:lnTo>
                      <a:pt x="182830" y="19622"/>
                    </a:lnTo>
                    <a:cubicBezTo>
                      <a:pt x="182830" y="15049"/>
                      <a:pt x="179121" y="11240"/>
                      <a:pt x="174557" y="11240"/>
                    </a:cubicBezTo>
                    <a:lnTo>
                      <a:pt x="102572" y="11240"/>
                    </a:lnTo>
                    <a:close/>
                    <a:moveTo>
                      <a:pt x="237698" y="344996"/>
                    </a:moveTo>
                    <a:lnTo>
                      <a:pt x="39146" y="344996"/>
                    </a:lnTo>
                    <a:cubicBezTo>
                      <a:pt x="24217" y="344996"/>
                      <a:pt x="10808" y="336709"/>
                      <a:pt x="4152" y="323279"/>
                    </a:cubicBezTo>
                    <a:cubicBezTo>
                      <a:pt x="-2504" y="309848"/>
                      <a:pt x="-1078" y="294132"/>
                      <a:pt x="7861" y="282131"/>
                    </a:cubicBezTo>
                    <a:lnTo>
                      <a:pt x="94109" y="166973"/>
                    </a:lnTo>
                    <a:cubicBezTo>
                      <a:pt x="97722" y="162211"/>
                      <a:pt x="99720" y="156210"/>
                      <a:pt x="99720" y="150209"/>
                    </a:cubicBezTo>
                    <a:lnTo>
                      <a:pt x="99720" y="61436"/>
                    </a:lnTo>
                    <a:cubicBezTo>
                      <a:pt x="99720" y="59246"/>
                      <a:pt x="98864" y="57150"/>
                      <a:pt x="97247" y="55531"/>
                    </a:cubicBezTo>
                    <a:lnTo>
                      <a:pt x="88784" y="46958"/>
                    </a:lnTo>
                    <a:cubicBezTo>
                      <a:pt x="85075" y="43244"/>
                      <a:pt x="83079" y="38386"/>
                      <a:pt x="83079" y="33147"/>
                    </a:cubicBezTo>
                    <a:lnTo>
                      <a:pt x="83079" y="19431"/>
                    </a:lnTo>
                    <a:cubicBezTo>
                      <a:pt x="83079" y="8668"/>
                      <a:pt x="91732" y="0"/>
                      <a:pt x="102477" y="0"/>
                    </a:cubicBezTo>
                    <a:lnTo>
                      <a:pt x="174462" y="0"/>
                    </a:lnTo>
                    <a:cubicBezTo>
                      <a:pt x="185112" y="0"/>
                      <a:pt x="193861" y="8763"/>
                      <a:pt x="193861" y="19431"/>
                    </a:cubicBezTo>
                    <a:lnTo>
                      <a:pt x="193861" y="33147"/>
                    </a:lnTo>
                    <a:cubicBezTo>
                      <a:pt x="193861" y="38386"/>
                      <a:pt x="191864" y="43244"/>
                      <a:pt x="188155" y="46958"/>
                    </a:cubicBezTo>
                    <a:lnTo>
                      <a:pt x="179692" y="55531"/>
                    </a:lnTo>
                    <a:cubicBezTo>
                      <a:pt x="178075" y="57150"/>
                      <a:pt x="177220" y="59246"/>
                      <a:pt x="177220" y="61436"/>
                    </a:cubicBezTo>
                    <a:lnTo>
                      <a:pt x="177220" y="150209"/>
                    </a:lnTo>
                    <a:cubicBezTo>
                      <a:pt x="177220" y="156210"/>
                      <a:pt x="179216" y="162116"/>
                      <a:pt x="182830" y="166973"/>
                    </a:cubicBezTo>
                    <a:lnTo>
                      <a:pt x="269079" y="282131"/>
                    </a:lnTo>
                    <a:cubicBezTo>
                      <a:pt x="278017" y="294132"/>
                      <a:pt x="279444" y="309848"/>
                      <a:pt x="272787" y="323279"/>
                    </a:cubicBezTo>
                    <a:cubicBezTo>
                      <a:pt x="266131" y="336613"/>
                      <a:pt x="252723" y="344996"/>
                      <a:pt x="237793" y="344996"/>
                    </a:cubicBezTo>
                    <a:lnTo>
                      <a:pt x="237793" y="344996"/>
                    </a:ln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121">
                <a:extLst>
                  <a:ext uri="{FF2B5EF4-FFF2-40B4-BE49-F238E27FC236}">
                    <a16:creationId xmlns:a16="http://schemas.microsoft.com/office/drawing/2014/main" id="{BAC4139C-53E7-749E-15BB-D802CCA73961}"/>
                  </a:ext>
                </a:extLst>
              </p:cNvPr>
              <p:cNvSpPr/>
              <p:nvPr/>
            </p:nvSpPr>
            <p:spPr>
              <a:xfrm>
                <a:off x="10890532" y="1271852"/>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 name="Freeform 121">
                <a:extLst>
                  <a:ext uri="{FF2B5EF4-FFF2-40B4-BE49-F238E27FC236}">
                    <a16:creationId xmlns:a16="http://schemas.microsoft.com/office/drawing/2014/main" id="{74855163-89E1-1371-4A0A-F1995251B321}"/>
                  </a:ext>
                </a:extLst>
              </p:cNvPr>
              <p:cNvSpPr/>
              <p:nvPr/>
            </p:nvSpPr>
            <p:spPr>
              <a:xfrm>
                <a:off x="10835834" y="1207211"/>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Freeform 121">
                <a:extLst>
                  <a:ext uri="{FF2B5EF4-FFF2-40B4-BE49-F238E27FC236}">
                    <a16:creationId xmlns:a16="http://schemas.microsoft.com/office/drawing/2014/main" id="{270BE618-C3A9-CDAD-22BE-4BDB959B4CCD}"/>
                  </a:ext>
                </a:extLst>
              </p:cNvPr>
              <p:cNvSpPr/>
              <p:nvPr/>
            </p:nvSpPr>
            <p:spPr>
              <a:xfrm>
                <a:off x="10782381" y="1277163"/>
                <a:ext cx="80067" cy="82677"/>
              </a:xfrm>
              <a:custGeom>
                <a:avLst/>
                <a:gdLst>
                  <a:gd name="connsiteX0" fmla="*/ 40034 w 80067"/>
                  <a:gd name="connsiteY0" fmla="*/ 82677 h 82677"/>
                  <a:gd name="connsiteX1" fmla="*/ 0 w 80067"/>
                  <a:gd name="connsiteY1" fmla="*/ 41339 h 82677"/>
                  <a:gd name="connsiteX2" fmla="*/ 40034 w 80067"/>
                  <a:gd name="connsiteY2" fmla="*/ 0 h 82677"/>
                  <a:gd name="connsiteX3" fmla="*/ 80067 w 80067"/>
                  <a:gd name="connsiteY3" fmla="*/ 41339 h 82677"/>
                  <a:gd name="connsiteX4" fmla="*/ 40034 w 80067"/>
                  <a:gd name="connsiteY4" fmla="*/ 82677 h 82677"/>
                  <a:gd name="connsiteX5" fmla="*/ 40034 w 80067"/>
                  <a:gd name="connsiteY5" fmla="*/ 9525 h 82677"/>
                  <a:gd name="connsiteX6" fmla="*/ 9509 w 80067"/>
                  <a:gd name="connsiteY6" fmla="*/ 41339 h 82677"/>
                  <a:gd name="connsiteX7" fmla="*/ 40034 w 80067"/>
                  <a:gd name="connsiteY7" fmla="*/ 73152 h 82677"/>
                  <a:gd name="connsiteX8" fmla="*/ 70558 w 80067"/>
                  <a:gd name="connsiteY8" fmla="*/ 41339 h 82677"/>
                  <a:gd name="connsiteX9" fmla="*/ 40034 w 80067"/>
                  <a:gd name="connsiteY9" fmla="*/ 9525 h 82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67" h="82677">
                    <a:moveTo>
                      <a:pt x="40034" y="82677"/>
                    </a:moveTo>
                    <a:cubicBezTo>
                      <a:pt x="17972" y="82677"/>
                      <a:pt x="0" y="64103"/>
                      <a:pt x="0" y="41339"/>
                    </a:cubicBezTo>
                    <a:cubicBezTo>
                      <a:pt x="0" y="18574"/>
                      <a:pt x="17972" y="0"/>
                      <a:pt x="40034" y="0"/>
                    </a:cubicBezTo>
                    <a:cubicBezTo>
                      <a:pt x="62095" y="0"/>
                      <a:pt x="80067" y="18574"/>
                      <a:pt x="80067" y="41339"/>
                    </a:cubicBezTo>
                    <a:cubicBezTo>
                      <a:pt x="80067" y="64103"/>
                      <a:pt x="62095" y="82677"/>
                      <a:pt x="40034" y="82677"/>
                    </a:cubicBezTo>
                    <a:close/>
                    <a:moveTo>
                      <a:pt x="40034" y="9525"/>
                    </a:moveTo>
                    <a:cubicBezTo>
                      <a:pt x="23202" y="9525"/>
                      <a:pt x="9509" y="23813"/>
                      <a:pt x="9509" y="41339"/>
                    </a:cubicBezTo>
                    <a:cubicBezTo>
                      <a:pt x="9509" y="58865"/>
                      <a:pt x="23202" y="73152"/>
                      <a:pt x="40034" y="73152"/>
                    </a:cubicBezTo>
                    <a:cubicBezTo>
                      <a:pt x="56865" y="73152"/>
                      <a:pt x="70558" y="58865"/>
                      <a:pt x="70558" y="41339"/>
                    </a:cubicBezTo>
                    <a:cubicBezTo>
                      <a:pt x="70558" y="23813"/>
                      <a:pt x="56865" y="9525"/>
                      <a:pt x="40034" y="9525"/>
                    </a:cubicBezTo>
                    <a:close/>
                  </a:path>
                </a:pathLst>
              </a:custGeom>
              <a:grpFill/>
              <a:ln w="950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74" name="TextBox 73">
            <a:extLst>
              <a:ext uri="{FF2B5EF4-FFF2-40B4-BE49-F238E27FC236}">
                <a16:creationId xmlns:a16="http://schemas.microsoft.com/office/drawing/2014/main" id="{AA4C121D-4B95-10AC-BAD2-F2F03AB7A1C2}"/>
              </a:ext>
            </a:extLst>
          </p:cNvPr>
          <p:cNvSpPr txBox="1"/>
          <p:nvPr/>
        </p:nvSpPr>
        <p:spPr>
          <a:xfrm>
            <a:off x="5426116" y="6439986"/>
            <a:ext cx="1894108" cy="253916"/>
          </a:xfrm>
          <a:prstGeom prst="rect">
            <a:avLst/>
          </a:prstGeom>
          <a:noFill/>
        </p:spPr>
        <p:txBody>
          <a:bodyPr wrap="none" rIns="0" rtlCol="0">
            <a:spAutoFit/>
          </a:bodyPr>
          <a:lstStyle/>
          <a:p>
            <a:pPr algn="ctr"/>
            <a:r>
              <a:rPr kumimoji="0" lang="en-US" sz="1050" b="0"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CAGR: 2022-2027 projections</a:t>
            </a:r>
            <a:endParaRPr lang="en-US" sz="1050" dirty="0">
              <a:solidFill>
                <a:schemeClr val="accent4"/>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A45F8AE2-FB11-4A2C-F8AE-3092186334D7}"/>
              </a:ext>
            </a:extLst>
          </p:cNvPr>
          <p:cNvSpPr txBox="1"/>
          <p:nvPr/>
        </p:nvSpPr>
        <p:spPr>
          <a:xfrm>
            <a:off x="4557009" y="1481757"/>
            <a:ext cx="3000456" cy="272382"/>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usehold &amp; Personal Care</a:t>
            </a:r>
          </a:p>
        </p:txBody>
      </p:sp>
      <p:sp>
        <p:nvSpPr>
          <p:cNvPr id="56" name="TextBox 55">
            <a:extLst>
              <a:ext uri="{FF2B5EF4-FFF2-40B4-BE49-F238E27FC236}">
                <a16:creationId xmlns:a16="http://schemas.microsoft.com/office/drawing/2014/main" id="{E4609593-E321-506C-5B3C-CA8285F20739}"/>
              </a:ext>
            </a:extLst>
          </p:cNvPr>
          <p:cNvSpPr txBox="1"/>
          <p:nvPr/>
        </p:nvSpPr>
        <p:spPr>
          <a:xfrm>
            <a:off x="4557009" y="2692731"/>
            <a:ext cx="2991339" cy="272382"/>
          </a:xfrm>
          <a:prstGeom prst="rect">
            <a:avLst/>
          </a:prstGeom>
          <a:noFill/>
        </p:spPr>
        <p:txBody>
          <a:bodyPr wrap="square">
            <a:spAutoFit/>
          </a:bodyPr>
          <a:lstStyle/>
          <a:p>
            <a:pPr marR="0" lvl="0" algn="just" defTabSz="914400" rtl="0" eaLnBrk="1" fontAlgn="auto" latinLnBrk="0" hangingPunct="1">
              <a:lnSpc>
                <a:spcPct val="90000"/>
              </a:lnSpc>
              <a:spcBef>
                <a:spcPts val="0"/>
              </a:spcBef>
              <a:spcAft>
                <a:spcPts val="0"/>
              </a:spcAft>
              <a:buClrTx/>
              <a:buSzTx/>
              <a:buFontTx/>
              <a:buNone/>
              <a:tabLst>
                <a:tab pos="114300" algn="l"/>
              </a:tabLst>
              <a:defRPr/>
            </a:pPr>
            <a:r>
              <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pecialty Additives</a:t>
            </a:r>
          </a:p>
        </p:txBody>
      </p:sp>
      <p:sp>
        <p:nvSpPr>
          <p:cNvPr id="9" name="TextBox 8">
            <a:extLst>
              <a:ext uri="{FF2B5EF4-FFF2-40B4-BE49-F238E27FC236}">
                <a16:creationId xmlns:a16="http://schemas.microsoft.com/office/drawing/2014/main" id="{A4A74738-6184-8694-E705-0F00AA5DDF87}"/>
              </a:ext>
            </a:extLst>
          </p:cNvPr>
          <p:cNvSpPr txBox="1"/>
          <p:nvPr/>
        </p:nvSpPr>
        <p:spPr>
          <a:xfrm>
            <a:off x="9520691" y="1474781"/>
            <a:ext cx="1281120" cy="307777"/>
          </a:xfrm>
          <a:prstGeom prst="rect">
            <a:avLst/>
          </a:prstGeom>
          <a:noFill/>
        </p:spPr>
        <p:txBody>
          <a:bodyPr wrap="none" rtlCol="0">
            <a:spAutoFit/>
          </a:bodyPr>
          <a:lstStyle/>
          <a:p>
            <a:pPr algn="r"/>
            <a:r>
              <a:rPr lang="en-US" sz="1400" b="1" dirty="0">
                <a:solidFill>
                  <a:prstClr val="white"/>
                </a:solidFill>
                <a:latin typeface="Arial" panose="020B0604020202020204" pitchFamily="34" charset="0"/>
                <a:cs typeface="Arial" panose="020B0604020202020204" pitchFamily="34" charset="0"/>
              </a:rPr>
              <a:t>7-10% CAGR</a:t>
            </a:r>
          </a:p>
        </p:txBody>
      </p:sp>
      <p:sp>
        <p:nvSpPr>
          <p:cNvPr id="10" name="TextBox 9">
            <a:extLst>
              <a:ext uri="{FF2B5EF4-FFF2-40B4-BE49-F238E27FC236}">
                <a16:creationId xmlns:a16="http://schemas.microsoft.com/office/drawing/2014/main" id="{FF051457-A49B-FCB4-7752-B41AD48A8489}"/>
              </a:ext>
            </a:extLst>
          </p:cNvPr>
          <p:cNvSpPr txBox="1"/>
          <p:nvPr/>
        </p:nvSpPr>
        <p:spPr>
          <a:xfrm>
            <a:off x="9620077" y="2675092"/>
            <a:ext cx="1181734" cy="307777"/>
          </a:xfrm>
          <a:prstGeom prst="rect">
            <a:avLst/>
          </a:prstGeom>
          <a:noFill/>
        </p:spPr>
        <p:txBody>
          <a:bodyPr wrap="none" rtlCol="0">
            <a:spAutoFit/>
          </a:bodyPr>
          <a:lstStyle/>
          <a:p>
            <a:pPr algn="r">
              <a:defRPr/>
            </a:pPr>
            <a:r>
              <a:rPr lang="en-US" sz="1400" b="1" dirty="0">
                <a:solidFill>
                  <a:prstClr val="white"/>
                </a:solidFill>
                <a:latin typeface="Arial" panose="020B0604020202020204" pitchFamily="34" charset="0"/>
                <a:cs typeface="Arial" panose="020B0604020202020204" pitchFamily="34" charset="0"/>
              </a:rPr>
              <a:t>3-5% CAGR</a:t>
            </a:r>
          </a:p>
        </p:txBody>
      </p:sp>
      <p:sp>
        <p:nvSpPr>
          <p:cNvPr id="92" name="TextBox 91">
            <a:extLst>
              <a:ext uri="{FF2B5EF4-FFF2-40B4-BE49-F238E27FC236}">
                <a16:creationId xmlns:a16="http://schemas.microsoft.com/office/drawing/2014/main" id="{29CA2677-20EF-AB8E-2440-925CACE46601}"/>
              </a:ext>
            </a:extLst>
          </p:cNvPr>
          <p:cNvSpPr txBox="1"/>
          <p:nvPr/>
        </p:nvSpPr>
        <p:spPr>
          <a:xfrm>
            <a:off x="3954462" y="1873851"/>
            <a:ext cx="5939886" cy="586827"/>
          </a:xfrm>
          <a:prstGeom prst="rect">
            <a:avLst/>
          </a:prstGeom>
          <a:noFill/>
        </p:spPr>
        <p:txBody>
          <a:bodyPr wrap="square" rtlCol="0">
            <a:spAutoFit/>
          </a:bodyPr>
          <a:lstStyle/>
          <a:p>
            <a:pPr marL="285750" indent="-285750">
              <a:lnSpc>
                <a:spcPct val="90000"/>
              </a:lnSpc>
              <a:spcBef>
                <a:spcPts val="2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Pet care growth</a:t>
            </a:r>
          </a:p>
          <a:p>
            <a:pPr marL="285750" indent="-285750">
              <a:lnSpc>
                <a:spcPct val="90000"/>
              </a:lnSpc>
              <a:spcBef>
                <a:spcPts val="200"/>
              </a:spcBef>
              <a:buFont typeface="Wingdings" panose="05000000000000000000" pitchFamily="2" charset="2"/>
              <a:buChar char="§"/>
            </a:pPr>
            <a:endParaRPr lang="en-US" sz="400" dirty="0">
              <a:latin typeface="Arial" panose="020B0604020202020204" pitchFamily="34" charset="0"/>
              <a:cs typeface="Arial" panose="020B0604020202020204" pitchFamily="34" charset="0"/>
            </a:endParaRPr>
          </a:p>
          <a:p>
            <a:pPr marL="285750" indent="-285750">
              <a:lnSpc>
                <a:spcPct val="90000"/>
              </a:lnSpc>
              <a:spcBef>
                <a:spcPts val="2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Market share growth of high-margin specialty products</a:t>
            </a:r>
          </a:p>
        </p:txBody>
      </p:sp>
      <p:sp>
        <p:nvSpPr>
          <p:cNvPr id="93" name="TextBox 92">
            <a:extLst>
              <a:ext uri="{FF2B5EF4-FFF2-40B4-BE49-F238E27FC236}">
                <a16:creationId xmlns:a16="http://schemas.microsoft.com/office/drawing/2014/main" id="{EE533C53-035D-E5AD-C78E-264A2E3D8761}"/>
              </a:ext>
            </a:extLst>
          </p:cNvPr>
          <p:cNvSpPr txBox="1"/>
          <p:nvPr/>
        </p:nvSpPr>
        <p:spPr>
          <a:xfrm>
            <a:off x="3954463" y="3059098"/>
            <a:ext cx="5638722" cy="1192121"/>
          </a:xfrm>
          <a:prstGeom prst="rect">
            <a:avLst/>
          </a:prstGeom>
          <a:noFill/>
        </p:spPr>
        <p:txBody>
          <a:bodyPr wrap="square" rtlCol="0">
            <a:spAutoFit/>
          </a:bodyPr>
          <a:lstStyle/>
          <a:p>
            <a:pPr marL="285750" indent="-285750">
              <a:lnSpc>
                <a:spcPct val="90000"/>
              </a:lnSpc>
              <a:spcBef>
                <a:spcPts val="2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Expansion of sustainable solutions and market share growth for packaging</a:t>
            </a:r>
          </a:p>
          <a:p>
            <a:pPr>
              <a:lnSpc>
                <a:spcPct val="90000"/>
              </a:lnSpc>
              <a:spcBef>
                <a:spcPts val="200"/>
              </a:spcBef>
            </a:pPr>
            <a:endParaRPr lang="en-US" sz="400" dirty="0">
              <a:latin typeface="Arial" panose="020B0604020202020204" pitchFamily="34" charset="0"/>
              <a:cs typeface="Arial" panose="020B0604020202020204" pitchFamily="34" charset="0"/>
            </a:endParaRPr>
          </a:p>
          <a:p>
            <a:pPr marL="285750" indent="-285750">
              <a:lnSpc>
                <a:spcPct val="90000"/>
              </a:lnSpc>
              <a:spcBef>
                <a:spcPts val="2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Further geographic expansion into Asian markets</a:t>
            </a:r>
          </a:p>
          <a:p>
            <a:pPr>
              <a:lnSpc>
                <a:spcPct val="90000"/>
              </a:lnSpc>
              <a:spcBef>
                <a:spcPts val="200"/>
              </a:spcBef>
            </a:pPr>
            <a:endParaRPr lang="en-US" sz="1400" dirty="0">
              <a:latin typeface="Arial" panose="020B0604020202020204" pitchFamily="34" charset="0"/>
              <a:cs typeface="Arial" panose="020B0604020202020204" pitchFamily="34" charset="0"/>
            </a:endParaRPr>
          </a:p>
          <a:p>
            <a:pPr marL="285750" indent="-285750">
              <a:lnSpc>
                <a:spcPct val="90000"/>
              </a:lnSpc>
              <a:spcBef>
                <a:spcPts val="200"/>
              </a:spcBef>
              <a:buFont typeface="Wingdings" panose="05000000000000000000" pitchFamily="2" charset="2"/>
              <a:buChar char="§"/>
            </a:pPr>
            <a:endParaRPr lang="en-US" sz="1200" dirty="0">
              <a:latin typeface="Arial" panose="020B0604020202020204" pitchFamily="34" charset="0"/>
              <a:cs typeface="Arial" panose="020B0604020202020204" pitchFamily="34" charset="0"/>
            </a:endParaRPr>
          </a:p>
        </p:txBody>
      </p:sp>
      <p:sp>
        <p:nvSpPr>
          <p:cNvPr id="96" name="TextBox 95">
            <a:extLst>
              <a:ext uri="{FF2B5EF4-FFF2-40B4-BE49-F238E27FC236}">
                <a16:creationId xmlns:a16="http://schemas.microsoft.com/office/drawing/2014/main" id="{3FFC5645-FD02-EF8E-E73F-0A691BEBED44}"/>
              </a:ext>
            </a:extLst>
          </p:cNvPr>
          <p:cNvSpPr txBox="1"/>
          <p:nvPr/>
        </p:nvSpPr>
        <p:spPr>
          <a:xfrm>
            <a:off x="3954461" y="4387901"/>
            <a:ext cx="5939887" cy="586827"/>
          </a:xfrm>
          <a:prstGeom prst="rect">
            <a:avLst/>
          </a:prstGeom>
          <a:noFill/>
        </p:spPr>
        <p:txBody>
          <a:bodyPr wrap="square" rtlCol="0">
            <a:spAutoFit/>
          </a:bodyPr>
          <a:lstStyle/>
          <a:p>
            <a:pPr marL="285750" indent="-285750">
              <a:lnSpc>
                <a:spcPct val="90000"/>
              </a:lnSpc>
              <a:spcBef>
                <a:spcPts val="2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Further expansion into Asian foundry markets</a:t>
            </a:r>
          </a:p>
          <a:p>
            <a:pPr marL="285750" indent="-285750">
              <a:lnSpc>
                <a:spcPct val="90000"/>
              </a:lnSpc>
              <a:spcBef>
                <a:spcPts val="200"/>
              </a:spcBef>
              <a:buFont typeface="Wingdings" panose="05000000000000000000" pitchFamily="2" charset="2"/>
              <a:buChar char="§"/>
            </a:pPr>
            <a:endParaRPr lang="en-US" sz="400" dirty="0">
              <a:latin typeface="Arial" panose="020B0604020202020204" pitchFamily="34" charset="0"/>
              <a:cs typeface="Arial" panose="020B0604020202020204" pitchFamily="34" charset="0"/>
            </a:endParaRPr>
          </a:p>
          <a:p>
            <a:pPr marL="285750" indent="-285750">
              <a:lnSpc>
                <a:spcPct val="90000"/>
              </a:lnSpc>
              <a:spcBef>
                <a:spcPts val="200"/>
              </a:spcBef>
              <a:buFont typeface="Wingdings" panose="05000000000000000000" pitchFamily="2" charset="2"/>
              <a:buChar char="§"/>
            </a:pPr>
            <a:r>
              <a:rPr lang="en-US" sz="1400" dirty="0">
                <a:latin typeface="Arial" panose="020B0604020202020204" pitchFamily="34" charset="0"/>
                <a:cs typeface="Arial" panose="020B0604020202020204" pitchFamily="34" charset="0"/>
              </a:rPr>
              <a:t>Innovation for new and existing customers</a:t>
            </a:r>
          </a:p>
        </p:txBody>
      </p:sp>
      <p:sp>
        <p:nvSpPr>
          <p:cNvPr id="97" name="TextBox 96">
            <a:extLst>
              <a:ext uri="{FF2B5EF4-FFF2-40B4-BE49-F238E27FC236}">
                <a16:creationId xmlns:a16="http://schemas.microsoft.com/office/drawing/2014/main" id="{4B14757D-7370-7417-6231-1379F8F71BC0}"/>
              </a:ext>
            </a:extLst>
          </p:cNvPr>
          <p:cNvSpPr txBox="1"/>
          <p:nvPr/>
        </p:nvSpPr>
        <p:spPr>
          <a:xfrm>
            <a:off x="3954461" y="5603536"/>
            <a:ext cx="5952094" cy="921278"/>
          </a:xfrm>
          <a:prstGeom prst="rect">
            <a:avLst/>
          </a:prstGeom>
          <a:noFill/>
        </p:spPr>
        <p:txBody>
          <a:bodyPr wrap="square" rtlCol="0">
            <a:spAutoFit/>
          </a:bodyPr>
          <a:lstStyle/>
          <a:p>
            <a:pPr marL="285750" indent="-285750">
              <a:lnSpc>
                <a:spcPct val="90000"/>
              </a:lnSpc>
              <a:buFont typeface="Wingdings" panose="05000000000000000000" pitchFamily="2" charset="2"/>
              <a:buChar char="§"/>
            </a:pPr>
            <a:r>
              <a:rPr lang="en-US" sz="1400" dirty="0">
                <a:latin typeface="Arial" panose="020B0604020202020204" pitchFamily="34" charset="0"/>
                <a:cs typeface="Arial" panose="020B0604020202020204" pitchFamily="34" charset="0"/>
              </a:rPr>
              <a:t>Innovation in environmental and sustainable solutions</a:t>
            </a:r>
          </a:p>
          <a:p>
            <a:pPr>
              <a:lnSpc>
                <a:spcPct val="90000"/>
              </a:lnSpc>
            </a:pPr>
            <a:endParaRPr lang="en-US" sz="400" dirty="0">
              <a:latin typeface="Arial" panose="020B0604020202020204" pitchFamily="34" charset="0"/>
              <a:cs typeface="Arial" panose="020B0604020202020204" pitchFamily="34" charset="0"/>
            </a:endParaRPr>
          </a:p>
          <a:p>
            <a:pPr marL="285750" indent="-285750">
              <a:lnSpc>
                <a:spcPct val="90000"/>
              </a:lnSpc>
              <a:buFont typeface="Wingdings" panose="05000000000000000000" pitchFamily="2" charset="2"/>
              <a:buChar char="§"/>
            </a:pPr>
            <a:r>
              <a:rPr lang="en-US" sz="1400" dirty="0">
                <a:latin typeface="Arial" panose="020B0604020202020204" pitchFamily="34" charset="0"/>
                <a:cs typeface="Arial" panose="020B0604020202020204" pitchFamily="34" charset="0"/>
              </a:rPr>
              <a:t>Demand growth driven by environmental regulations and infrastructure spending</a:t>
            </a:r>
          </a:p>
          <a:p>
            <a:pPr>
              <a:lnSpc>
                <a:spcPct val="90000"/>
              </a:lnSpc>
              <a:spcBef>
                <a:spcPts val="200"/>
              </a:spcBef>
            </a:pPr>
            <a:endParaRPr lang="en-US" sz="1200" dirty="0">
              <a:latin typeface="Arial" panose="020B0604020202020204" pitchFamily="34" charset="0"/>
              <a:cs typeface="Arial" panose="020B0604020202020204" pitchFamily="34" charset="0"/>
            </a:endParaRPr>
          </a:p>
        </p:txBody>
      </p:sp>
      <p:sp>
        <p:nvSpPr>
          <p:cNvPr id="101" name="TextBox 100">
            <a:extLst>
              <a:ext uri="{FF2B5EF4-FFF2-40B4-BE49-F238E27FC236}">
                <a16:creationId xmlns:a16="http://schemas.microsoft.com/office/drawing/2014/main" id="{0AAFA1BC-54A8-E82D-C08B-1D0E467CB4D3}"/>
              </a:ext>
            </a:extLst>
          </p:cNvPr>
          <p:cNvSpPr txBox="1"/>
          <p:nvPr/>
        </p:nvSpPr>
        <p:spPr>
          <a:xfrm>
            <a:off x="9454727" y="3952248"/>
            <a:ext cx="1347084" cy="307777"/>
          </a:xfrm>
          <a:prstGeom prst="rect">
            <a:avLst/>
          </a:prstGeom>
          <a:noFill/>
        </p:spPr>
        <p:txBody>
          <a:bodyPr wrap="square" rtlCol="0" anchor="ctr">
            <a:spAutoFit/>
          </a:bodyPr>
          <a:lstStyle/>
          <a:p>
            <a:pPr algn="r">
              <a:defRPr/>
            </a:pPr>
            <a:r>
              <a:rPr lang="en-US" sz="1400" b="1" dirty="0">
                <a:solidFill>
                  <a:prstClr val="white"/>
                </a:solidFill>
                <a:latin typeface="Arial" panose="020B0604020202020204" pitchFamily="34" charset="0"/>
                <a:cs typeface="Arial" panose="020B0604020202020204" pitchFamily="34" charset="0"/>
              </a:rPr>
              <a:t>4-6% CAGR</a:t>
            </a:r>
          </a:p>
        </p:txBody>
      </p:sp>
      <p:sp>
        <p:nvSpPr>
          <p:cNvPr id="2" name="TextBox 1">
            <a:extLst>
              <a:ext uri="{FF2B5EF4-FFF2-40B4-BE49-F238E27FC236}">
                <a16:creationId xmlns:a16="http://schemas.microsoft.com/office/drawing/2014/main" id="{034D8216-B6E5-4705-4DA7-B18D79F694F7}"/>
              </a:ext>
            </a:extLst>
          </p:cNvPr>
          <p:cNvSpPr txBox="1"/>
          <p:nvPr/>
        </p:nvSpPr>
        <p:spPr>
          <a:xfrm>
            <a:off x="9454727" y="5186232"/>
            <a:ext cx="1347084" cy="307777"/>
          </a:xfrm>
          <a:prstGeom prst="rect">
            <a:avLst/>
          </a:prstGeom>
          <a:noFill/>
        </p:spPr>
        <p:txBody>
          <a:bodyPr wrap="square" rtlCol="0" anchor="ctr">
            <a:spAutoFit/>
          </a:bodyPr>
          <a:lstStyle/>
          <a:p>
            <a:pPr algn="r">
              <a:defRPr/>
            </a:pPr>
            <a:r>
              <a:rPr lang="en-US" sz="1400" b="1" dirty="0">
                <a:solidFill>
                  <a:prstClr val="white"/>
                </a:solidFill>
                <a:latin typeface="Arial" panose="020B0604020202020204" pitchFamily="34" charset="0"/>
                <a:cs typeface="Arial" panose="020B0604020202020204" pitchFamily="34" charset="0"/>
              </a:rPr>
              <a:t>3-6% CAGR</a:t>
            </a:r>
          </a:p>
        </p:txBody>
      </p:sp>
      <p:pic>
        <p:nvPicPr>
          <p:cNvPr id="16" name="Picture 15" descr="A person holding a pile of shredded paper with a plant growing&#10;&#10;Description automatically generated">
            <a:extLst>
              <a:ext uri="{FF2B5EF4-FFF2-40B4-BE49-F238E27FC236}">
                <a16:creationId xmlns:a16="http://schemas.microsoft.com/office/drawing/2014/main" id="{7B9BD407-37A7-72E5-92D0-B5B0E4B1B841}"/>
              </a:ext>
            </a:extLst>
          </p:cNvPr>
          <p:cNvPicPr>
            <a:picLocks noChangeAspect="1"/>
          </p:cNvPicPr>
          <p:nvPr/>
        </p:nvPicPr>
        <p:blipFill>
          <a:blip r:embed="rId5"/>
          <a:stretch>
            <a:fillRect/>
          </a:stretch>
        </p:blipFill>
        <p:spPr>
          <a:xfrm>
            <a:off x="9662943" y="3034837"/>
            <a:ext cx="1248350" cy="904938"/>
          </a:xfrm>
          <a:prstGeom prst="rect">
            <a:avLst/>
          </a:prstGeom>
        </p:spPr>
      </p:pic>
      <p:pic>
        <p:nvPicPr>
          <p:cNvPr id="36" name="Content Placeholder 7" descr="A picture containing fire, nature, light, fireplace&#10;&#10;Description automatically generated">
            <a:extLst>
              <a:ext uri="{FF2B5EF4-FFF2-40B4-BE49-F238E27FC236}">
                <a16:creationId xmlns:a16="http://schemas.microsoft.com/office/drawing/2014/main" id="{C458D720-67C0-1F4F-0E60-A3F7071CCE2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25064" b="18990"/>
          <a:stretch/>
        </p:blipFill>
        <p:spPr>
          <a:xfrm>
            <a:off x="9630172" y="4313788"/>
            <a:ext cx="1281120" cy="834916"/>
          </a:xfrm>
          <a:prstGeom prst="rect">
            <a:avLst/>
          </a:prstGeom>
          <a:ln>
            <a:noFill/>
          </a:ln>
          <a:effectLst/>
        </p:spPr>
      </p:pic>
      <p:pic>
        <p:nvPicPr>
          <p:cNvPr id="1026" name="Picture 2">
            <a:extLst>
              <a:ext uri="{FF2B5EF4-FFF2-40B4-BE49-F238E27FC236}">
                <a16:creationId xmlns:a16="http://schemas.microsoft.com/office/drawing/2014/main" id="{89DCFA67-DBB5-C74C-F7D0-3F236CEC35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35051" y="5494009"/>
            <a:ext cx="1276241" cy="799001"/>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a:extLst>
              <a:ext uri="{FF2B5EF4-FFF2-40B4-BE49-F238E27FC236}">
                <a16:creationId xmlns:a16="http://schemas.microsoft.com/office/drawing/2014/main" id="{6EB3645B-CC5E-CE25-BD1B-CC8B9A86B28C}"/>
              </a:ext>
            </a:extLst>
          </p:cNvPr>
          <p:cNvCxnSpPr>
            <a:cxnSpLocks/>
          </p:cNvCxnSpPr>
          <p:nvPr/>
        </p:nvCxnSpPr>
        <p:spPr>
          <a:xfrm>
            <a:off x="12757179" y="5907527"/>
            <a:ext cx="84751" cy="0"/>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AF61ED1-0DE0-A867-D96F-2E4FC54CA3CF}"/>
              </a:ext>
            </a:extLst>
          </p:cNvPr>
          <p:cNvSpPr txBox="1"/>
          <p:nvPr/>
        </p:nvSpPr>
        <p:spPr>
          <a:xfrm>
            <a:off x="786382" y="1413350"/>
            <a:ext cx="2505070" cy="584775"/>
          </a:xfrm>
          <a:prstGeom prst="rect">
            <a:avLst/>
          </a:prstGeom>
          <a:noFill/>
          <a:ln>
            <a:noFill/>
          </a:ln>
        </p:spPr>
        <p:txBody>
          <a:bodyPr wrap="square" rtlCol="0">
            <a:spAutoFit/>
          </a:bodyPr>
          <a:lstStyle/>
          <a:p>
            <a:pPr algn="ctr"/>
            <a:r>
              <a:rPr lang="en-US" b="1" dirty="0">
                <a:solidFill>
                  <a:schemeClr val="bg1"/>
                </a:solidFill>
                <a:latin typeface="Arial" panose="020B0604020202020204" pitchFamily="34" charset="0"/>
                <a:cs typeface="Arial" panose="020B0604020202020204" pitchFamily="34" charset="0"/>
              </a:rPr>
              <a:t>4-7% Sales CAGR </a:t>
            </a:r>
            <a:r>
              <a:rPr lang="en-US" sz="1400" i="1" dirty="0">
                <a:solidFill>
                  <a:schemeClr val="bg1"/>
                </a:solidFill>
                <a:latin typeface="Arial" panose="020B0604020202020204" pitchFamily="34" charset="0"/>
                <a:cs typeface="Arial" panose="020B0604020202020204" pitchFamily="34" charset="0"/>
              </a:rPr>
              <a:t>through 2027</a:t>
            </a:r>
            <a:endParaRPr lang="en-US" i="1" dirty="0">
              <a:solidFill>
                <a:schemeClr val="bg1"/>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02074F55-4C93-5E92-6301-9BF470C3FE72}"/>
              </a:ext>
            </a:extLst>
          </p:cNvPr>
          <p:cNvSpPr/>
          <p:nvPr/>
        </p:nvSpPr>
        <p:spPr>
          <a:xfrm>
            <a:off x="886516" y="1999925"/>
            <a:ext cx="2544853" cy="4072402"/>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137160" tIns="320040" rIns="137160" bIns="45720" rtlCol="0" anchor="ctr"/>
          <a:lstStyle/>
          <a:p>
            <a:pPr marL="457200" defTabSz="1097280">
              <a:spcBef>
                <a:spcPts val="500"/>
              </a:spcBef>
            </a:pPr>
            <a:r>
              <a:rPr lang="en-US" b="1" dirty="0">
                <a:solidFill>
                  <a:schemeClr val="tx1"/>
                </a:solidFill>
                <a:cs typeface="Arial"/>
              </a:rPr>
              <a:t>Expansion in higher growth consumer-oriented markets </a:t>
            </a:r>
          </a:p>
          <a:p>
            <a:pPr marL="457200" defTabSz="1097280">
              <a:spcBef>
                <a:spcPts val="500"/>
              </a:spcBef>
            </a:pPr>
            <a:endParaRPr lang="en-US" b="1" dirty="0">
              <a:solidFill>
                <a:schemeClr val="tx1"/>
              </a:solidFill>
              <a:latin typeface="Arial" panose="020B0604020202020204" pitchFamily="34" charset="0"/>
              <a:cs typeface="Arial"/>
            </a:endParaRPr>
          </a:p>
          <a:p>
            <a:pPr marL="457200" defTabSz="1097280">
              <a:spcBef>
                <a:spcPts val="500"/>
              </a:spcBef>
            </a:pPr>
            <a:r>
              <a:rPr lang="en-US" b="1" dirty="0">
                <a:solidFill>
                  <a:schemeClr val="tx1"/>
                </a:solidFill>
                <a:cs typeface="Arial"/>
              </a:rPr>
              <a:t>Geographic expansion in key end-markets</a:t>
            </a:r>
          </a:p>
          <a:p>
            <a:pPr marL="457200" defTabSz="1097280">
              <a:lnSpc>
                <a:spcPct val="150000"/>
              </a:lnSpc>
              <a:spcBef>
                <a:spcPts val="500"/>
              </a:spcBef>
            </a:pPr>
            <a:endParaRPr lang="en-US" b="1" dirty="0">
              <a:solidFill>
                <a:schemeClr val="tx1"/>
              </a:solidFill>
              <a:latin typeface="Arial" panose="020B0604020202020204" pitchFamily="34" charset="0"/>
              <a:cs typeface="Arial" panose="020B0604020202020204" pitchFamily="34" charset="0"/>
            </a:endParaRPr>
          </a:p>
          <a:p>
            <a:pPr marL="457200" defTabSz="1097280">
              <a:lnSpc>
                <a:spcPct val="150000"/>
              </a:lnSpc>
              <a:spcBef>
                <a:spcPts val="500"/>
              </a:spcBef>
            </a:pPr>
            <a:r>
              <a:rPr lang="en-US" b="1" dirty="0">
                <a:solidFill>
                  <a:schemeClr val="tx1"/>
                </a:solidFill>
                <a:cs typeface="Arial"/>
              </a:rPr>
              <a:t>Product innovation</a:t>
            </a:r>
          </a:p>
          <a:p>
            <a:pPr algn="ctr" defTabSz="1097280">
              <a:lnSpc>
                <a:spcPct val="90000"/>
              </a:lnSpc>
              <a:spcBef>
                <a:spcPts val="500"/>
              </a:spcBef>
            </a:pPr>
            <a:endParaRPr lang="en-US" sz="1400" dirty="0">
              <a:solidFill>
                <a:schemeClr val="tx1"/>
              </a:solidFill>
              <a:latin typeface="Arial" panose="020B0604020202020204" pitchFamily="34" charset="0"/>
              <a:cs typeface="Arial" panose="020B0604020202020204" pitchFamily="34" charset="0"/>
            </a:endParaRPr>
          </a:p>
        </p:txBody>
      </p:sp>
      <p:pic>
        <p:nvPicPr>
          <p:cNvPr id="50" name="Graphic 49" descr="Signal with solid fill">
            <a:extLst>
              <a:ext uri="{FF2B5EF4-FFF2-40B4-BE49-F238E27FC236}">
                <a16:creationId xmlns:a16="http://schemas.microsoft.com/office/drawing/2014/main" id="{B2E2F12F-21A1-1A05-984B-38321602A9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106" y="2715277"/>
            <a:ext cx="466378" cy="412317"/>
          </a:xfrm>
          <a:prstGeom prst="rect">
            <a:avLst/>
          </a:prstGeom>
        </p:spPr>
      </p:pic>
      <p:pic>
        <p:nvPicPr>
          <p:cNvPr id="51" name="Graphic 50" descr="Globe with solid fill">
            <a:extLst>
              <a:ext uri="{FF2B5EF4-FFF2-40B4-BE49-F238E27FC236}">
                <a16:creationId xmlns:a16="http://schemas.microsoft.com/office/drawing/2014/main" id="{52A5486F-DFD3-27D8-6FF2-69E1363010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7077" y="4164261"/>
            <a:ext cx="405821" cy="405821"/>
          </a:xfrm>
          <a:prstGeom prst="rect">
            <a:avLst/>
          </a:prstGeom>
        </p:spPr>
      </p:pic>
      <p:pic>
        <p:nvPicPr>
          <p:cNvPr id="52" name="Graphic 51" descr="Beaker with solid fill">
            <a:extLst>
              <a:ext uri="{FF2B5EF4-FFF2-40B4-BE49-F238E27FC236}">
                <a16:creationId xmlns:a16="http://schemas.microsoft.com/office/drawing/2014/main" id="{96BA9806-59CF-EEEF-0ACE-EB3BFE5A277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25040" y="5284030"/>
            <a:ext cx="405821" cy="405821"/>
          </a:xfrm>
          <a:prstGeom prst="rect">
            <a:avLst/>
          </a:prstGeom>
        </p:spPr>
      </p:pic>
      <p:pic>
        <p:nvPicPr>
          <p:cNvPr id="57" name="Picture 56">
            <a:extLst>
              <a:ext uri="{FF2B5EF4-FFF2-40B4-BE49-F238E27FC236}">
                <a16:creationId xmlns:a16="http://schemas.microsoft.com/office/drawing/2014/main" id="{2C9779E2-95A7-B827-0128-6237D7507A5C}"/>
              </a:ext>
            </a:extLst>
          </p:cNvPr>
          <p:cNvPicPr>
            <a:picLocks noChangeAspect="1"/>
          </p:cNvPicPr>
          <p:nvPr/>
        </p:nvPicPr>
        <p:blipFill>
          <a:blip r:embed="rId14"/>
          <a:stretch>
            <a:fillRect/>
          </a:stretch>
        </p:blipFill>
        <p:spPr>
          <a:xfrm>
            <a:off x="9630172" y="1820086"/>
            <a:ext cx="1281120" cy="817478"/>
          </a:xfrm>
          <a:prstGeom prst="rect">
            <a:avLst/>
          </a:prstGeom>
        </p:spPr>
      </p:pic>
    </p:spTree>
    <p:extLst>
      <p:ext uri="{BB962C8B-B14F-4D97-AF65-F5344CB8AC3E}">
        <p14:creationId xmlns:p14="http://schemas.microsoft.com/office/powerpoint/2010/main" val="1452843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4622B9-8444-DA5C-FA63-6DE611B95081}"/>
              </a:ext>
            </a:extLst>
          </p:cNvPr>
          <p:cNvGraphicFramePr>
            <a:graphicFrameLocks noChangeAspect="1"/>
          </p:cNvGraphicFramePr>
          <p:nvPr>
            <p:custDataLst>
              <p:tags r:id="rId1"/>
            </p:custDataLst>
            <p:extLst>
              <p:ext uri="{D42A27DB-BD31-4B8C-83A1-F6EECF244321}">
                <p14:modId xmlns:p14="http://schemas.microsoft.com/office/powerpoint/2010/main" val="10909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534622B9-8444-DA5C-FA63-6DE611B950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43D2877-E6CD-8A50-2DD3-29DDF9A95574}"/>
              </a:ext>
            </a:extLst>
          </p:cNvPr>
          <p:cNvSpPr>
            <a:spLocks noGrp="1"/>
          </p:cNvSpPr>
          <p:nvPr>
            <p:ph type="title"/>
          </p:nvPr>
        </p:nvSpPr>
        <p:spPr/>
        <p:txBody>
          <a:bodyPr vert="horz"/>
          <a:lstStyle/>
          <a:p>
            <a:r>
              <a:rPr lang="en-US" dirty="0"/>
              <a:t>5-Year Targets</a:t>
            </a:r>
          </a:p>
        </p:txBody>
      </p:sp>
      <p:sp>
        <p:nvSpPr>
          <p:cNvPr id="13" name="Content Placeholder 4">
            <a:extLst>
              <a:ext uri="{FF2B5EF4-FFF2-40B4-BE49-F238E27FC236}">
                <a16:creationId xmlns:a16="http://schemas.microsoft.com/office/drawing/2014/main" id="{9C8F2D97-DA1F-D197-D84F-543C40E75AB3}"/>
              </a:ext>
            </a:extLst>
          </p:cNvPr>
          <p:cNvSpPr txBox="1">
            <a:spLocks/>
          </p:cNvSpPr>
          <p:nvPr/>
        </p:nvSpPr>
        <p:spPr bwMode="auto">
          <a:xfrm>
            <a:off x="1330727" y="1456907"/>
            <a:ext cx="9876905" cy="640080"/>
          </a:xfrm>
          <a:prstGeom prst="rect">
            <a:avLst/>
          </a:prstGeom>
          <a:solidFill>
            <a:srgbClr val="F2F2F2"/>
          </a:solidFill>
          <a:ln>
            <a:noFill/>
          </a:ln>
        </p:spPr>
        <p:txBody>
          <a:bodyPr vert="horz" wrap="square" lIns="457200" tIns="0" rIns="0" bIns="0" numCol="1" anchor="ctr" anchorCtr="0" compatLnSpc="1">
            <a:prstTxWarp prst="textNoShape">
              <a:avLst/>
            </a:prstTxWarp>
          </a:bodyPr>
          <a:lstStyle>
            <a:lvl1pPr marL="342900" indent="-342900" algn="l" rtl="0" eaLnBrk="0" fontAlgn="base" hangingPunct="0">
              <a:lnSpc>
                <a:spcPct val="90000"/>
              </a:lnSpc>
              <a:spcBef>
                <a:spcPts val="600"/>
              </a:spcBef>
              <a:spcAft>
                <a:spcPct val="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90000"/>
              </a:lnSpc>
              <a:spcBef>
                <a:spcPts val="600"/>
              </a:spcBef>
              <a:spcAft>
                <a:spcPct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600"/>
              </a:spcBef>
              <a:spcAft>
                <a:spcPct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rganic sales growing at </a:t>
            </a:r>
            <a:r>
              <a:rPr kumimoji="0" lang="en-US" sz="2800" b="1" i="0" u="none" strike="noStrike" kern="1200" cap="none" spc="0" normalizeH="0" baseline="0" noProof="0" dirty="0">
                <a:ln>
                  <a:noFill/>
                </a:ln>
                <a:solidFill>
                  <a:srgbClr val="61A6CC"/>
                </a:solidFill>
                <a:effectLst/>
                <a:uLnTx/>
                <a:uFillTx/>
                <a:latin typeface="Arial" panose="020B0604020202020204" pitchFamily="34" charset="0"/>
                <a:ea typeface="+mn-ea"/>
                <a:cs typeface="Arial" panose="020B0604020202020204" pitchFamily="34" charset="0"/>
              </a:rPr>
              <a:t>5% CAGR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rough 2027</a:t>
            </a:r>
          </a:p>
        </p:txBody>
      </p:sp>
      <p:sp>
        <p:nvSpPr>
          <p:cNvPr id="12" name="TextBox 11">
            <a:extLst>
              <a:ext uri="{FF2B5EF4-FFF2-40B4-BE49-F238E27FC236}">
                <a16:creationId xmlns:a16="http://schemas.microsoft.com/office/drawing/2014/main" id="{4B805A03-3181-7D4E-0225-697175E6A970}"/>
              </a:ext>
            </a:extLst>
          </p:cNvPr>
          <p:cNvSpPr txBox="1"/>
          <p:nvPr/>
        </p:nvSpPr>
        <p:spPr>
          <a:xfrm>
            <a:off x="1010687" y="1384988"/>
            <a:ext cx="640080" cy="640080"/>
          </a:xfrm>
          <a:prstGeom prst="ellipse">
            <a:avLst/>
          </a:prstGeom>
          <a:solidFill>
            <a:srgbClr val="61A6CC"/>
          </a:solid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20" name="Content Placeholder 4">
            <a:extLst>
              <a:ext uri="{FF2B5EF4-FFF2-40B4-BE49-F238E27FC236}">
                <a16:creationId xmlns:a16="http://schemas.microsoft.com/office/drawing/2014/main" id="{424D6C66-5072-6BBF-2F31-0F51C5A2BC6E}"/>
              </a:ext>
            </a:extLst>
          </p:cNvPr>
          <p:cNvSpPr txBox="1">
            <a:spLocks/>
          </p:cNvSpPr>
          <p:nvPr/>
        </p:nvSpPr>
        <p:spPr bwMode="auto">
          <a:xfrm>
            <a:off x="1330727" y="2364158"/>
            <a:ext cx="9876905" cy="640080"/>
          </a:xfrm>
          <a:prstGeom prst="rect">
            <a:avLst/>
          </a:prstGeom>
          <a:solidFill>
            <a:schemeClr val="bg1">
              <a:lumMod val="95000"/>
            </a:schemeClr>
          </a:solidFill>
          <a:ln>
            <a:noFill/>
          </a:ln>
        </p:spPr>
        <p:txBody>
          <a:bodyPr vert="horz" wrap="square" lIns="457200" tIns="0" rIns="0" bIns="0" numCol="1" anchor="ctr" anchorCtr="0" compatLnSpc="1">
            <a:prstTxWarp prst="textNoShape">
              <a:avLst/>
            </a:prstTxWarp>
          </a:bodyPr>
          <a:lstStyle>
            <a:lvl1pPr marL="342900" indent="-342900" algn="l" rtl="0" eaLnBrk="0" fontAlgn="base" hangingPunct="0">
              <a:lnSpc>
                <a:spcPct val="90000"/>
              </a:lnSpc>
              <a:spcBef>
                <a:spcPts val="600"/>
              </a:spcBef>
              <a:spcAft>
                <a:spcPct val="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90000"/>
              </a:lnSpc>
              <a:spcBef>
                <a:spcPts val="600"/>
              </a:spcBef>
              <a:spcAft>
                <a:spcPct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600"/>
              </a:spcBef>
              <a:spcAft>
                <a:spcPct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rgin improvement to </a:t>
            </a:r>
            <a:r>
              <a:rPr kumimoji="0" lang="en-US" sz="2800" b="1" i="0" u="none" strike="noStrike" kern="1200" cap="none" spc="0" normalizeH="0" baseline="0" noProof="0" dirty="0">
                <a:ln>
                  <a:noFill/>
                </a:ln>
                <a:solidFill>
                  <a:srgbClr val="61A6CC"/>
                </a:solidFill>
                <a:effectLst/>
                <a:uLnTx/>
                <a:uFillTx/>
                <a:latin typeface="Arial" panose="020B0604020202020204" pitchFamily="34" charset="0"/>
                <a:ea typeface="+mn-ea"/>
                <a:cs typeface="Arial" panose="020B0604020202020204" pitchFamily="34" charset="0"/>
              </a:rPr>
              <a:t>15% </a:t>
            </a:r>
            <a:r>
              <a:rPr kumimoji="0" lang="en-US" sz="2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2025</a:t>
            </a:r>
          </a:p>
        </p:txBody>
      </p:sp>
      <p:sp>
        <p:nvSpPr>
          <p:cNvPr id="21" name="TextBox 20">
            <a:extLst>
              <a:ext uri="{FF2B5EF4-FFF2-40B4-BE49-F238E27FC236}">
                <a16:creationId xmlns:a16="http://schemas.microsoft.com/office/drawing/2014/main" id="{C2102C11-EC32-72D6-5B6D-6BA5CF8F9D04}"/>
              </a:ext>
            </a:extLst>
          </p:cNvPr>
          <p:cNvSpPr txBox="1"/>
          <p:nvPr/>
        </p:nvSpPr>
        <p:spPr>
          <a:xfrm>
            <a:off x="1010687" y="2364158"/>
            <a:ext cx="640080" cy="640080"/>
          </a:xfrm>
          <a:prstGeom prst="ellipse">
            <a:avLst/>
          </a:prstGeom>
          <a:solidFill>
            <a:srgbClr val="61A6CC"/>
          </a:solid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23" name="Content Placeholder 4">
            <a:extLst>
              <a:ext uri="{FF2B5EF4-FFF2-40B4-BE49-F238E27FC236}">
                <a16:creationId xmlns:a16="http://schemas.microsoft.com/office/drawing/2014/main" id="{BFDA9D85-D4DF-6159-F1E5-0A56981C51DE}"/>
              </a:ext>
            </a:extLst>
          </p:cNvPr>
          <p:cNvSpPr txBox="1">
            <a:spLocks/>
          </p:cNvSpPr>
          <p:nvPr/>
        </p:nvSpPr>
        <p:spPr bwMode="auto">
          <a:xfrm>
            <a:off x="1330727" y="3343328"/>
            <a:ext cx="9876905" cy="640080"/>
          </a:xfrm>
          <a:prstGeom prst="rect">
            <a:avLst/>
          </a:prstGeom>
          <a:solidFill>
            <a:schemeClr val="bg1">
              <a:lumMod val="95000"/>
            </a:schemeClr>
          </a:solidFill>
          <a:ln>
            <a:noFill/>
          </a:ln>
        </p:spPr>
        <p:txBody>
          <a:bodyPr vert="horz" wrap="square" lIns="457200" tIns="0" rIns="0" bIns="0" numCol="1" anchor="ctr" anchorCtr="0" compatLnSpc="1">
            <a:prstTxWarp prst="textNoShape">
              <a:avLst/>
            </a:prstTxWarp>
          </a:bodyPr>
          <a:lstStyle>
            <a:lvl1pPr marL="342900" indent="-342900" algn="l" rtl="0" eaLnBrk="0" fontAlgn="base" hangingPunct="0">
              <a:lnSpc>
                <a:spcPct val="90000"/>
              </a:lnSpc>
              <a:spcBef>
                <a:spcPts val="600"/>
              </a:spcBef>
              <a:spcAft>
                <a:spcPct val="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90000"/>
              </a:lnSpc>
              <a:spcBef>
                <a:spcPts val="600"/>
              </a:spcBef>
              <a:spcAft>
                <a:spcPct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600"/>
              </a:spcBef>
              <a:spcAft>
                <a:spcPct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perating Income growing at </a:t>
            </a:r>
            <a:r>
              <a:rPr kumimoji="0" lang="en-US" sz="2800" b="1" i="0" u="none" strike="noStrike" kern="1200" cap="none" spc="0" normalizeH="0" baseline="0" noProof="0" dirty="0">
                <a:ln>
                  <a:noFill/>
                </a:ln>
                <a:solidFill>
                  <a:srgbClr val="61A6CC"/>
                </a:solidFill>
                <a:effectLst/>
                <a:uLnTx/>
                <a:uFillTx/>
                <a:latin typeface="Arial" panose="020B0604020202020204" pitchFamily="34" charset="0"/>
                <a:ea typeface="+mn-ea"/>
                <a:cs typeface="Arial" panose="020B0604020202020204" pitchFamily="34" charset="0"/>
              </a:rPr>
              <a:t>10% CAGR</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rough 2027</a:t>
            </a:r>
          </a:p>
        </p:txBody>
      </p:sp>
      <p:sp>
        <p:nvSpPr>
          <p:cNvPr id="24" name="TextBox 23">
            <a:extLst>
              <a:ext uri="{FF2B5EF4-FFF2-40B4-BE49-F238E27FC236}">
                <a16:creationId xmlns:a16="http://schemas.microsoft.com/office/drawing/2014/main" id="{CFE2FA04-50BD-FD7E-C661-0BF30B3FF154}"/>
              </a:ext>
            </a:extLst>
          </p:cNvPr>
          <p:cNvSpPr txBox="1"/>
          <p:nvPr/>
        </p:nvSpPr>
        <p:spPr>
          <a:xfrm>
            <a:off x="1010687" y="3343328"/>
            <a:ext cx="640080" cy="640080"/>
          </a:xfrm>
          <a:prstGeom prst="ellipse">
            <a:avLst/>
          </a:prstGeom>
          <a:solidFill>
            <a:srgbClr val="61A6CC"/>
          </a:solid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26" name="Content Placeholder 4">
            <a:extLst>
              <a:ext uri="{FF2B5EF4-FFF2-40B4-BE49-F238E27FC236}">
                <a16:creationId xmlns:a16="http://schemas.microsoft.com/office/drawing/2014/main" id="{0F3027C3-87D0-8C43-89A4-E1087E2D9E9A}"/>
              </a:ext>
            </a:extLst>
          </p:cNvPr>
          <p:cNvSpPr txBox="1">
            <a:spLocks/>
          </p:cNvSpPr>
          <p:nvPr/>
        </p:nvSpPr>
        <p:spPr bwMode="auto">
          <a:xfrm>
            <a:off x="1330727" y="4322498"/>
            <a:ext cx="9876905" cy="640080"/>
          </a:xfrm>
          <a:prstGeom prst="rect">
            <a:avLst/>
          </a:prstGeom>
          <a:solidFill>
            <a:schemeClr val="bg1">
              <a:lumMod val="95000"/>
            </a:schemeClr>
          </a:solidFill>
          <a:ln>
            <a:noFill/>
          </a:ln>
        </p:spPr>
        <p:txBody>
          <a:bodyPr vert="horz" wrap="square" lIns="457200" tIns="0" rIns="0" bIns="0" numCol="1" anchor="ctr" anchorCtr="0" compatLnSpc="1">
            <a:prstTxWarp prst="textNoShape">
              <a:avLst/>
            </a:prstTxWarp>
          </a:bodyPr>
          <a:lstStyle>
            <a:lvl1pPr marL="342900" indent="-342900" algn="l" rtl="0" eaLnBrk="0" fontAlgn="base" hangingPunct="0">
              <a:lnSpc>
                <a:spcPct val="90000"/>
              </a:lnSpc>
              <a:spcBef>
                <a:spcPts val="600"/>
              </a:spcBef>
              <a:spcAft>
                <a:spcPct val="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90000"/>
              </a:lnSpc>
              <a:spcBef>
                <a:spcPts val="600"/>
              </a:spcBef>
              <a:spcAft>
                <a:spcPct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600"/>
              </a:spcBef>
              <a:spcAft>
                <a:spcPct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tinued </a:t>
            </a:r>
            <a:r>
              <a:rPr kumimoji="0" lang="en-US" sz="2800" b="1" i="0" u="none" strike="noStrike" kern="1200" cap="none" spc="0" normalizeH="0" baseline="0" noProof="0" dirty="0">
                <a:ln>
                  <a:noFill/>
                </a:ln>
                <a:solidFill>
                  <a:srgbClr val="61A6CC"/>
                </a:solidFill>
                <a:effectLst/>
                <a:uLnTx/>
                <a:uFillTx/>
                <a:latin typeface="Arial" panose="020B0604020202020204" pitchFamily="34" charset="0"/>
                <a:ea typeface="+mn-ea"/>
                <a:cs typeface="Arial" panose="020B0604020202020204" pitchFamily="34" charset="0"/>
              </a:rPr>
              <a:t>strong FCF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neration of ~7% of Sales</a:t>
            </a:r>
          </a:p>
        </p:txBody>
      </p:sp>
      <p:sp>
        <p:nvSpPr>
          <p:cNvPr id="27" name="TextBox 26">
            <a:extLst>
              <a:ext uri="{FF2B5EF4-FFF2-40B4-BE49-F238E27FC236}">
                <a16:creationId xmlns:a16="http://schemas.microsoft.com/office/drawing/2014/main" id="{9109CC6E-FD32-920B-0C46-82212FDD33E1}"/>
              </a:ext>
            </a:extLst>
          </p:cNvPr>
          <p:cNvSpPr txBox="1"/>
          <p:nvPr/>
        </p:nvSpPr>
        <p:spPr>
          <a:xfrm>
            <a:off x="1010687" y="4322498"/>
            <a:ext cx="640080" cy="640080"/>
          </a:xfrm>
          <a:prstGeom prst="ellipse">
            <a:avLst/>
          </a:prstGeom>
          <a:solidFill>
            <a:srgbClr val="61A6CC"/>
          </a:solid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29" name="Content Placeholder 4">
            <a:extLst>
              <a:ext uri="{FF2B5EF4-FFF2-40B4-BE49-F238E27FC236}">
                <a16:creationId xmlns:a16="http://schemas.microsoft.com/office/drawing/2014/main" id="{D01DFF45-6226-ED07-83E9-BC911DF2163B}"/>
              </a:ext>
            </a:extLst>
          </p:cNvPr>
          <p:cNvSpPr txBox="1">
            <a:spLocks/>
          </p:cNvSpPr>
          <p:nvPr/>
        </p:nvSpPr>
        <p:spPr bwMode="auto">
          <a:xfrm>
            <a:off x="1330727" y="5301668"/>
            <a:ext cx="9876905" cy="640080"/>
          </a:xfrm>
          <a:prstGeom prst="rect">
            <a:avLst/>
          </a:prstGeom>
          <a:solidFill>
            <a:schemeClr val="bg1">
              <a:lumMod val="95000"/>
            </a:schemeClr>
          </a:solidFill>
          <a:ln>
            <a:noFill/>
          </a:ln>
        </p:spPr>
        <p:txBody>
          <a:bodyPr vert="horz" wrap="square" lIns="457200" tIns="0" rIns="0" bIns="0" numCol="1" anchor="ctr" anchorCtr="0" compatLnSpc="1">
            <a:prstTxWarp prst="textNoShape">
              <a:avLst/>
            </a:prstTxWarp>
          </a:bodyPr>
          <a:lstStyle>
            <a:lvl1pPr marL="342900" indent="-342900" algn="l" rtl="0" eaLnBrk="0" fontAlgn="base" hangingPunct="0">
              <a:lnSpc>
                <a:spcPct val="90000"/>
              </a:lnSpc>
              <a:spcBef>
                <a:spcPts val="600"/>
              </a:spcBef>
              <a:spcAft>
                <a:spcPct val="0"/>
              </a:spcAft>
              <a:buFont typeface="Arial" panose="020B0604020202020204" pitchFamily="34" charset="0"/>
              <a:buChar char="•"/>
              <a:defRPr sz="2000" kern="1200">
                <a:solidFill>
                  <a:schemeClr val="tx2"/>
                </a:solidFill>
                <a:latin typeface="Arial" panose="020B0604020202020204" pitchFamily="34" charset="0"/>
                <a:ea typeface="+mn-ea"/>
                <a:cs typeface="Arial" panose="020B0604020202020204" pitchFamily="34" charset="0"/>
              </a:defRPr>
            </a:lvl1pPr>
            <a:lvl2pPr marL="742950" indent="-285750" algn="l" rtl="0" eaLnBrk="0" fontAlgn="base" hangingPunct="0">
              <a:lnSpc>
                <a:spcPct val="90000"/>
              </a:lnSpc>
              <a:spcBef>
                <a:spcPts val="600"/>
              </a:spcBef>
              <a:spcAft>
                <a:spcPct val="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600"/>
              </a:spcBef>
              <a:spcAft>
                <a:spcPct val="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600"/>
              </a:spcBef>
              <a:spcAft>
                <a:spcPct val="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61A6CC"/>
                </a:solidFill>
                <a:effectLst/>
                <a:uLnTx/>
                <a:uFillTx/>
                <a:latin typeface="Arial" panose="020B0604020202020204" pitchFamily="34" charset="0"/>
                <a:ea typeface="+mn-ea"/>
                <a:cs typeface="Arial" panose="020B0604020202020204" pitchFamily="34" charset="0"/>
              </a:rPr>
              <a:t>Strong balance sheet </a:t>
            </a:r>
            <a:r>
              <a:rPr kumimoji="0" lang="en-US"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flexibility for inorganic growth</a:t>
            </a:r>
          </a:p>
        </p:txBody>
      </p:sp>
      <p:sp>
        <p:nvSpPr>
          <p:cNvPr id="30" name="TextBox 29">
            <a:extLst>
              <a:ext uri="{FF2B5EF4-FFF2-40B4-BE49-F238E27FC236}">
                <a16:creationId xmlns:a16="http://schemas.microsoft.com/office/drawing/2014/main" id="{B5A2E4B6-79C0-D56A-D7E8-D8E86C3A666D}"/>
              </a:ext>
            </a:extLst>
          </p:cNvPr>
          <p:cNvSpPr txBox="1"/>
          <p:nvPr/>
        </p:nvSpPr>
        <p:spPr>
          <a:xfrm>
            <a:off x="1010687" y="5301668"/>
            <a:ext cx="640080" cy="640080"/>
          </a:xfrm>
          <a:prstGeom prst="ellipse">
            <a:avLst/>
          </a:prstGeom>
          <a:solidFill>
            <a:srgbClr val="61A6CC"/>
          </a:solidFill>
        </p:spPr>
        <p:txBody>
          <a:bodyPr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Tree>
    <p:extLst>
      <p:ext uri="{BB962C8B-B14F-4D97-AF65-F5344CB8AC3E}">
        <p14:creationId xmlns:p14="http://schemas.microsoft.com/office/powerpoint/2010/main" val="1696351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4B48EB-35E3-42D3-774B-BE3705D7A7AF}"/>
              </a:ext>
            </a:extLst>
          </p:cNvPr>
          <p:cNvGraphicFramePr>
            <a:graphicFrameLocks noChangeAspect="1"/>
          </p:cNvGraphicFramePr>
          <p:nvPr>
            <p:custDataLst>
              <p:tags r:id="rId1"/>
            </p:custDataLst>
            <p:extLst>
              <p:ext uri="{D42A27DB-BD31-4B8C-83A1-F6EECF244321}">
                <p14:modId xmlns:p14="http://schemas.microsoft.com/office/powerpoint/2010/main" val="1275027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5" name="Object 4" hidden="1">
                        <a:extLst>
                          <a:ext uri="{FF2B5EF4-FFF2-40B4-BE49-F238E27FC236}">
                            <a16:creationId xmlns:a16="http://schemas.microsoft.com/office/drawing/2014/main" id="{E14B48EB-35E3-42D3-774B-BE3705D7A7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Arrow: Down 12">
            <a:extLst>
              <a:ext uri="{FF2B5EF4-FFF2-40B4-BE49-F238E27FC236}">
                <a16:creationId xmlns:a16="http://schemas.microsoft.com/office/drawing/2014/main" id="{DCC852BA-6016-D5CD-164E-4DC9EFC12F9C}"/>
              </a:ext>
            </a:extLst>
          </p:cNvPr>
          <p:cNvSpPr/>
          <p:nvPr/>
        </p:nvSpPr>
        <p:spPr>
          <a:xfrm rot="5400000">
            <a:off x="6492011" y="-1399665"/>
            <a:ext cx="1811448" cy="7464467"/>
          </a:xfrm>
          <a:prstGeom prst="downArrow">
            <a:avLst>
              <a:gd name="adj1" fmla="val 100000"/>
              <a:gd name="adj2" fmla="val 1721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3BBC317-F4E6-1B3E-47DA-9D81E8777356}"/>
              </a:ext>
            </a:extLst>
          </p:cNvPr>
          <p:cNvSpPr>
            <a:spLocks noGrp="1"/>
          </p:cNvSpPr>
          <p:nvPr>
            <p:ph type="title"/>
          </p:nvPr>
        </p:nvSpPr>
        <p:spPr/>
        <p:txBody>
          <a:bodyPr vert="horz">
            <a:normAutofit/>
          </a:bodyPr>
          <a:lstStyle/>
          <a:p>
            <a:r>
              <a:rPr lang="en-US" sz="2800" dirty="0"/>
              <a:t>Strong Business Model Yielding Significant Value</a:t>
            </a:r>
          </a:p>
        </p:txBody>
      </p:sp>
      <p:graphicFrame>
        <p:nvGraphicFramePr>
          <p:cNvPr id="6" name="Diagram 5">
            <a:extLst>
              <a:ext uri="{FF2B5EF4-FFF2-40B4-BE49-F238E27FC236}">
                <a16:creationId xmlns:a16="http://schemas.microsoft.com/office/drawing/2014/main" id="{4453A3B7-4C72-203E-DBE8-A62A4A73A302}"/>
              </a:ext>
            </a:extLst>
          </p:cNvPr>
          <p:cNvGraphicFramePr/>
          <p:nvPr>
            <p:extLst>
              <p:ext uri="{D42A27DB-BD31-4B8C-83A1-F6EECF244321}">
                <p14:modId xmlns:p14="http://schemas.microsoft.com/office/powerpoint/2010/main" val="1678063755"/>
              </p:ext>
            </p:extLst>
          </p:nvPr>
        </p:nvGraphicFramePr>
        <p:xfrm>
          <a:off x="-228601" y="186568"/>
          <a:ext cx="4329113" cy="67437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9" name="TextBox 18">
            <a:extLst>
              <a:ext uri="{FF2B5EF4-FFF2-40B4-BE49-F238E27FC236}">
                <a16:creationId xmlns:a16="http://schemas.microsoft.com/office/drawing/2014/main" id="{A1B912E9-C3FD-267F-9B32-1E84A6FD8B97}"/>
              </a:ext>
            </a:extLst>
          </p:cNvPr>
          <p:cNvSpPr txBox="1"/>
          <p:nvPr/>
        </p:nvSpPr>
        <p:spPr>
          <a:xfrm>
            <a:off x="3969021" y="1727262"/>
            <a:ext cx="7160948" cy="1243417"/>
          </a:xfrm>
          <a:prstGeom prst="rect">
            <a:avLst/>
          </a:prstGeom>
          <a:noFill/>
        </p:spPr>
        <p:txBody>
          <a:bodyPr wrap="square" anchor="ctr">
            <a:spAutoFit/>
          </a:bodyPr>
          <a:lstStyle/>
          <a:p>
            <a:pPr marL="171450" indent="-171450" defTabSz="1097280">
              <a:lnSpc>
                <a:spcPct val="90000"/>
              </a:lnSpc>
              <a:spcBef>
                <a:spcPts val="600"/>
              </a:spcBef>
              <a:buFont typeface="Wingdings" panose="05000000000000000000" pitchFamily="2" charset="2"/>
              <a:buChar char="§"/>
            </a:pPr>
            <a:r>
              <a:rPr lang="en-US" dirty="0">
                <a:latin typeface="Arial" panose="020B0604020202020204" pitchFamily="34" charset="0"/>
                <a:cs typeface="Arial" panose="020B0604020202020204" pitchFamily="34" charset="0"/>
              </a:rPr>
              <a:t>Expansion in higher growth consumer-oriented markets ​</a:t>
            </a:r>
          </a:p>
          <a:p>
            <a:pPr marL="171450" indent="-171450" defTabSz="1097280">
              <a:lnSpc>
                <a:spcPct val="90000"/>
              </a:lnSpc>
              <a:spcBef>
                <a:spcPts val="600"/>
              </a:spcBef>
              <a:buFont typeface="Wingdings" panose="05000000000000000000" pitchFamily="2" charset="2"/>
              <a:buChar char="§"/>
            </a:pPr>
            <a:r>
              <a:rPr lang="en-US" dirty="0">
                <a:latin typeface="Arial" panose="020B0604020202020204" pitchFamily="34" charset="0"/>
                <a:cs typeface="Arial" panose="020B0604020202020204" pitchFamily="34" charset="0"/>
              </a:rPr>
              <a:t>Strengthening our leading positions in key industrial markets through geographic expansion</a:t>
            </a:r>
          </a:p>
          <a:p>
            <a:pPr marL="171450" indent="-171450" defTabSz="1097280">
              <a:lnSpc>
                <a:spcPct val="90000"/>
              </a:lnSpc>
              <a:spcBef>
                <a:spcPts val="600"/>
              </a:spcBef>
              <a:buFont typeface="Wingdings" panose="05000000000000000000" pitchFamily="2" charset="2"/>
              <a:buChar char="§"/>
            </a:pPr>
            <a:r>
              <a:rPr lang="en-US" dirty="0">
                <a:latin typeface="Arial" panose="020B0604020202020204" pitchFamily="34" charset="0"/>
                <a:cs typeface="Arial" panose="020B0604020202020204" pitchFamily="34" charset="0"/>
              </a:rPr>
              <a:t>Innovation across all product lines</a:t>
            </a:r>
            <a:endParaRPr lang="en-US" sz="1450" dirty="0">
              <a:latin typeface="Arial" panose="020B0604020202020204" pitchFamily="34" charset="0"/>
              <a:cs typeface="Arial" panose="020B0604020202020204" pitchFamily="34" charset="0"/>
            </a:endParaRPr>
          </a:p>
        </p:txBody>
      </p:sp>
      <p:sp>
        <p:nvSpPr>
          <p:cNvPr id="20" name="Arrow: Down 19">
            <a:extLst>
              <a:ext uri="{FF2B5EF4-FFF2-40B4-BE49-F238E27FC236}">
                <a16:creationId xmlns:a16="http://schemas.microsoft.com/office/drawing/2014/main" id="{AD8474F5-3F17-50D6-50CF-83D5EFF447E4}"/>
              </a:ext>
            </a:extLst>
          </p:cNvPr>
          <p:cNvSpPr/>
          <p:nvPr/>
        </p:nvSpPr>
        <p:spPr>
          <a:xfrm rot="5400000">
            <a:off x="6813482" y="208849"/>
            <a:ext cx="1168506" cy="7464467"/>
          </a:xfrm>
          <a:prstGeom prst="downArrow">
            <a:avLst>
              <a:gd name="adj1" fmla="val 100000"/>
              <a:gd name="adj2" fmla="val 29056"/>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ADB8C3C-75C6-8339-EAFA-DDA513F9675E}"/>
              </a:ext>
            </a:extLst>
          </p:cNvPr>
          <p:cNvSpPr/>
          <p:nvPr/>
        </p:nvSpPr>
        <p:spPr>
          <a:xfrm>
            <a:off x="3969020" y="3405964"/>
            <a:ext cx="7142094" cy="10349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defTabSz="1097280">
              <a:lnSpc>
                <a:spcPct val="90000"/>
              </a:lnSpc>
              <a:spcBef>
                <a:spcPts val="600"/>
              </a:spcBef>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Margin expansion through growth in higher margin products and fixed cost leverage</a:t>
            </a:r>
          </a:p>
        </p:txBody>
      </p:sp>
      <p:sp>
        <p:nvSpPr>
          <p:cNvPr id="21" name="Arrow: Down 20">
            <a:extLst>
              <a:ext uri="{FF2B5EF4-FFF2-40B4-BE49-F238E27FC236}">
                <a16:creationId xmlns:a16="http://schemas.microsoft.com/office/drawing/2014/main" id="{71FF122B-A5E2-6F3A-A227-500EFCDEA1CF}"/>
              </a:ext>
            </a:extLst>
          </p:cNvPr>
          <p:cNvSpPr/>
          <p:nvPr/>
        </p:nvSpPr>
        <p:spPr>
          <a:xfrm rot="5400000">
            <a:off x="6813480" y="1495892"/>
            <a:ext cx="1168507" cy="7464469"/>
          </a:xfrm>
          <a:prstGeom prst="downArrow">
            <a:avLst>
              <a:gd name="adj1" fmla="val 100000"/>
              <a:gd name="adj2" fmla="val 29056"/>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DFCD82D-81BD-6C55-DF58-87DB1F2E14FC}"/>
              </a:ext>
            </a:extLst>
          </p:cNvPr>
          <p:cNvSpPr/>
          <p:nvPr/>
        </p:nvSpPr>
        <p:spPr>
          <a:xfrm>
            <a:off x="4044194" y="4669568"/>
            <a:ext cx="7142094" cy="1110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defTabSz="1097280">
              <a:lnSpc>
                <a:spcPct val="90000"/>
              </a:lnSpc>
              <a:spcBef>
                <a:spcPts val="600"/>
              </a:spcBef>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Strong cash conversion levels (FCF ~7% of sales)</a:t>
            </a:r>
          </a:p>
          <a:p>
            <a:pPr marL="171450" indent="-171450" defTabSz="1097280">
              <a:lnSpc>
                <a:spcPct val="90000"/>
              </a:lnSpc>
              <a:spcBef>
                <a:spcPts val="600"/>
              </a:spcBef>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Maintaining a solid balance sheet</a:t>
            </a:r>
          </a:p>
          <a:p>
            <a:pPr marL="171450" indent="-171450" defTabSz="1097280">
              <a:lnSpc>
                <a:spcPct val="90000"/>
              </a:lnSpc>
              <a:spcBef>
                <a:spcPts val="600"/>
              </a:spcBef>
              <a:buFont typeface="Wingdings" panose="05000000000000000000" pitchFamily="2" charset="2"/>
              <a:buChar char="§"/>
            </a:pPr>
            <a:r>
              <a:rPr lang="en-US" dirty="0">
                <a:solidFill>
                  <a:schemeClr val="tx1"/>
                </a:solidFill>
                <a:latin typeface="Arial" panose="020B0604020202020204" pitchFamily="34" charset="0"/>
                <a:cs typeface="Arial" panose="020B0604020202020204" pitchFamily="34" charset="0"/>
              </a:rPr>
              <a:t>Returning capital to shareholders while preserving M&amp;A flexibility</a:t>
            </a:r>
          </a:p>
        </p:txBody>
      </p:sp>
    </p:spTree>
    <p:extLst>
      <p:ext uri="{BB962C8B-B14F-4D97-AF65-F5344CB8AC3E}">
        <p14:creationId xmlns:p14="http://schemas.microsoft.com/office/powerpoint/2010/main" val="2806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roVv4eIGIdnNy7rR4F9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hMEhtg1JuG72uknJVek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vSqd7a3_wKdsqq7TMB8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_.qmVw.r8Pq9L5figKY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NDf_rgH59e3xooSxteK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I68IAsKwuwtYjfmwm4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U2ih4gR2Veluej_GJwv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R2k3q11w96W4piWl8aQ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lwuhnLJj.xSTFBOwqaB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007C59">
      <a:dk1>
        <a:srgbClr val="001D34"/>
      </a:dk1>
      <a:lt1>
        <a:srgbClr val="FFFFFF"/>
      </a:lt1>
      <a:dk2>
        <a:srgbClr val="003055"/>
      </a:dk2>
      <a:lt2>
        <a:srgbClr val="F7F7F7"/>
      </a:lt2>
      <a:accent1>
        <a:srgbClr val="D10001"/>
      </a:accent1>
      <a:accent2>
        <a:srgbClr val="71B8CE"/>
      </a:accent2>
      <a:accent3>
        <a:srgbClr val="4D5F6E"/>
      </a:accent3>
      <a:accent4>
        <a:srgbClr val="D0D0D0"/>
      </a:accent4>
      <a:accent5>
        <a:srgbClr val="007C59"/>
      </a:accent5>
      <a:accent6>
        <a:srgbClr val="FEFFFF"/>
      </a:accent6>
      <a:hlink>
        <a:srgbClr val="FEFFFF"/>
      </a:hlink>
      <a:folHlink>
        <a:srgbClr val="FE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MTI">
      <a:dk1>
        <a:srgbClr val="000000"/>
      </a:dk1>
      <a:lt1>
        <a:srgbClr val="FFFFFF"/>
      </a:lt1>
      <a:dk2>
        <a:srgbClr val="4D4D4D"/>
      </a:dk2>
      <a:lt2>
        <a:srgbClr val="B8BABC"/>
      </a:lt2>
      <a:accent1>
        <a:srgbClr val="CF1950"/>
      </a:accent1>
      <a:accent2>
        <a:srgbClr val="132246"/>
      </a:accent2>
      <a:accent3>
        <a:srgbClr val="1F6FA9"/>
      </a:accent3>
      <a:accent4>
        <a:srgbClr val="42BE6C"/>
      </a:accent4>
      <a:accent5>
        <a:srgbClr val="4BACC6"/>
      </a:accent5>
      <a:accent6>
        <a:srgbClr val="61A6CC"/>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4123</TotalTime>
  <Words>3054</Words>
  <Application>Microsoft Office PowerPoint</Application>
  <PresentationFormat>Widescreen</PresentationFormat>
  <Paragraphs>868</Paragraphs>
  <Slides>18</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5" baseType="lpstr">
      <vt:lpstr>Arial</vt:lpstr>
      <vt:lpstr>Calibri</vt:lpstr>
      <vt:lpstr>Times New Roman</vt:lpstr>
      <vt:lpstr>Wingdings</vt:lpstr>
      <vt:lpstr>Office Theme</vt:lpstr>
      <vt:lpstr>6_Office Theme</vt:lpstr>
      <vt:lpstr>think-cell Slide</vt:lpstr>
      <vt:lpstr>Investor Presentation</vt:lpstr>
      <vt:lpstr>Forward Looking Statements and Non-GAAP Measures</vt:lpstr>
      <vt:lpstr>MINERALS TECHNOLOGIES A Global Specialty Minerals Company</vt:lpstr>
      <vt:lpstr>A Well-Balanced and Well-Positioned Growth Portfolio</vt:lpstr>
      <vt:lpstr>MINERALS TECHNOLOGIES A Technology-Driven Specialty Minerals Company</vt:lpstr>
      <vt:lpstr>Growth Driver Spotlight:​ Innovation Aligned With Key Trends</vt:lpstr>
      <vt:lpstr>Sustainable Long-Term Organic Growth Through the Cycle</vt:lpstr>
      <vt:lpstr>5-Year Targets</vt:lpstr>
      <vt:lpstr>Strong Business Model Yielding Significant Value</vt:lpstr>
      <vt:lpstr>Balanced Approach to Capital Allocation</vt:lpstr>
      <vt:lpstr>PowerPoint Presentation</vt:lpstr>
      <vt:lpstr>Investor Contact</vt:lpstr>
      <vt:lpstr>PowerPoint Presentation</vt:lpstr>
      <vt:lpstr>Reconciliation Net Income and Diluted EPS Excluding Special Items</vt:lpstr>
      <vt:lpstr>Reconciliation Segment Operating Income Excluding Special Items</vt:lpstr>
      <vt:lpstr>Reconciliation EBITDA Excluding Special Items</vt:lpstr>
      <vt:lpstr>Reconciliation  The Company Sales Growth  Excluding BMI</vt:lpstr>
      <vt:lpstr>Reconciliation  Free Cash Flow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 Holewski</dc:creator>
  <cp:lastModifiedBy>Lydia Kopylova</cp:lastModifiedBy>
  <cp:revision>28</cp:revision>
  <cp:lastPrinted>2024-05-30T15:43:34Z</cp:lastPrinted>
  <dcterms:created xsi:type="dcterms:W3CDTF">2023-12-14T16:42:10Z</dcterms:created>
  <dcterms:modified xsi:type="dcterms:W3CDTF">2024-07-08T19:21:59Z</dcterms:modified>
</cp:coreProperties>
</file>